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22" r:id="rId4"/>
  </p:sldMasterIdLst>
  <p:notesMasterIdLst>
    <p:notesMasterId r:id="rId14"/>
  </p:notesMasterIdLst>
  <p:handoutMasterIdLst>
    <p:handoutMasterId r:id="rId15"/>
  </p:handoutMasterIdLst>
  <p:sldIdLst>
    <p:sldId id="2556" r:id="rId5"/>
    <p:sldId id="3216" r:id="rId6"/>
    <p:sldId id="3217" r:id="rId7"/>
    <p:sldId id="2303" r:id="rId8"/>
    <p:sldId id="2305" r:id="rId9"/>
    <p:sldId id="2551" r:id="rId10"/>
    <p:sldId id="2552" r:id="rId11"/>
    <p:sldId id="11554" r:id="rId12"/>
    <p:sldId id="2509" r:id="rId13"/>
  </p:sldIdLst>
  <p:sldSz cx="12192000" cy="6858000"/>
  <p:notesSz cx="7010400" cy="9296400"/>
  <p:defaultTextStyle>
    <a:defPPr>
      <a:defRPr lang="en-US"/>
    </a:defPPr>
    <a:lvl1pPr algn="l" rtl="0" fontAlgn="base">
      <a:spcBef>
        <a:spcPct val="0"/>
      </a:spcBef>
      <a:spcAft>
        <a:spcPct val="0"/>
      </a:spcAft>
      <a:defRPr sz="1600" kern="1200">
        <a:solidFill>
          <a:schemeClr val="tx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glani, Manisha" initials="MM" lastIdx="17" clrIdx="0">
    <p:extLst>
      <p:ext uri="{19B8F6BF-5375-455C-9EA6-DF929625EA0E}">
        <p15:presenceInfo xmlns:p15="http://schemas.microsoft.com/office/powerpoint/2012/main" userId="S-1-5-21-1603936759-223485569-1819828000-24623" providerId="AD"/>
      </p:ext>
    </p:extLst>
  </p:cmAuthor>
  <p:cmAuthor id="2" name="Miglani, Manisha" initials="MM [2]" lastIdx="19" clrIdx="1">
    <p:extLst>
      <p:ext uri="{19B8F6BF-5375-455C-9EA6-DF929625EA0E}">
        <p15:presenceInfo xmlns:p15="http://schemas.microsoft.com/office/powerpoint/2012/main" userId="S::Manisha.Miglani@everestgrp.com::dcd8ae44-efb6-4afd-b817-410b43c02073" providerId="AD"/>
      </p:ext>
    </p:extLst>
  </p:cmAuthor>
  <p:cmAuthor id="3" name="Kumar, Sathish" initials="KS" lastIdx="21" clrIdx="2">
    <p:extLst>
      <p:ext uri="{19B8F6BF-5375-455C-9EA6-DF929625EA0E}">
        <p15:presenceInfo xmlns:p15="http://schemas.microsoft.com/office/powerpoint/2012/main" userId="S::Sathish.Kumar@everestgrp.com::1d190e4f-7f91-4e76-b027-e1df0c971924" providerId="AD"/>
      </p:ext>
    </p:extLst>
  </p:cmAuthor>
  <p:cmAuthor id="4" name="Boudrie, Elizabeth" initials="BE" lastIdx="2" clrIdx="3">
    <p:extLst>
      <p:ext uri="{19B8F6BF-5375-455C-9EA6-DF929625EA0E}">
        <p15:presenceInfo xmlns:p15="http://schemas.microsoft.com/office/powerpoint/2012/main" userId="S::elizabeth.boudrie@everestgrp.com::c5db88a2-ca9c-48b8-980c-3dae8a671d1c" providerId="AD"/>
      </p:ext>
    </p:extLst>
  </p:cmAuthor>
  <p:cmAuthor id="5" name="Verma, Ashish" initials="VA" lastIdx="16" clrIdx="4">
    <p:extLst>
      <p:ext uri="{19B8F6BF-5375-455C-9EA6-DF929625EA0E}">
        <p15:presenceInfo xmlns:p15="http://schemas.microsoft.com/office/powerpoint/2012/main" userId="S::Ashish.Verma@everestgrp.com::3836a5db-5d69-45a1-ad23-2de5fe2194cf" providerId="AD"/>
      </p:ext>
    </p:extLst>
  </p:cmAuthor>
  <p:cmAuthor id="6" name="Thapa, Navidita" initials="TN" lastIdx="2" clrIdx="5">
    <p:extLst>
      <p:ext uri="{19B8F6BF-5375-455C-9EA6-DF929625EA0E}">
        <p15:presenceInfo xmlns:p15="http://schemas.microsoft.com/office/powerpoint/2012/main" userId="S::Navidita.Thapa@everestgrp.com::3688561f-cb28-4067-8952-0ef447eb527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8F8F"/>
    <a:srgbClr val="A5BDC7"/>
    <a:srgbClr val="F9BA99"/>
    <a:srgbClr val="606060"/>
    <a:srgbClr val="A6A6A6"/>
    <a:srgbClr val="B5E5FF"/>
    <a:srgbClr val="B3CDD7"/>
    <a:srgbClr val="197FAB"/>
    <a:srgbClr val="000000"/>
    <a:srgbClr val="D9E6EB"/>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6F08C2-4ED7-9543-AE8F-9535F0527F40}" v="7" dt="2021-06-10T08:41:46.523"/>
    <p1510:client id="{FF858129-72AD-8A43-B1B7-C8F787667F52}" v="40" dt="2021-06-10T07:55:20.1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58" autoAdjust="0"/>
    <p:restoredTop sz="96846" autoAdjust="0"/>
  </p:normalViewPr>
  <p:slideViewPr>
    <p:cSldViewPr snapToGrid="0">
      <p:cViewPr>
        <p:scale>
          <a:sx n="117" d="100"/>
          <a:sy n="117" d="100"/>
        </p:scale>
        <p:origin x="1832" y="808"/>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glani, Manisha" userId="dcd8ae44-efb6-4afd-b817-410b43c02073" providerId="ADAL" clId="{FF858129-72AD-8A43-B1B7-C8F787667F52}"/>
    <pc:docChg chg="undo custSel modSld modMainMaster">
      <pc:chgData name="Miglani, Manisha" userId="dcd8ae44-efb6-4afd-b817-410b43c02073" providerId="ADAL" clId="{FF858129-72AD-8A43-B1B7-C8F787667F52}" dt="2021-06-10T07:55:20.155" v="382"/>
      <pc:docMkLst>
        <pc:docMk/>
      </pc:docMkLst>
      <pc:sldChg chg="addSp delSp modSp mod">
        <pc:chgData name="Miglani, Manisha" userId="dcd8ae44-efb6-4afd-b817-410b43c02073" providerId="ADAL" clId="{FF858129-72AD-8A43-B1B7-C8F787667F52}" dt="2021-06-10T07:52:47.875" v="350" actId="20577"/>
        <pc:sldMkLst>
          <pc:docMk/>
          <pc:sldMk cId="3514439260" sldId="2305"/>
        </pc:sldMkLst>
        <pc:spChg chg="add mod">
          <ac:chgData name="Miglani, Manisha" userId="dcd8ae44-efb6-4afd-b817-410b43c02073" providerId="ADAL" clId="{FF858129-72AD-8A43-B1B7-C8F787667F52}" dt="2021-06-10T07:52:47.875" v="350" actId="20577"/>
          <ac:spMkLst>
            <pc:docMk/>
            <pc:sldMk cId="3514439260" sldId="2305"/>
            <ac:spMk id="36" creationId="{4FB95BBA-1D53-9941-B639-07F2BC728A3B}"/>
          </ac:spMkLst>
        </pc:spChg>
        <pc:spChg chg="mod">
          <ac:chgData name="Miglani, Manisha" userId="dcd8ae44-efb6-4afd-b817-410b43c02073" providerId="ADAL" clId="{FF858129-72AD-8A43-B1B7-C8F787667F52}" dt="2021-06-09T12:20:18.868" v="1"/>
          <ac:spMkLst>
            <pc:docMk/>
            <pc:sldMk cId="3514439260" sldId="2305"/>
            <ac:spMk id="39" creationId="{D34EC5AE-9CBA-D24D-8095-4E7CCAE7589E}"/>
          </ac:spMkLst>
        </pc:spChg>
        <pc:spChg chg="mod">
          <ac:chgData name="Miglani, Manisha" userId="dcd8ae44-efb6-4afd-b817-410b43c02073" providerId="ADAL" clId="{FF858129-72AD-8A43-B1B7-C8F787667F52}" dt="2021-06-09T12:20:18.868" v="1"/>
          <ac:spMkLst>
            <pc:docMk/>
            <pc:sldMk cId="3514439260" sldId="2305"/>
            <ac:spMk id="40" creationId="{1280360C-C53D-044B-9919-7ED4014B7035}"/>
          </ac:spMkLst>
        </pc:spChg>
        <pc:spChg chg="mod">
          <ac:chgData name="Miglani, Manisha" userId="dcd8ae44-efb6-4afd-b817-410b43c02073" providerId="ADAL" clId="{FF858129-72AD-8A43-B1B7-C8F787667F52}" dt="2021-06-09T12:20:18.868" v="1"/>
          <ac:spMkLst>
            <pc:docMk/>
            <pc:sldMk cId="3514439260" sldId="2305"/>
            <ac:spMk id="41" creationId="{DDB12BC4-2BB0-6247-BBB3-25A498E9711F}"/>
          </ac:spMkLst>
        </pc:spChg>
        <pc:spChg chg="mod">
          <ac:chgData name="Miglani, Manisha" userId="dcd8ae44-efb6-4afd-b817-410b43c02073" providerId="ADAL" clId="{FF858129-72AD-8A43-B1B7-C8F787667F52}" dt="2021-06-09T12:20:18.868" v="1"/>
          <ac:spMkLst>
            <pc:docMk/>
            <pc:sldMk cId="3514439260" sldId="2305"/>
            <ac:spMk id="44" creationId="{1D33F167-3F4B-B741-BE45-9258DEFEF441}"/>
          </ac:spMkLst>
        </pc:spChg>
        <pc:spChg chg="mod">
          <ac:chgData name="Miglani, Manisha" userId="dcd8ae44-efb6-4afd-b817-410b43c02073" providerId="ADAL" clId="{FF858129-72AD-8A43-B1B7-C8F787667F52}" dt="2021-06-09T12:20:18.868" v="1"/>
          <ac:spMkLst>
            <pc:docMk/>
            <pc:sldMk cId="3514439260" sldId="2305"/>
            <ac:spMk id="45" creationId="{F771BF3F-EE7C-9C4A-AFFA-E9DB8EDA1273}"/>
          </ac:spMkLst>
        </pc:spChg>
        <pc:spChg chg="mod">
          <ac:chgData name="Miglani, Manisha" userId="dcd8ae44-efb6-4afd-b817-410b43c02073" providerId="ADAL" clId="{FF858129-72AD-8A43-B1B7-C8F787667F52}" dt="2021-06-09T12:20:18.868" v="1"/>
          <ac:spMkLst>
            <pc:docMk/>
            <pc:sldMk cId="3514439260" sldId="2305"/>
            <ac:spMk id="46" creationId="{230DDBA3-041C-334C-9B72-9B7212AE7CDD}"/>
          </ac:spMkLst>
        </pc:spChg>
        <pc:spChg chg="mod">
          <ac:chgData name="Miglani, Manisha" userId="dcd8ae44-efb6-4afd-b817-410b43c02073" providerId="ADAL" clId="{FF858129-72AD-8A43-B1B7-C8F787667F52}" dt="2021-06-09T12:20:18.868" v="1"/>
          <ac:spMkLst>
            <pc:docMk/>
            <pc:sldMk cId="3514439260" sldId="2305"/>
            <ac:spMk id="47" creationId="{73F507D7-5A27-EB45-A596-798AA6B94BD8}"/>
          </ac:spMkLst>
        </pc:spChg>
        <pc:spChg chg="mod">
          <ac:chgData name="Miglani, Manisha" userId="dcd8ae44-efb6-4afd-b817-410b43c02073" providerId="ADAL" clId="{FF858129-72AD-8A43-B1B7-C8F787667F52}" dt="2021-06-09T12:20:18.868" v="1"/>
          <ac:spMkLst>
            <pc:docMk/>
            <pc:sldMk cId="3514439260" sldId="2305"/>
            <ac:spMk id="49" creationId="{3B1CEF2D-84C9-894F-A377-C1EE952AF7BD}"/>
          </ac:spMkLst>
        </pc:spChg>
        <pc:spChg chg="mod">
          <ac:chgData name="Miglani, Manisha" userId="dcd8ae44-efb6-4afd-b817-410b43c02073" providerId="ADAL" clId="{FF858129-72AD-8A43-B1B7-C8F787667F52}" dt="2021-06-09T12:20:18.868" v="1"/>
          <ac:spMkLst>
            <pc:docMk/>
            <pc:sldMk cId="3514439260" sldId="2305"/>
            <ac:spMk id="50" creationId="{978D8786-26C8-3A4F-B368-33BB846ABE03}"/>
          </ac:spMkLst>
        </pc:spChg>
        <pc:spChg chg="mod">
          <ac:chgData name="Miglani, Manisha" userId="dcd8ae44-efb6-4afd-b817-410b43c02073" providerId="ADAL" clId="{FF858129-72AD-8A43-B1B7-C8F787667F52}" dt="2021-06-09T12:20:18.868" v="1"/>
          <ac:spMkLst>
            <pc:docMk/>
            <pc:sldMk cId="3514439260" sldId="2305"/>
            <ac:spMk id="51" creationId="{F3A57986-26D2-4842-A1FA-D3DD88ED9940}"/>
          </ac:spMkLst>
        </pc:spChg>
        <pc:spChg chg="del">
          <ac:chgData name="Miglani, Manisha" userId="dcd8ae44-efb6-4afd-b817-410b43c02073" providerId="ADAL" clId="{FF858129-72AD-8A43-B1B7-C8F787667F52}" dt="2021-06-09T12:20:18.150" v="0" actId="478"/>
          <ac:spMkLst>
            <pc:docMk/>
            <pc:sldMk cId="3514439260" sldId="2305"/>
            <ac:spMk id="52" creationId="{99BA69DC-2C96-4957-BB42-FE8091EEE6BF}"/>
          </ac:spMkLst>
        </pc:spChg>
        <pc:spChg chg="mod">
          <ac:chgData name="Miglani, Manisha" userId="dcd8ae44-efb6-4afd-b817-410b43c02073" providerId="ADAL" clId="{FF858129-72AD-8A43-B1B7-C8F787667F52}" dt="2021-06-09T12:20:18.868" v="1"/>
          <ac:spMkLst>
            <pc:docMk/>
            <pc:sldMk cId="3514439260" sldId="2305"/>
            <ac:spMk id="53" creationId="{38CEAFCB-0D61-FE47-B2D8-3881BB6CF377}"/>
          </ac:spMkLst>
        </pc:spChg>
        <pc:spChg chg="mod">
          <ac:chgData name="Miglani, Manisha" userId="dcd8ae44-efb6-4afd-b817-410b43c02073" providerId="ADAL" clId="{FF858129-72AD-8A43-B1B7-C8F787667F52}" dt="2021-06-09T12:20:18.868" v="1"/>
          <ac:spMkLst>
            <pc:docMk/>
            <pc:sldMk cId="3514439260" sldId="2305"/>
            <ac:spMk id="55" creationId="{7A19A94F-528E-1C4B-9F69-D72D27FD7D65}"/>
          </ac:spMkLst>
        </pc:spChg>
        <pc:spChg chg="mod">
          <ac:chgData name="Miglani, Manisha" userId="dcd8ae44-efb6-4afd-b817-410b43c02073" providerId="ADAL" clId="{FF858129-72AD-8A43-B1B7-C8F787667F52}" dt="2021-06-09T12:20:18.868" v="1"/>
          <ac:spMkLst>
            <pc:docMk/>
            <pc:sldMk cId="3514439260" sldId="2305"/>
            <ac:spMk id="88" creationId="{E863CBC3-ED63-6240-9D22-A61EC1E4D744}"/>
          </ac:spMkLst>
        </pc:spChg>
        <pc:spChg chg="mod">
          <ac:chgData name="Miglani, Manisha" userId="dcd8ae44-efb6-4afd-b817-410b43c02073" providerId="ADAL" clId="{FF858129-72AD-8A43-B1B7-C8F787667F52}" dt="2021-06-09T12:20:18.868" v="1"/>
          <ac:spMkLst>
            <pc:docMk/>
            <pc:sldMk cId="3514439260" sldId="2305"/>
            <ac:spMk id="89" creationId="{27546929-B94F-4F47-9504-2169B5456AAE}"/>
          </ac:spMkLst>
        </pc:spChg>
        <pc:spChg chg="mod">
          <ac:chgData name="Miglani, Manisha" userId="dcd8ae44-efb6-4afd-b817-410b43c02073" providerId="ADAL" clId="{FF858129-72AD-8A43-B1B7-C8F787667F52}" dt="2021-06-09T12:20:18.868" v="1"/>
          <ac:spMkLst>
            <pc:docMk/>
            <pc:sldMk cId="3514439260" sldId="2305"/>
            <ac:spMk id="90" creationId="{5B6F8AE6-3DB3-6A4A-8FE5-6BE08AD36D85}"/>
          </ac:spMkLst>
        </pc:spChg>
        <pc:spChg chg="mod">
          <ac:chgData name="Miglani, Manisha" userId="dcd8ae44-efb6-4afd-b817-410b43c02073" providerId="ADAL" clId="{FF858129-72AD-8A43-B1B7-C8F787667F52}" dt="2021-06-09T12:20:18.868" v="1"/>
          <ac:spMkLst>
            <pc:docMk/>
            <pc:sldMk cId="3514439260" sldId="2305"/>
            <ac:spMk id="91" creationId="{709A7174-DC93-1D43-995D-3ADDFF13DB19}"/>
          </ac:spMkLst>
        </pc:spChg>
        <pc:spChg chg="mod">
          <ac:chgData name="Miglani, Manisha" userId="dcd8ae44-efb6-4afd-b817-410b43c02073" providerId="ADAL" clId="{FF858129-72AD-8A43-B1B7-C8F787667F52}" dt="2021-06-09T12:20:18.868" v="1"/>
          <ac:spMkLst>
            <pc:docMk/>
            <pc:sldMk cId="3514439260" sldId="2305"/>
            <ac:spMk id="92" creationId="{26233FD9-4955-9544-8BDB-AEB737EE4DC3}"/>
          </ac:spMkLst>
        </pc:spChg>
        <pc:spChg chg="mod">
          <ac:chgData name="Miglani, Manisha" userId="dcd8ae44-efb6-4afd-b817-410b43c02073" providerId="ADAL" clId="{FF858129-72AD-8A43-B1B7-C8F787667F52}" dt="2021-06-09T12:20:18.868" v="1"/>
          <ac:spMkLst>
            <pc:docMk/>
            <pc:sldMk cId="3514439260" sldId="2305"/>
            <ac:spMk id="93" creationId="{E4A72969-AE76-584F-9D7E-E1C813EA4155}"/>
          </ac:spMkLst>
        </pc:spChg>
        <pc:spChg chg="mod">
          <ac:chgData name="Miglani, Manisha" userId="dcd8ae44-efb6-4afd-b817-410b43c02073" providerId="ADAL" clId="{FF858129-72AD-8A43-B1B7-C8F787667F52}" dt="2021-06-09T12:20:18.868" v="1"/>
          <ac:spMkLst>
            <pc:docMk/>
            <pc:sldMk cId="3514439260" sldId="2305"/>
            <ac:spMk id="94" creationId="{C394142C-4BF9-D144-8194-272289D3D099}"/>
          </ac:spMkLst>
        </pc:spChg>
        <pc:spChg chg="mod">
          <ac:chgData name="Miglani, Manisha" userId="dcd8ae44-efb6-4afd-b817-410b43c02073" providerId="ADAL" clId="{FF858129-72AD-8A43-B1B7-C8F787667F52}" dt="2021-06-09T12:20:18.868" v="1"/>
          <ac:spMkLst>
            <pc:docMk/>
            <pc:sldMk cId="3514439260" sldId="2305"/>
            <ac:spMk id="95" creationId="{859A95DA-F717-AD40-874F-76C8B1EFAEA9}"/>
          </ac:spMkLst>
        </pc:spChg>
        <pc:spChg chg="mod">
          <ac:chgData name="Miglani, Manisha" userId="dcd8ae44-efb6-4afd-b817-410b43c02073" providerId="ADAL" clId="{FF858129-72AD-8A43-B1B7-C8F787667F52}" dt="2021-06-09T12:20:18.868" v="1"/>
          <ac:spMkLst>
            <pc:docMk/>
            <pc:sldMk cId="3514439260" sldId="2305"/>
            <ac:spMk id="96" creationId="{12FAC3CD-42C6-CF4A-9BA8-67FD0D13BEF6}"/>
          </ac:spMkLst>
        </pc:spChg>
        <pc:spChg chg="mod">
          <ac:chgData name="Miglani, Manisha" userId="dcd8ae44-efb6-4afd-b817-410b43c02073" providerId="ADAL" clId="{FF858129-72AD-8A43-B1B7-C8F787667F52}" dt="2021-06-09T12:20:18.868" v="1"/>
          <ac:spMkLst>
            <pc:docMk/>
            <pc:sldMk cId="3514439260" sldId="2305"/>
            <ac:spMk id="97" creationId="{AE0CE7F2-8156-D94B-ACEE-47E414C4DB88}"/>
          </ac:spMkLst>
        </pc:spChg>
        <pc:spChg chg="mod">
          <ac:chgData name="Miglani, Manisha" userId="dcd8ae44-efb6-4afd-b817-410b43c02073" providerId="ADAL" clId="{FF858129-72AD-8A43-B1B7-C8F787667F52}" dt="2021-06-09T12:20:18.868" v="1"/>
          <ac:spMkLst>
            <pc:docMk/>
            <pc:sldMk cId="3514439260" sldId="2305"/>
            <ac:spMk id="98" creationId="{20D9B511-3DB7-0F4D-9BFB-444B9BABF23F}"/>
          </ac:spMkLst>
        </pc:spChg>
        <pc:spChg chg="mod">
          <ac:chgData name="Miglani, Manisha" userId="dcd8ae44-efb6-4afd-b817-410b43c02073" providerId="ADAL" clId="{FF858129-72AD-8A43-B1B7-C8F787667F52}" dt="2021-06-09T12:20:18.868" v="1"/>
          <ac:spMkLst>
            <pc:docMk/>
            <pc:sldMk cId="3514439260" sldId="2305"/>
            <ac:spMk id="99" creationId="{592FFFFA-1BB7-1D43-BB25-5E8719AE6BF3}"/>
          </ac:spMkLst>
        </pc:spChg>
        <pc:spChg chg="mod">
          <ac:chgData name="Miglani, Manisha" userId="dcd8ae44-efb6-4afd-b817-410b43c02073" providerId="ADAL" clId="{FF858129-72AD-8A43-B1B7-C8F787667F52}" dt="2021-06-09T12:20:18.868" v="1"/>
          <ac:spMkLst>
            <pc:docMk/>
            <pc:sldMk cId="3514439260" sldId="2305"/>
            <ac:spMk id="101" creationId="{9B31FB49-F564-694C-9C72-828F0E54E690}"/>
          </ac:spMkLst>
        </pc:spChg>
        <pc:spChg chg="mod">
          <ac:chgData name="Miglani, Manisha" userId="dcd8ae44-efb6-4afd-b817-410b43c02073" providerId="ADAL" clId="{FF858129-72AD-8A43-B1B7-C8F787667F52}" dt="2021-06-09T12:20:18.868" v="1"/>
          <ac:spMkLst>
            <pc:docMk/>
            <pc:sldMk cId="3514439260" sldId="2305"/>
            <ac:spMk id="102" creationId="{92949F6E-B936-D845-8E67-0F874649ED85}"/>
          </ac:spMkLst>
        </pc:spChg>
        <pc:grpChg chg="add mod">
          <ac:chgData name="Miglani, Manisha" userId="dcd8ae44-efb6-4afd-b817-410b43c02073" providerId="ADAL" clId="{FF858129-72AD-8A43-B1B7-C8F787667F52}" dt="2021-06-09T12:20:18.868" v="1"/>
          <ac:grpSpMkLst>
            <pc:docMk/>
            <pc:sldMk cId="3514439260" sldId="2305"/>
            <ac:grpSpMk id="38" creationId="{B885CB5B-73CF-0742-A233-E71887BD8957}"/>
          </ac:grpSpMkLst>
        </pc:grpChg>
        <pc:grpChg chg="add mod">
          <ac:chgData name="Miglani, Manisha" userId="dcd8ae44-efb6-4afd-b817-410b43c02073" providerId="ADAL" clId="{FF858129-72AD-8A43-B1B7-C8F787667F52}" dt="2021-06-09T12:20:18.868" v="1"/>
          <ac:grpSpMkLst>
            <pc:docMk/>
            <pc:sldMk cId="3514439260" sldId="2305"/>
            <ac:grpSpMk id="43" creationId="{949225C5-76E7-7545-973E-88D8CFEA28C2}"/>
          </ac:grpSpMkLst>
        </pc:grpChg>
        <pc:grpChg chg="add mod">
          <ac:chgData name="Miglani, Manisha" userId="dcd8ae44-efb6-4afd-b817-410b43c02073" providerId="ADAL" clId="{FF858129-72AD-8A43-B1B7-C8F787667F52}" dt="2021-06-09T12:20:18.868" v="1"/>
          <ac:grpSpMkLst>
            <pc:docMk/>
            <pc:sldMk cId="3514439260" sldId="2305"/>
            <ac:grpSpMk id="48" creationId="{17FFA12B-B3E9-C343-A262-F5B62C04BCAF}"/>
          </ac:grpSpMkLst>
        </pc:grpChg>
        <pc:grpChg chg="del">
          <ac:chgData name="Miglani, Manisha" userId="dcd8ae44-efb6-4afd-b817-410b43c02073" providerId="ADAL" clId="{FF858129-72AD-8A43-B1B7-C8F787667F52}" dt="2021-06-09T12:20:18.150" v="0" actId="478"/>
          <ac:grpSpMkLst>
            <pc:docMk/>
            <pc:sldMk cId="3514439260" sldId="2305"/>
            <ac:grpSpMk id="57" creationId="{DB7C5394-34C7-4F92-BE84-515B58C2B9D6}"/>
          </ac:grpSpMkLst>
        </pc:grpChg>
        <pc:grpChg chg="del">
          <ac:chgData name="Miglani, Manisha" userId="dcd8ae44-efb6-4afd-b817-410b43c02073" providerId="ADAL" clId="{FF858129-72AD-8A43-B1B7-C8F787667F52}" dt="2021-06-09T12:20:18.150" v="0" actId="478"/>
          <ac:grpSpMkLst>
            <pc:docMk/>
            <pc:sldMk cId="3514439260" sldId="2305"/>
            <ac:grpSpMk id="62" creationId="{896D47EC-422F-499E-9335-9A213B9956A9}"/>
          </ac:grpSpMkLst>
        </pc:grpChg>
        <pc:grpChg chg="del">
          <ac:chgData name="Miglani, Manisha" userId="dcd8ae44-efb6-4afd-b817-410b43c02073" providerId="ADAL" clId="{FF858129-72AD-8A43-B1B7-C8F787667F52}" dt="2021-06-09T12:20:18.150" v="0" actId="478"/>
          <ac:grpSpMkLst>
            <pc:docMk/>
            <pc:sldMk cId="3514439260" sldId="2305"/>
            <ac:grpSpMk id="67" creationId="{D5BF68DB-36C0-4759-A93F-8A7B051581AB}"/>
          </ac:grpSpMkLst>
        </pc:grpChg>
        <pc:grpChg chg="del">
          <ac:chgData name="Miglani, Manisha" userId="dcd8ae44-efb6-4afd-b817-410b43c02073" providerId="ADAL" clId="{FF858129-72AD-8A43-B1B7-C8F787667F52}" dt="2021-06-09T12:20:18.150" v="0" actId="478"/>
          <ac:grpSpMkLst>
            <pc:docMk/>
            <pc:sldMk cId="3514439260" sldId="2305"/>
            <ac:grpSpMk id="85" creationId="{518A27A2-9A39-445E-9DC1-133CE8D934EB}"/>
          </ac:grpSpMkLst>
        </pc:grpChg>
        <pc:grpChg chg="add mod">
          <ac:chgData name="Miglani, Manisha" userId="dcd8ae44-efb6-4afd-b817-410b43c02073" providerId="ADAL" clId="{FF858129-72AD-8A43-B1B7-C8F787667F52}" dt="2021-06-09T12:20:18.868" v="1"/>
          <ac:grpSpMkLst>
            <pc:docMk/>
            <pc:sldMk cId="3514439260" sldId="2305"/>
            <ac:grpSpMk id="100" creationId="{FA028516-DDEA-6749-B695-FA95E744C69B}"/>
          </ac:grpSpMkLst>
        </pc:grpChg>
        <pc:graphicFrameChg chg="add mod">
          <ac:chgData name="Miglani, Manisha" userId="dcd8ae44-efb6-4afd-b817-410b43c02073" providerId="ADAL" clId="{FF858129-72AD-8A43-B1B7-C8F787667F52}" dt="2021-06-09T12:20:18.868" v="1"/>
          <ac:graphicFrameMkLst>
            <pc:docMk/>
            <pc:sldMk cId="3514439260" sldId="2305"/>
            <ac:graphicFrameMk id="42" creationId="{239B6F95-06D0-964F-BE7D-FE3E4F69DFCF}"/>
          </ac:graphicFrameMkLst>
        </pc:graphicFrameChg>
        <pc:graphicFrameChg chg="del">
          <ac:chgData name="Miglani, Manisha" userId="dcd8ae44-efb6-4afd-b817-410b43c02073" providerId="ADAL" clId="{FF858129-72AD-8A43-B1B7-C8F787667F52}" dt="2021-06-09T12:20:18.150" v="0" actId="478"/>
          <ac:graphicFrameMkLst>
            <pc:docMk/>
            <pc:sldMk cId="3514439260" sldId="2305"/>
            <ac:graphicFrameMk id="61" creationId="{4801285B-179A-4365-8CD2-4998F1A5B012}"/>
          </ac:graphicFrameMkLst>
        </pc:graphicFrameChg>
        <pc:cxnChg chg="add mod">
          <ac:chgData name="Miglani, Manisha" userId="dcd8ae44-efb6-4afd-b817-410b43c02073" providerId="ADAL" clId="{FF858129-72AD-8A43-B1B7-C8F787667F52}" dt="2021-06-09T12:20:18.868" v="1"/>
          <ac:cxnSpMkLst>
            <pc:docMk/>
            <pc:sldMk cId="3514439260" sldId="2305"/>
            <ac:cxnSpMk id="37" creationId="{4D6441A3-FF15-7143-99CC-8999204A94B7}"/>
          </ac:cxnSpMkLst>
        </pc:cxnChg>
        <pc:cxnChg chg="del">
          <ac:chgData name="Miglani, Manisha" userId="dcd8ae44-efb6-4afd-b817-410b43c02073" providerId="ADAL" clId="{FF858129-72AD-8A43-B1B7-C8F787667F52}" dt="2021-06-09T12:20:18.150" v="0" actId="478"/>
          <ac:cxnSpMkLst>
            <pc:docMk/>
            <pc:sldMk cId="3514439260" sldId="2305"/>
            <ac:cxnSpMk id="56" creationId="{80FC6EC7-424B-44B1-B111-03FE109C037A}"/>
          </ac:cxnSpMkLst>
        </pc:cxnChg>
      </pc:sldChg>
      <pc:sldChg chg="addSp modSp mod">
        <pc:chgData name="Miglani, Manisha" userId="dcd8ae44-efb6-4afd-b817-410b43c02073" providerId="ADAL" clId="{FF858129-72AD-8A43-B1B7-C8F787667F52}" dt="2021-06-09T12:23:08.990" v="33" actId="465"/>
        <pc:sldMkLst>
          <pc:docMk/>
          <pc:sldMk cId="2889977234" sldId="2551"/>
        </pc:sldMkLst>
        <pc:spChg chg="mod">
          <ac:chgData name="Miglani, Manisha" userId="dcd8ae44-efb6-4afd-b817-410b43c02073" providerId="ADAL" clId="{FF858129-72AD-8A43-B1B7-C8F787667F52}" dt="2021-06-09T12:23:08.990" v="33" actId="465"/>
          <ac:spMkLst>
            <pc:docMk/>
            <pc:sldMk cId="2889977234" sldId="2551"/>
            <ac:spMk id="7" creationId="{4C51769B-1A75-4312-B44F-AD99D27B944F}"/>
          </ac:spMkLst>
        </pc:spChg>
        <pc:spChg chg="mod">
          <ac:chgData name="Miglani, Manisha" userId="dcd8ae44-efb6-4afd-b817-410b43c02073" providerId="ADAL" clId="{FF858129-72AD-8A43-B1B7-C8F787667F52}" dt="2021-06-09T12:23:08.990" v="33" actId="465"/>
          <ac:spMkLst>
            <pc:docMk/>
            <pc:sldMk cId="2889977234" sldId="2551"/>
            <ac:spMk id="8" creationId="{6E5D878F-44F1-45FD-9C5D-FA05DCBDF0CF}"/>
          </ac:spMkLst>
        </pc:spChg>
        <pc:spChg chg="mod">
          <ac:chgData name="Miglani, Manisha" userId="dcd8ae44-efb6-4afd-b817-410b43c02073" providerId="ADAL" clId="{FF858129-72AD-8A43-B1B7-C8F787667F52}" dt="2021-06-09T12:23:08.990" v="33" actId="465"/>
          <ac:spMkLst>
            <pc:docMk/>
            <pc:sldMk cId="2889977234" sldId="2551"/>
            <ac:spMk id="9" creationId="{9DFF69AF-3FF5-4892-910C-A6AB04917686}"/>
          </ac:spMkLst>
        </pc:spChg>
        <pc:spChg chg="mod">
          <ac:chgData name="Miglani, Manisha" userId="dcd8ae44-efb6-4afd-b817-410b43c02073" providerId="ADAL" clId="{FF858129-72AD-8A43-B1B7-C8F787667F52}" dt="2021-06-09T12:22:50.863" v="26" actId="948"/>
          <ac:spMkLst>
            <pc:docMk/>
            <pc:sldMk cId="2889977234" sldId="2551"/>
            <ac:spMk id="13" creationId="{D1AEF6A5-A15C-4947-AD35-807CFCA3E699}"/>
          </ac:spMkLst>
        </pc:spChg>
        <pc:spChg chg="mod">
          <ac:chgData name="Miglani, Manisha" userId="dcd8ae44-efb6-4afd-b817-410b43c02073" providerId="ADAL" clId="{FF858129-72AD-8A43-B1B7-C8F787667F52}" dt="2021-06-09T12:23:00.914" v="30" actId="948"/>
          <ac:spMkLst>
            <pc:docMk/>
            <pc:sldMk cId="2889977234" sldId="2551"/>
            <ac:spMk id="19" creationId="{29D15A47-6D19-41DE-8022-B37711D2C069}"/>
          </ac:spMkLst>
        </pc:spChg>
        <pc:spChg chg="mod">
          <ac:chgData name="Miglani, Manisha" userId="dcd8ae44-efb6-4afd-b817-410b43c02073" providerId="ADAL" clId="{FF858129-72AD-8A43-B1B7-C8F787667F52}" dt="2021-06-09T12:23:08.990" v="33" actId="465"/>
          <ac:spMkLst>
            <pc:docMk/>
            <pc:sldMk cId="2889977234" sldId="2551"/>
            <ac:spMk id="20" creationId="{7E60A716-5263-40D7-A37B-54040E4316B3}"/>
          </ac:spMkLst>
        </pc:spChg>
        <pc:spChg chg="mod">
          <ac:chgData name="Miglani, Manisha" userId="dcd8ae44-efb6-4afd-b817-410b43c02073" providerId="ADAL" clId="{FF858129-72AD-8A43-B1B7-C8F787667F52}" dt="2021-06-09T12:23:08.990" v="33" actId="465"/>
          <ac:spMkLst>
            <pc:docMk/>
            <pc:sldMk cId="2889977234" sldId="2551"/>
            <ac:spMk id="21" creationId="{170AADAA-B247-4BC4-B3B0-E0510863B815}"/>
          </ac:spMkLst>
        </pc:spChg>
        <pc:spChg chg="mod">
          <ac:chgData name="Miglani, Manisha" userId="dcd8ae44-efb6-4afd-b817-410b43c02073" providerId="ADAL" clId="{FF858129-72AD-8A43-B1B7-C8F787667F52}" dt="2021-06-09T12:23:08.990" v="33" actId="465"/>
          <ac:spMkLst>
            <pc:docMk/>
            <pc:sldMk cId="2889977234" sldId="2551"/>
            <ac:spMk id="22" creationId="{20DEA367-B737-46A0-B9AE-B017D51A0E11}"/>
          </ac:spMkLst>
        </pc:spChg>
        <pc:spChg chg="mod">
          <ac:chgData name="Miglani, Manisha" userId="dcd8ae44-efb6-4afd-b817-410b43c02073" providerId="ADAL" clId="{FF858129-72AD-8A43-B1B7-C8F787667F52}" dt="2021-06-09T12:20:38.292" v="2" actId="14100"/>
          <ac:spMkLst>
            <pc:docMk/>
            <pc:sldMk cId="2889977234" sldId="2551"/>
            <ac:spMk id="24" creationId="{C3FDA586-8950-4736-9EE4-428C72416000}"/>
          </ac:spMkLst>
        </pc:spChg>
        <pc:spChg chg="mod">
          <ac:chgData name="Miglani, Manisha" userId="dcd8ae44-efb6-4afd-b817-410b43c02073" providerId="ADAL" clId="{FF858129-72AD-8A43-B1B7-C8F787667F52}" dt="2021-06-09T12:22:08.175" v="21" actId="20577"/>
          <ac:spMkLst>
            <pc:docMk/>
            <pc:sldMk cId="2889977234" sldId="2551"/>
            <ac:spMk id="26" creationId="{CA0451B7-610A-4DBE-ADD3-624003A3D608}"/>
          </ac:spMkLst>
        </pc:spChg>
        <pc:spChg chg="mod">
          <ac:chgData name="Miglani, Manisha" userId="dcd8ae44-efb6-4afd-b817-410b43c02073" providerId="ADAL" clId="{FF858129-72AD-8A43-B1B7-C8F787667F52}" dt="2021-06-09T12:20:38.292" v="2" actId="14100"/>
          <ac:spMkLst>
            <pc:docMk/>
            <pc:sldMk cId="2889977234" sldId="2551"/>
            <ac:spMk id="28" creationId="{4D1FE240-2603-47A7-B2EE-9669C334CF77}"/>
          </ac:spMkLst>
        </pc:spChg>
        <pc:grpChg chg="add mod">
          <ac:chgData name="Miglani, Manisha" userId="dcd8ae44-efb6-4afd-b817-410b43c02073" providerId="ADAL" clId="{FF858129-72AD-8A43-B1B7-C8F787667F52}" dt="2021-06-09T12:21:30.028" v="14" actId="1076"/>
          <ac:grpSpMkLst>
            <pc:docMk/>
            <pc:sldMk cId="2889977234" sldId="2551"/>
            <ac:grpSpMk id="3" creationId="{4C680503-32EA-E84F-B6F1-1A3E33C05B69}"/>
          </ac:grpSpMkLst>
        </pc:grpChg>
        <pc:grpChg chg="add mod">
          <ac:chgData name="Miglani, Manisha" userId="dcd8ae44-efb6-4afd-b817-410b43c02073" providerId="ADAL" clId="{FF858129-72AD-8A43-B1B7-C8F787667F52}" dt="2021-06-09T12:23:08.990" v="33" actId="465"/>
          <ac:grpSpMkLst>
            <pc:docMk/>
            <pc:sldMk cId="2889977234" sldId="2551"/>
            <ac:grpSpMk id="4" creationId="{53C0F78B-84B1-4D44-88F0-6A0657CAE81E}"/>
          </ac:grpSpMkLst>
        </pc:grpChg>
        <pc:grpChg chg="add mod">
          <ac:chgData name="Miglani, Manisha" userId="dcd8ae44-efb6-4afd-b817-410b43c02073" providerId="ADAL" clId="{FF858129-72AD-8A43-B1B7-C8F787667F52}" dt="2021-06-09T12:23:08.990" v="33" actId="465"/>
          <ac:grpSpMkLst>
            <pc:docMk/>
            <pc:sldMk cId="2889977234" sldId="2551"/>
            <ac:grpSpMk id="5" creationId="{4A2CF09A-4A3F-644B-9276-0188EE899D88}"/>
          </ac:grpSpMkLst>
        </pc:grpChg>
        <pc:grpChg chg="add mod">
          <ac:chgData name="Miglani, Manisha" userId="dcd8ae44-efb6-4afd-b817-410b43c02073" providerId="ADAL" clId="{FF858129-72AD-8A43-B1B7-C8F787667F52}" dt="2021-06-09T12:23:08.990" v="33" actId="465"/>
          <ac:grpSpMkLst>
            <pc:docMk/>
            <pc:sldMk cId="2889977234" sldId="2551"/>
            <ac:grpSpMk id="6" creationId="{494CD2E2-FC36-8647-9A9B-11B02C3A20B8}"/>
          </ac:grpSpMkLst>
        </pc:grpChg>
        <pc:grpChg chg="add mod">
          <ac:chgData name="Miglani, Manisha" userId="dcd8ae44-efb6-4afd-b817-410b43c02073" providerId="ADAL" clId="{FF858129-72AD-8A43-B1B7-C8F787667F52}" dt="2021-06-09T12:23:08.990" v="33" actId="465"/>
          <ac:grpSpMkLst>
            <pc:docMk/>
            <pc:sldMk cId="2889977234" sldId="2551"/>
            <ac:grpSpMk id="14" creationId="{30B5D73A-F6B5-DA4B-A44F-355EABD34B57}"/>
          </ac:grpSpMkLst>
        </pc:grpChg>
        <pc:grpChg chg="add mod">
          <ac:chgData name="Miglani, Manisha" userId="dcd8ae44-efb6-4afd-b817-410b43c02073" providerId="ADAL" clId="{FF858129-72AD-8A43-B1B7-C8F787667F52}" dt="2021-06-09T12:23:08.990" v="33" actId="465"/>
          <ac:grpSpMkLst>
            <pc:docMk/>
            <pc:sldMk cId="2889977234" sldId="2551"/>
            <ac:grpSpMk id="15" creationId="{10D46707-E5CF-ED48-AC11-AF0535FDD962}"/>
          </ac:grpSpMkLst>
        </pc:grpChg>
        <pc:cxnChg chg="mod">
          <ac:chgData name="Miglani, Manisha" userId="dcd8ae44-efb6-4afd-b817-410b43c02073" providerId="ADAL" clId="{FF858129-72AD-8A43-B1B7-C8F787667F52}" dt="2021-06-09T12:23:08.990" v="33" actId="465"/>
          <ac:cxnSpMkLst>
            <pc:docMk/>
            <pc:sldMk cId="2889977234" sldId="2551"/>
            <ac:cxnSpMk id="10" creationId="{D371B6AD-631D-4012-A5EE-CC99860A5C02}"/>
          </ac:cxnSpMkLst>
        </pc:cxnChg>
        <pc:cxnChg chg="mod">
          <ac:chgData name="Miglani, Manisha" userId="dcd8ae44-efb6-4afd-b817-410b43c02073" providerId="ADAL" clId="{FF858129-72AD-8A43-B1B7-C8F787667F52}" dt="2021-06-09T12:23:08.990" v="33" actId="465"/>
          <ac:cxnSpMkLst>
            <pc:docMk/>
            <pc:sldMk cId="2889977234" sldId="2551"/>
            <ac:cxnSpMk id="11" creationId="{9E2458B0-F349-499D-AAA2-28025EF1BC63}"/>
          </ac:cxnSpMkLst>
        </pc:cxnChg>
        <pc:cxnChg chg="mod">
          <ac:chgData name="Miglani, Manisha" userId="dcd8ae44-efb6-4afd-b817-410b43c02073" providerId="ADAL" clId="{FF858129-72AD-8A43-B1B7-C8F787667F52}" dt="2021-06-09T12:23:08.990" v="33" actId="465"/>
          <ac:cxnSpMkLst>
            <pc:docMk/>
            <pc:sldMk cId="2889977234" sldId="2551"/>
            <ac:cxnSpMk id="12" creationId="{4694C394-1DEB-4D2A-ADF2-0A291DDFF93F}"/>
          </ac:cxnSpMkLst>
        </pc:cxnChg>
      </pc:sldChg>
      <pc:sldChg chg="addSp delSp modSp mod addCm delCm modCm">
        <pc:chgData name="Miglani, Manisha" userId="dcd8ae44-efb6-4afd-b817-410b43c02073" providerId="ADAL" clId="{FF858129-72AD-8A43-B1B7-C8F787667F52}" dt="2021-06-10T07:53:56.481" v="367" actId="1076"/>
        <pc:sldMkLst>
          <pc:docMk/>
          <pc:sldMk cId="1570553839" sldId="2552"/>
        </pc:sldMkLst>
        <pc:spChg chg="mod">
          <ac:chgData name="Miglani, Manisha" userId="dcd8ae44-efb6-4afd-b817-410b43c02073" providerId="ADAL" clId="{FF858129-72AD-8A43-B1B7-C8F787667F52}" dt="2021-06-10T07:52:13.361" v="349" actId="20577"/>
          <ac:spMkLst>
            <pc:docMk/>
            <pc:sldMk cId="1570553839" sldId="2552"/>
            <ac:spMk id="3" creationId="{D076719E-B36E-40E3-97E8-E213435E2096}"/>
          </ac:spMkLst>
        </pc:spChg>
        <pc:spChg chg="del">
          <ac:chgData name="Miglani, Manisha" userId="dcd8ae44-efb6-4afd-b817-410b43c02073" providerId="ADAL" clId="{FF858129-72AD-8A43-B1B7-C8F787667F52}" dt="2021-06-10T06:43:20.704" v="128" actId="478"/>
          <ac:spMkLst>
            <pc:docMk/>
            <pc:sldMk cId="1570553839" sldId="2552"/>
            <ac:spMk id="5" creationId="{5CFAA0FB-5E00-4DE6-8722-213D4CD726D7}"/>
          </ac:spMkLst>
        </pc:spChg>
        <pc:spChg chg="add del mod">
          <ac:chgData name="Miglani, Manisha" userId="dcd8ae44-efb6-4afd-b817-410b43c02073" providerId="ADAL" clId="{FF858129-72AD-8A43-B1B7-C8F787667F52}" dt="2021-06-09T12:26:03.116" v="71" actId="478"/>
          <ac:spMkLst>
            <pc:docMk/>
            <pc:sldMk cId="1570553839" sldId="2552"/>
            <ac:spMk id="6" creationId="{6234A279-5DC0-A146-BF28-74D9006CD57B}"/>
          </ac:spMkLst>
        </pc:spChg>
        <pc:spChg chg="mod">
          <ac:chgData name="Miglani, Manisha" userId="dcd8ae44-efb6-4afd-b817-410b43c02073" providerId="ADAL" clId="{FF858129-72AD-8A43-B1B7-C8F787667F52}" dt="2021-06-09T12:24:53.122" v="53" actId="255"/>
          <ac:spMkLst>
            <pc:docMk/>
            <pc:sldMk cId="1570553839" sldId="2552"/>
            <ac:spMk id="12" creationId="{213A537C-3FF3-9A47-8561-D303CDB02C4A}"/>
          </ac:spMkLst>
        </pc:spChg>
        <pc:spChg chg="mod">
          <ac:chgData name="Miglani, Manisha" userId="dcd8ae44-efb6-4afd-b817-410b43c02073" providerId="ADAL" clId="{FF858129-72AD-8A43-B1B7-C8F787667F52}" dt="2021-06-09T12:24:53.122" v="53" actId="255"/>
          <ac:spMkLst>
            <pc:docMk/>
            <pc:sldMk cId="1570553839" sldId="2552"/>
            <ac:spMk id="13" creationId="{27115EDF-CE5D-0A46-BB9B-E75C49060CFB}"/>
          </ac:spMkLst>
        </pc:spChg>
        <pc:spChg chg="mod">
          <ac:chgData name="Miglani, Manisha" userId="dcd8ae44-efb6-4afd-b817-410b43c02073" providerId="ADAL" clId="{FF858129-72AD-8A43-B1B7-C8F787667F52}" dt="2021-06-09T12:24:53.122" v="53" actId="255"/>
          <ac:spMkLst>
            <pc:docMk/>
            <pc:sldMk cId="1570553839" sldId="2552"/>
            <ac:spMk id="14" creationId="{1FD6EEA1-2C0B-9048-ACD3-3A5393B5AE83}"/>
          </ac:spMkLst>
        </pc:spChg>
        <pc:spChg chg="mod">
          <ac:chgData name="Miglani, Manisha" userId="dcd8ae44-efb6-4afd-b817-410b43c02073" providerId="ADAL" clId="{FF858129-72AD-8A43-B1B7-C8F787667F52}" dt="2021-06-09T12:24:53.122" v="53" actId="255"/>
          <ac:spMkLst>
            <pc:docMk/>
            <pc:sldMk cId="1570553839" sldId="2552"/>
            <ac:spMk id="15" creationId="{84E19347-FC1B-1744-8C69-BDC678E5E9B4}"/>
          </ac:spMkLst>
        </pc:spChg>
        <pc:spChg chg="mod">
          <ac:chgData name="Miglani, Manisha" userId="dcd8ae44-efb6-4afd-b817-410b43c02073" providerId="ADAL" clId="{FF858129-72AD-8A43-B1B7-C8F787667F52}" dt="2021-06-09T12:24:53.122" v="53" actId="255"/>
          <ac:spMkLst>
            <pc:docMk/>
            <pc:sldMk cId="1570553839" sldId="2552"/>
            <ac:spMk id="17" creationId="{9708D6D7-AA1E-8F41-9A4C-90D7317DD13F}"/>
          </ac:spMkLst>
        </pc:spChg>
        <pc:spChg chg="mod">
          <ac:chgData name="Miglani, Manisha" userId="dcd8ae44-efb6-4afd-b817-410b43c02073" providerId="ADAL" clId="{FF858129-72AD-8A43-B1B7-C8F787667F52}" dt="2021-06-09T12:24:53.122" v="53" actId="255"/>
          <ac:spMkLst>
            <pc:docMk/>
            <pc:sldMk cId="1570553839" sldId="2552"/>
            <ac:spMk id="18" creationId="{BFB5C949-2DA9-D14E-A355-9C4A986A00A6}"/>
          </ac:spMkLst>
        </pc:spChg>
        <pc:spChg chg="mod">
          <ac:chgData name="Miglani, Manisha" userId="dcd8ae44-efb6-4afd-b817-410b43c02073" providerId="ADAL" clId="{FF858129-72AD-8A43-B1B7-C8F787667F52}" dt="2021-06-09T12:24:53.122" v="53" actId="255"/>
          <ac:spMkLst>
            <pc:docMk/>
            <pc:sldMk cId="1570553839" sldId="2552"/>
            <ac:spMk id="19" creationId="{08BDB36C-D5F7-7143-A379-184AF84ECC0B}"/>
          </ac:spMkLst>
        </pc:spChg>
        <pc:spChg chg="mod">
          <ac:chgData name="Miglani, Manisha" userId="dcd8ae44-efb6-4afd-b817-410b43c02073" providerId="ADAL" clId="{FF858129-72AD-8A43-B1B7-C8F787667F52}" dt="2021-06-09T12:24:53.122" v="53" actId="255"/>
          <ac:spMkLst>
            <pc:docMk/>
            <pc:sldMk cId="1570553839" sldId="2552"/>
            <ac:spMk id="20" creationId="{A7F8947E-A503-5B48-AF0A-70DC9FC73CC1}"/>
          </ac:spMkLst>
        </pc:spChg>
        <pc:spChg chg="mod">
          <ac:chgData name="Miglani, Manisha" userId="dcd8ae44-efb6-4afd-b817-410b43c02073" providerId="ADAL" clId="{FF858129-72AD-8A43-B1B7-C8F787667F52}" dt="2021-06-09T12:24:53.122" v="53" actId="255"/>
          <ac:spMkLst>
            <pc:docMk/>
            <pc:sldMk cId="1570553839" sldId="2552"/>
            <ac:spMk id="21" creationId="{4BE11177-E920-4A42-9BAE-245A259EC00F}"/>
          </ac:spMkLst>
        </pc:spChg>
        <pc:spChg chg="mod">
          <ac:chgData name="Miglani, Manisha" userId="dcd8ae44-efb6-4afd-b817-410b43c02073" providerId="ADAL" clId="{FF858129-72AD-8A43-B1B7-C8F787667F52}" dt="2021-06-09T12:24:53.122" v="53" actId="255"/>
          <ac:spMkLst>
            <pc:docMk/>
            <pc:sldMk cId="1570553839" sldId="2552"/>
            <ac:spMk id="22" creationId="{0BFC3891-B4F0-9F4F-B156-B45E75016AAE}"/>
          </ac:spMkLst>
        </pc:spChg>
        <pc:spChg chg="mod">
          <ac:chgData name="Miglani, Manisha" userId="dcd8ae44-efb6-4afd-b817-410b43c02073" providerId="ADAL" clId="{FF858129-72AD-8A43-B1B7-C8F787667F52}" dt="2021-06-09T12:24:53.122" v="53" actId="255"/>
          <ac:spMkLst>
            <pc:docMk/>
            <pc:sldMk cId="1570553839" sldId="2552"/>
            <ac:spMk id="24" creationId="{34EE97DD-2565-A34C-AF80-BAB6667DCCF7}"/>
          </ac:spMkLst>
        </pc:spChg>
        <pc:spChg chg="mod">
          <ac:chgData name="Miglani, Manisha" userId="dcd8ae44-efb6-4afd-b817-410b43c02073" providerId="ADAL" clId="{FF858129-72AD-8A43-B1B7-C8F787667F52}" dt="2021-06-09T12:24:53.122" v="53" actId="255"/>
          <ac:spMkLst>
            <pc:docMk/>
            <pc:sldMk cId="1570553839" sldId="2552"/>
            <ac:spMk id="26" creationId="{9B47E5D1-45A2-6545-90F7-9FC687D3DB23}"/>
          </ac:spMkLst>
        </pc:spChg>
        <pc:spChg chg="mod">
          <ac:chgData name="Miglani, Manisha" userId="dcd8ae44-efb6-4afd-b817-410b43c02073" providerId="ADAL" clId="{FF858129-72AD-8A43-B1B7-C8F787667F52}" dt="2021-06-09T12:24:45.414" v="50" actId="1076"/>
          <ac:spMkLst>
            <pc:docMk/>
            <pc:sldMk cId="1570553839" sldId="2552"/>
            <ac:spMk id="32" creationId="{1E6D81D3-BC4C-4445-9A25-883EDF1EFB52}"/>
          </ac:spMkLst>
        </pc:spChg>
        <pc:spChg chg="mod">
          <ac:chgData name="Miglani, Manisha" userId="dcd8ae44-efb6-4afd-b817-410b43c02073" providerId="ADAL" clId="{FF858129-72AD-8A43-B1B7-C8F787667F52}" dt="2021-06-09T12:24:45.414" v="50" actId="1076"/>
          <ac:spMkLst>
            <pc:docMk/>
            <pc:sldMk cId="1570553839" sldId="2552"/>
            <ac:spMk id="33" creationId="{C00FF6CA-0AC5-024D-B328-A28CF6DF0E73}"/>
          </ac:spMkLst>
        </pc:spChg>
        <pc:spChg chg="mod">
          <ac:chgData name="Miglani, Manisha" userId="dcd8ae44-efb6-4afd-b817-410b43c02073" providerId="ADAL" clId="{FF858129-72AD-8A43-B1B7-C8F787667F52}" dt="2021-06-09T12:24:41.373" v="49" actId="255"/>
          <ac:spMkLst>
            <pc:docMk/>
            <pc:sldMk cId="1570553839" sldId="2552"/>
            <ac:spMk id="34" creationId="{60FFC32D-36B2-9343-960B-9FF524D3A976}"/>
          </ac:spMkLst>
        </pc:spChg>
        <pc:spChg chg="mod">
          <ac:chgData name="Miglani, Manisha" userId="dcd8ae44-efb6-4afd-b817-410b43c02073" providerId="ADAL" clId="{FF858129-72AD-8A43-B1B7-C8F787667F52}" dt="2021-06-09T12:24:41.373" v="49" actId="255"/>
          <ac:spMkLst>
            <pc:docMk/>
            <pc:sldMk cId="1570553839" sldId="2552"/>
            <ac:spMk id="35" creationId="{095CB904-AE91-0643-8246-BD0A9F6AE17A}"/>
          </ac:spMkLst>
        </pc:spChg>
        <pc:spChg chg="add del mod topLvl">
          <ac:chgData name="Miglani, Manisha" userId="dcd8ae44-efb6-4afd-b817-410b43c02073" providerId="ADAL" clId="{FF858129-72AD-8A43-B1B7-C8F787667F52}" dt="2021-06-09T12:27:46.031" v="97" actId="478"/>
          <ac:spMkLst>
            <pc:docMk/>
            <pc:sldMk cId="1570553839" sldId="2552"/>
            <ac:spMk id="36" creationId="{E6B2500C-0C49-D144-9F6A-7890C72F257B}"/>
          </ac:spMkLst>
        </pc:spChg>
        <pc:spChg chg="add mod topLvl">
          <ac:chgData name="Miglani, Manisha" userId="dcd8ae44-efb6-4afd-b817-410b43c02073" providerId="ADAL" clId="{FF858129-72AD-8A43-B1B7-C8F787667F52}" dt="2021-06-09T12:28:47.535" v="113" actId="1076"/>
          <ac:spMkLst>
            <pc:docMk/>
            <pc:sldMk cId="1570553839" sldId="2552"/>
            <ac:spMk id="37" creationId="{4F7B5910-3B00-9B4E-85DA-F738B7148213}"/>
          </ac:spMkLst>
        </pc:spChg>
        <pc:spChg chg="add del mod topLvl">
          <ac:chgData name="Miglani, Manisha" userId="dcd8ae44-efb6-4afd-b817-410b43c02073" providerId="ADAL" clId="{FF858129-72AD-8A43-B1B7-C8F787667F52}" dt="2021-06-09T12:27:52.003" v="100" actId="478"/>
          <ac:spMkLst>
            <pc:docMk/>
            <pc:sldMk cId="1570553839" sldId="2552"/>
            <ac:spMk id="38" creationId="{E2EE97B0-F717-3246-B00E-872A12DE0169}"/>
          </ac:spMkLst>
        </pc:spChg>
        <pc:spChg chg="add mod topLvl">
          <ac:chgData name="Miglani, Manisha" userId="dcd8ae44-efb6-4afd-b817-410b43c02073" providerId="ADAL" clId="{FF858129-72AD-8A43-B1B7-C8F787667F52}" dt="2021-06-09T12:29:12.840" v="120" actId="1076"/>
          <ac:spMkLst>
            <pc:docMk/>
            <pc:sldMk cId="1570553839" sldId="2552"/>
            <ac:spMk id="39" creationId="{2A2D99D2-C543-9742-8F4F-5BDB00D7DD93}"/>
          </ac:spMkLst>
        </pc:spChg>
        <pc:spChg chg="mod">
          <ac:chgData name="Miglani, Manisha" userId="dcd8ae44-efb6-4afd-b817-410b43c02073" providerId="ADAL" clId="{FF858129-72AD-8A43-B1B7-C8F787667F52}" dt="2021-06-10T07:40:01.558" v="221" actId="207"/>
          <ac:spMkLst>
            <pc:docMk/>
            <pc:sldMk cId="1570553839" sldId="2552"/>
            <ac:spMk id="41" creationId="{A5AFFFEF-38AD-1443-BB07-2F5FCB65A866}"/>
          </ac:spMkLst>
        </pc:spChg>
        <pc:spChg chg="mod">
          <ac:chgData name="Miglani, Manisha" userId="dcd8ae44-efb6-4afd-b817-410b43c02073" providerId="ADAL" clId="{FF858129-72AD-8A43-B1B7-C8F787667F52}" dt="2021-06-10T07:40:01.558" v="221" actId="207"/>
          <ac:spMkLst>
            <pc:docMk/>
            <pc:sldMk cId="1570553839" sldId="2552"/>
            <ac:spMk id="42" creationId="{4D3C2894-758F-6345-9B85-8ABF019A66FD}"/>
          </ac:spMkLst>
        </pc:spChg>
        <pc:spChg chg="mod">
          <ac:chgData name="Miglani, Manisha" userId="dcd8ae44-efb6-4afd-b817-410b43c02073" providerId="ADAL" clId="{FF858129-72AD-8A43-B1B7-C8F787667F52}" dt="2021-06-10T07:40:01.558" v="221" actId="207"/>
          <ac:spMkLst>
            <pc:docMk/>
            <pc:sldMk cId="1570553839" sldId="2552"/>
            <ac:spMk id="43" creationId="{0C9A3304-5A6F-7A41-A915-2BFF2F88A94B}"/>
          </ac:spMkLst>
        </pc:spChg>
        <pc:spChg chg="mod">
          <ac:chgData name="Miglani, Manisha" userId="dcd8ae44-efb6-4afd-b817-410b43c02073" providerId="ADAL" clId="{FF858129-72AD-8A43-B1B7-C8F787667F52}" dt="2021-06-10T07:40:01.558" v="221" actId="207"/>
          <ac:spMkLst>
            <pc:docMk/>
            <pc:sldMk cId="1570553839" sldId="2552"/>
            <ac:spMk id="44" creationId="{10078EA3-0EC4-5242-AEF8-3CFA7F21B8A8}"/>
          </ac:spMkLst>
        </pc:spChg>
        <pc:spChg chg="mod">
          <ac:chgData name="Miglani, Manisha" userId="dcd8ae44-efb6-4afd-b817-410b43c02073" providerId="ADAL" clId="{FF858129-72AD-8A43-B1B7-C8F787667F52}" dt="2021-06-10T07:40:01.558" v="221" actId="207"/>
          <ac:spMkLst>
            <pc:docMk/>
            <pc:sldMk cId="1570553839" sldId="2552"/>
            <ac:spMk id="45" creationId="{D6821CFD-3A2C-F046-A168-D77B13B317DC}"/>
          </ac:spMkLst>
        </pc:spChg>
        <pc:spChg chg="mod">
          <ac:chgData name="Miglani, Manisha" userId="dcd8ae44-efb6-4afd-b817-410b43c02073" providerId="ADAL" clId="{FF858129-72AD-8A43-B1B7-C8F787667F52}" dt="2021-06-10T07:40:01.558" v="221" actId="207"/>
          <ac:spMkLst>
            <pc:docMk/>
            <pc:sldMk cId="1570553839" sldId="2552"/>
            <ac:spMk id="46" creationId="{782099DC-7FA0-1A41-B167-FE17CE198F45}"/>
          </ac:spMkLst>
        </pc:spChg>
        <pc:spChg chg="mod">
          <ac:chgData name="Miglani, Manisha" userId="dcd8ae44-efb6-4afd-b817-410b43c02073" providerId="ADAL" clId="{FF858129-72AD-8A43-B1B7-C8F787667F52}" dt="2021-06-10T07:40:01.558" v="221" actId="207"/>
          <ac:spMkLst>
            <pc:docMk/>
            <pc:sldMk cId="1570553839" sldId="2552"/>
            <ac:spMk id="47" creationId="{93D7EE3E-E112-E949-A587-8A65E7D7A73E}"/>
          </ac:spMkLst>
        </pc:spChg>
        <pc:spChg chg="mod">
          <ac:chgData name="Miglani, Manisha" userId="dcd8ae44-efb6-4afd-b817-410b43c02073" providerId="ADAL" clId="{FF858129-72AD-8A43-B1B7-C8F787667F52}" dt="2021-06-10T07:40:01.558" v="221" actId="207"/>
          <ac:spMkLst>
            <pc:docMk/>
            <pc:sldMk cId="1570553839" sldId="2552"/>
            <ac:spMk id="48" creationId="{CD1CB349-A764-374A-9BC1-2B0240AC64A7}"/>
          </ac:spMkLst>
        </pc:spChg>
        <pc:spChg chg="mod">
          <ac:chgData name="Miglani, Manisha" userId="dcd8ae44-efb6-4afd-b817-410b43c02073" providerId="ADAL" clId="{FF858129-72AD-8A43-B1B7-C8F787667F52}" dt="2021-06-10T07:40:01.558" v="221" actId="207"/>
          <ac:spMkLst>
            <pc:docMk/>
            <pc:sldMk cId="1570553839" sldId="2552"/>
            <ac:spMk id="49" creationId="{0A8520D1-233F-E548-8FAF-B0D89F7C6D98}"/>
          </ac:spMkLst>
        </pc:spChg>
        <pc:spChg chg="mod">
          <ac:chgData name="Miglani, Manisha" userId="dcd8ae44-efb6-4afd-b817-410b43c02073" providerId="ADAL" clId="{FF858129-72AD-8A43-B1B7-C8F787667F52}" dt="2021-06-10T07:40:01.558" v="221" actId="207"/>
          <ac:spMkLst>
            <pc:docMk/>
            <pc:sldMk cId="1570553839" sldId="2552"/>
            <ac:spMk id="50" creationId="{541C2BA4-282A-9044-B6DF-C898ABDF2733}"/>
          </ac:spMkLst>
        </pc:spChg>
        <pc:spChg chg="mod">
          <ac:chgData name="Miglani, Manisha" userId="dcd8ae44-efb6-4afd-b817-410b43c02073" providerId="ADAL" clId="{FF858129-72AD-8A43-B1B7-C8F787667F52}" dt="2021-06-10T07:40:01.558" v="221" actId="207"/>
          <ac:spMkLst>
            <pc:docMk/>
            <pc:sldMk cId="1570553839" sldId="2552"/>
            <ac:spMk id="51" creationId="{67A98562-4A8D-744E-9F3C-535D3083C464}"/>
          </ac:spMkLst>
        </pc:spChg>
        <pc:spChg chg="mod">
          <ac:chgData name="Miglani, Manisha" userId="dcd8ae44-efb6-4afd-b817-410b43c02073" providerId="ADAL" clId="{FF858129-72AD-8A43-B1B7-C8F787667F52}" dt="2021-06-10T07:40:01.558" v="221" actId="207"/>
          <ac:spMkLst>
            <pc:docMk/>
            <pc:sldMk cId="1570553839" sldId="2552"/>
            <ac:spMk id="52" creationId="{871AA546-60A4-9640-8761-A9F911F48959}"/>
          </ac:spMkLst>
        </pc:spChg>
        <pc:spChg chg="mod">
          <ac:chgData name="Miglani, Manisha" userId="dcd8ae44-efb6-4afd-b817-410b43c02073" providerId="ADAL" clId="{FF858129-72AD-8A43-B1B7-C8F787667F52}" dt="2021-06-10T07:40:01.558" v="221" actId="207"/>
          <ac:spMkLst>
            <pc:docMk/>
            <pc:sldMk cId="1570553839" sldId="2552"/>
            <ac:spMk id="53" creationId="{07EEA999-0720-0444-99A7-AB9EFDE26ED4}"/>
          </ac:spMkLst>
        </pc:spChg>
        <pc:spChg chg="mod">
          <ac:chgData name="Miglani, Manisha" userId="dcd8ae44-efb6-4afd-b817-410b43c02073" providerId="ADAL" clId="{FF858129-72AD-8A43-B1B7-C8F787667F52}" dt="2021-06-10T07:40:01.558" v="221" actId="207"/>
          <ac:spMkLst>
            <pc:docMk/>
            <pc:sldMk cId="1570553839" sldId="2552"/>
            <ac:spMk id="54" creationId="{73DB6739-63B3-D84B-97F4-F6D309711F7D}"/>
          </ac:spMkLst>
        </pc:spChg>
        <pc:spChg chg="mod">
          <ac:chgData name="Miglani, Manisha" userId="dcd8ae44-efb6-4afd-b817-410b43c02073" providerId="ADAL" clId="{FF858129-72AD-8A43-B1B7-C8F787667F52}" dt="2021-06-10T07:40:01.558" v="221" actId="207"/>
          <ac:spMkLst>
            <pc:docMk/>
            <pc:sldMk cId="1570553839" sldId="2552"/>
            <ac:spMk id="55" creationId="{FED82DF6-8E08-B647-942C-6E6A4EF54B79}"/>
          </ac:spMkLst>
        </pc:spChg>
        <pc:spChg chg="add del mod topLvl">
          <ac:chgData name="Miglani, Manisha" userId="dcd8ae44-efb6-4afd-b817-410b43c02073" providerId="ADAL" clId="{FF858129-72AD-8A43-B1B7-C8F787667F52}" dt="2021-06-09T12:28:03.436" v="103" actId="478"/>
          <ac:spMkLst>
            <pc:docMk/>
            <pc:sldMk cId="1570553839" sldId="2552"/>
            <ac:spMk id="56" creationId="{BE03A1FA-FB08-DC46-B293-7C7CC2985500}"/>
          </ac:spMkLst>
        </pc:spChg>
        <pc:spChg chg="add mod topLvl">
          <ac:chgData name="Miglani, Manisha" userId="dcd8ae44-efb6-4afd-b817-410b43c02073" providerId="ADAL" clId="{FF858129-72AD-8A43-B1B7-C8F787667F52}" dt="2021-06-09T12:29:04.601" v="118" actId="1076"/>
          <ac:spMkLst>
            <pc:docMk/>
            <pc:sldMk cId="1570553839" sldId="2552"/>
            <ac:spMk id="57" creationId="{2117A22D-746D-914A-B5E5-5ADCEA423E8F}"/>
          </ac:spMkLst>
        </pc:spChg>
        <pc:spChg chg="add mod topLvl">
          <ac:chgData name="Miglani, Manisha" userId="dcd8ae44-efb6-4afd-b817-410b43c02073" providerId="ADAL" clId="{FF858129-72AD-8A43-B1B7-C8F787667F52}" dt="2021-06-10T07:40:07.991" v="222" actId="207"/>
          <ac:spMkLst>
            <pc:docMk/>
            <pc:sldMk cId="1570553839" sldId="2552"/>
            <ac:spMk id="58" creationId="{8D08BF28-692B-834E-B3AD-70A96EEB1972}"/>
          </ac:spMkLst>
        </pc:spChg>
        <pc:spChg chg="add del mod topLvl">
          <ac:chgData name="Miglani, Manisha" userId="dcd8ae44-efb6-4afd-b817-410b43c02073" providerId="ADAL" clId="{FF858129-72AD-8A43-B1B7-C8F787667F52}" dt="2021-06-09T12:27:39.881" v="94" actId="478"/>
          <ac:spMkLst>
            <pc:docMk/>
            <pc:sldMk cId="1570553839" sldId="2552"/>
            <ac:spMk id="62" creationId="{72F7B484-FB62-924E-810F-4CE813D9C3D7}"/>
          </ac:spMkLst>
        </pc:spChg>
        <pc:spChg chg="add mod topLvl">
          <ac:chgData name="Miglani, Manisha" userId="dcd8ae44-efb6-4afd-b817-410b43c02073" providerId="ADAL" clId="{FF858129-72AD-8A43-B1B7-C8F787667F52}" dt="2021-06-09T12:28:36.740" v="110" actId="554"/>
          <ac:spMkLst>
            <pc:docMk/>
            <pc:sldMk cId="1570553839" sldId="2552"/>
            <ac:spMk id="63" creationId="{7259D358-3FEE-1540-B867-EF41317107CD}"/>
          </ac:spMkLst>
        </pc:spChg>
        <pc:spChg chg="mod">
          <ac:chgData name="Miglani, Manisha" userId="dcd8ae44-efb6-4afd-b817-410b43c02073" providerId="ADAL" clId="{FF858129-72AD-8A43-B1B7-C8F787667F52}" dt="2021-06-10T07:40:10.306" v="223" actId="207"/>
          <ac:spMkLst>
            <pc:docMk/>
            <pc:sldMk cId="1570553839" sldId="2552"/>
            <ac:spMk id="65" creationId="{E1996A3B-A37A-7F4F-92ED-7BC1E84B04C8}"/>
          </ac:spMkLst>
        </pc:spChg>
        <pc:spChg chg="mod">
          <ac:chgData name="Miglani, Manisha" userId="dcd8ae44-efb6-4afd-b817-410b43c02073" providerId="ADAL" clId="{FF858129-72AD-8A43-B1B7-C8F787667F52}" dt="2021-06-10T07:40:10.306" v="223" actId="207"/>
          <ac:spMkLst>
            <pc:docMk/>
            <pc:sldMk cId="1570553839" sldId="2552"/>
            <ac:spMk id="66" creationId="{CC58C266-B1FB-8645-B57B-9B5CD3CB5929}"/>
          </ac:spMkLst>
        </pc:spChg>
        <pc:spChg chg="mod">
          <ac:chgData name="Miglani, Manisha" userId="dcd8ae44-efb6-4afd-b817-410b43c02073" providerId="ADAL" clId="{FF858129-72AD-8A43-B1B7-C8F787667F52}" dt="2021-06-10T07:40:10.306" v="223" actId="207"/>
          <ac:spMkLst>
            <pc:docMk/>
            <pc:sldMk cId="1570553839" sldId="2552"/>
            <ac:spMk id="67" creationId="{A6CFA22D-D4E4-314A-9BD8-C20851510101}"/>
          </ac:spMkLst>
        </pc:spChg>
        <pc:spChg chg="mod">
          <ac:chgData name="Miglani, Manisha" userId="dcd8ae44-efb6-4afd-b817-410b43c02073" providerId="ADAL" clId="{FF858129-72AD-8A43-B1B7-C8F787667F52}" dt="2021-06-10T07:40:10.306" v="223" actId="207"/>
          <ac:spMkLst>
            <pc:docMk/>
            <pc:sldMk cId="1570553839" sldId="2552"/>
            <ac:spMk id="68" creationId="{109A145D-FC5A-3D44-94AB-795164BCCAC1}"/>
          </ac:spMkLst>
        </pc:spChg>
        <pc:spChg chg="mod">
          <ac:chgData name="Miglani, Manisha" userId="dcd8ae44-efb6-4afd-b817-410b43c02073" providerId="ADAL" clId="{FF858129-72AD-8A43-B1B7-C8F787667F52}" dt="2021-06-10T07:40:10.306" v="223" actId="207"/>
          <ac:spMkLst>
            <pc:docMk/>
            <pc:sldMk cId="1570553839" sldId="2552"/>
            <ac:spMk id="69" creationId="{B91EA70A-351E-CE4E-B598-67C0A4E7FBF5}"/>
          </ac:spMkLst>
        </pc:spChg>
        <pc:spChg chg="mod">
          <ac:chgData name="Miglani, Manisha" userId="dcd8ae44-efb6-4afd-b817-410b43c02073" providerId="ADAL" clId="{FF858129-72AD-8A43-B1B7-C8F787667F52}" dt="2021-06-10T07:40:10.306" v="223" actId="207"/>
          <ac:spMkLst>
            <pc:docMk/>
            <pc:sldMk cId="1570553839" sldId="2552"/>
            <ac:spMk id="70" creationId="{35EBDB9A-C3BA-8045-9672-93A356980A18}"/>
          </ac:spMkLst>
        </pc:spChg>
        <pc:spChg chg="mod">
          <ac:chgData name="Miglani, Manisha" userId="dcd8ae44-efb6-4afd-b817-410b43c02073" providerId="ADAL" clId="{FF858129-72AD-8A43-B1B7-C8F787667F52}" dt="2021-06-10T07:40:10.306" v="223" actId="207"/>
          <ac:spMkLst>
            <pc:docMk/>
            <pc:sldMk cId="1570553839" sldId="2552"/>
            <ac:spMk id="71" creationId="{04AFBBC7-F38E-4649-A34C-72E9CF748E1F}"/>
          </ac:spMkLst>
        </pc:spChg>
        <pc:spChg chg="add del mod topLvl">
          <ac:chgData name="Miglani, Manisha" userId="dcd8ae44-efb6-4afd-b817-410b43c02073" providerId="ADAL" clId="{FF858129-72AD-8A43-B1B7-C8F787667F52}" dt="2021-06-10T07:49:47.316" v="304" actId="14100"/>
          <ac:spMkLst>
            <pc:docMk/>
            <pc:sldMk cId="1570553839" sldId="2552"/>
            <ac:spMk id="73" creationId="{05B9DD7E-2882-214C-B71E-134CB5336C38}"/>
          </ac:spMkLst>
        </pc:spChg>
        <pc:spChg chg="mod">
          <ac:chgData name="Miglani, Manisha" userId="dcd8ae44-efb6-4afd-b817-410b43c02073" providerId="ADAL" clId="{FF858129-72AD-8A43-B1B7-C8F787667F52}" dt="2021-06-10T06:43:21.433" v="129"/>
          <ac:spMkLst>
            <pc:docMk/>
            <pc:sldMk cId="1570553839" sldId="2552"/>
            <ac:spMk id="79" creationId="{7EE4956F-EF27-C54B-997A-6E9F41941936}"/>
          </ac:spMkLst>
        </pc:spChg>
        <pc:spChg chg="mod">
          <ac:chgData name="Miglani, Manisha" userId="dcd8ae44-efb6-4afd-b817-410b43c02073" providerId="ADAL" clId="{FF858129-72AD-8A43-B1B7-C8F787667F52}" dt="2021-06-10T06:43:21.433" v="129"/>
          <ac:spMkLst>
            <pc:docMk/>
            <pc:sldMk cId="1570553839" sldId="2552"/>
            <ac:spMk id="80" creationId="{E9BD20AC-8A6E-FC44-B035-E530E6AE6149}"/>
          </ac:spMkLst>
        </pc:spChg>
        <pc:spChg chg="mod">
          <ac:chgData name="Miglani, Manisha" userId="dcd8ae44-efb6-4afd-b817-410b43c02073" providerId="ADAL" clId="{FF858129-72AD-8A43-B1B7-C8F787667F52}" dt="2021-06-10T06:43:21.433" v="129"/>
          <ac:spMkLst>
            <pc:docMk/>
            <pc:sldMk cId="1570553839" sldId="2552"/>
            <ac:spMk id="81" creationId="{14273002-7EED-DB4F-8B85-3DB18C8BCA42}"/>
          </ac:spMkLst>
        </pc:spChg>
        <pc:spChg chg="mod">
          <ac:chgData name="Miglani, Manisha" userId="dcd8ae44-efb6-4afd-b817-410b43c02073" providerId="ADAL" clId="{FF858129-72AD-8A43-B1B7-C8F787667F52}" dt="2021-06-10T06:43:21.433" v="129"/>
          <ac:spMkLst>
            <pc:docMk/>
            <pc:sldMk cId="1570553839" sldId="2552"/>
            <ac:spMk id="82" creationId="{CA6BB7F3-C473-8E44-BF31-B5039FCE2426}"/>
          </ac:spMkLst>
        </pc:spChg>
        <pc:spChg chg="mod">
          <ac:chgData name="Miglani, Manisha" userId="dcd8ae44-efb6-4afd-b817-410b43c02073" providerId="ADAL" clId="{FF858129-72AD-8A43-B1B7-C8F787667F52}" dt="2021-06-10T06:43:21.433" v="129"/>
          <ac:spMkLst>
            <pc:docMk/>
            <pc:sldMk cId="1570553839" sldId="2552"/>
            <ac:spMk id="83" creationId="{71B22A5C-83DF-674D-8358-A0CB7A74C7BB}"/>
          </ac:spMkLst>
        </pc:spChg>
        <pc:spChg chg="mod">
          <ac:chgData name="Miglani, Manisha" userId="dcd8ae44-efb6-4afd-b817-410b43c02073" providerId="ADAL" clId="{FF858129-72AD-8A43-B1B7-C8F787667F52}" dt="2021-06-10T06:43:21.433" v="129"/>
          <ac:spMkLst>
            <pc:docMk/>
            <pc:sldMk cId="1570553839" sldId="2552"/>
            <ac:spMk id="84" creationId="{1CF2A8ED-16A8-A246-8D54-67281C28A8CB}"/>
          </ac:spMkLst>
        </pc:spChg>
        <pc:spChg chg="mod">
          <ac:chgData name="Miglani, Manisha" userId="dcd8ae44-efb6-4afd-b817-410b43c02073" providerId="ADAL" clId="{FF858129-72AD-8A43-B1B7-C8F787667F52}" dt="2021-06-10T06:43:21.433" v="129"/>
          <ac:spMkLst>
            <pc:docMk/>
            <pc:sldMk cId="1570553839" sldId="2552"/>
            <ac:spMk id="85" creationId="{E4671029-0CBE-944D-885F-EDE36B5633ED}"/>
          </ac:spMkLst>
        </pc:spChg>
        <pc:spChg chg="mod">
          <ac:chgData name="Miglani, Manisha" userId="dcd8ae44-efb6-4afd-b817-410b43c02073" providerId="ADAL" clId="{FF858129-72AD-8A43-B1B7-C8F787667F52}" dt="2021-06-10T06:43:21.433" v="129"/>
          <ac:spMkLst>
            <pc:docMk/>
            <pc:sldMk cId="1570553839" sldId="2552"/>
            <ac:spMk id="86" creationId="{B97CD84A-526C-3244-8CA5-8F38735C8BAD}"/>
          </ac:spMkLst>
        </pc:spChg>
        <pc:spChg chg="mod">
          <ac:chgData name="Miglani, Manisha" userId="dcd8ae44-efb6-4afd-b817-410b43c02073" providerId="ADAL" clId="{FF858129-72AD-8A43-B1B7-C8F787667F52}" dt="2021-06-10T06:43:21.433" v="129"/>
          <ac:spMkLst>
            <pc:docMk/>
            <pc:sldMk cId="1570553839" sldId="2552"/>
            <ac:spMk id="87" creationId="{A82F97E5-0D7B-B141-A14C-E27ADB2CA018}"/>
          </ac:spMkLst>
        </pc:spChg>
        <pc:spChg chg="mod">
          <ac:chgData name="Miglani, Manisha" userId="dcd8ae44-efb6-4afd-b817-410b43c02073" providerId="ADAL" clId="{FF858129-72AD-8A43-B1B7-C8F787667F52}" dt="2021-06-10T06:43:21.433" v="129"/>
          <ac:spMkLst>
            <pc:docMk/>
            <pc:sldMk cId="1570553839" sldId="2552"/>
            <ac:spMk id="88" creationId="{50FF5AF9-7C26-304F-8370-7DAA6744C0B7}"/>
          </ac:spMkLst>
        </pc:spChg>
        <pc:spChg chg="mod">
          <ac:chgData name="Miglani, Manisha" userId="dcd8ae44-efb6-4afd-b817-410b43c02073" providerId="ADAL" clId="{FF858129-72AD-8A43-B1B7-C8F787667F52}" dt="2021-06-10T06:43:21.433" v="129"/>
          <ac:spMkLst>
            <pc:docMk/>
            <pc:sldMk cId="1570553839" sldId="2552"/>
            <ac:spMk id="89" creationId="{4C0558EF-6DBF-F24E-AAED-CA7C953D5BF1}"/>
          </ac:spMkLst>
        </pc:spChg>
        <pc:spChg chg="mod">
          <ac:chgData name="Miglani, Manisha" userId="dcd8ae44-efb6-4afd-b817-410b43c02073" providerId="ADAL" clId="{FF858129-72AD-8A43-B1B7-C8F787667F52}" dt="2021-06-10T06:43:21.433" v="129"/>
          <ac:spMkLst>
            <pc:docMk/>
            <pc:sldMk cId="1570553839" sldId="2552"/>
            <ac:spMk id="90" creationId="{31A9735B-02CA-2A48-B9B5-AE72B1803909}"/>
          </ac:spMkLst>
        </pc:spChg>
        <pc:spChg chg="mod">
          <ac:chgData name="Miglani, Manisha" userId="dcd8ae44-efb6-4afd-b817-410b43c02073" providerId="ADAL" clId="{FF858129-72AD-8A43-B1B7-C8F787667F52}" dt="2021-06-10T06:43:21.433" v="129"/>
          <ac:spMkLst>
            <pc:docMk/>
            <pc:sldMk cId="1570553839" sldId="2552"/>
            <ac:spMk id="91" creationId="{FB9E295A-B1C4-0B46-9581-C7633FC6EDCE}"/>
          </ac:spMkLst>
        </pc:spChg>
        <pc:spChg chg="mod">
          <ac:chgData name="Miglani, Manisha" userId="dcd8ae44-efb6-4afd-b817-410b43c02073" providerId="ADAL" clId="{FF858129-72AD-8A43-B1B7-C8F787667F52}" dt="2021-06-10T06:43:21.433" v="129"/>
          <ac:spMkLst>
            <pc:docMk/>
            <pc:sldMk cId="1570553839" sldId="2552"/>
            <ac:spMk id="92" creationId="{6355B87C-884E-3C47-81EC-A77E7AB3331D}"/>
          </ac:spMkLst>
        </pc:spChg>
        <pc:spChg chg="mod">
          <ac:chgData name="Miglani, Manisha" userId="dcd8ae44-efb6-4afd-b817-410b43c02073" providerId="ADAL" clId="{FF858129-72AD-8A43-B1B7-C8F787667F52}" dt="2021-06-10T06:43:21.433" v="129"/>
          <ac:spMkLst>
            <pc:docMk/>
            <pc:sldMk cId="1570553839" sldId="2552"/>
            <ac:spMk id="93" creationId="{C747819A-54EF-D74B-8355-754792DE8519}"/>
          </ac:spMkLst>
        </pc:spChg>
        <pc:spChg chg="mod">
          <ac:chgData name="Miglani, Manisha" userId="dcd8ae44-efb6-4afd-b817-410b43c02073" providerId="ADAL" clId="{FF858129-72AD-8A43-B1B7-C8F787667F52}" dt="2021-06-10T06:43:21.433" v="129"/>
          <ac:spMkLst>
            <pc:docMk/>
            <pc:sldMk cId="1570553839" sldId="2552"/>
            <ac:spMk id="94" creationId="{B50A04B2-CC2C-C740-99F1-B96EAAB39D6E}"/>
          </ac:spMkLst>
        </pc:spChg>
        <pc:spChg chg="mod">
          <ac:chgData name="Miglani, Manisha" userId="dcd8ae44-efb6-4afd-b817-410b43c02073" providerId="ADAL" clId="{FF858129-72AD-8A43-B1B7-C8F787667F52}" dt="2021-06-10T06:43:21.433" v="129"/>
          <ac:spMkLst>
            <pc:docMk/>
            <pc:sldMk cId="1570553839" sldId="2552"/>
            <ac:spMk id="95" creationId="{DC9F7093-F5AC-134B-B371-1B6E63390CFE}"/>
          </ac:spMkLst>
        </pc:spChg>
        <pc:spChg chg="mod">
          <ac:chgData name="Miglani, Manisha" userId="dcd8ae44-efb6-4afd-b817-410b43c02073" providerId="ADAL" clId="{FF858129-72AD-8A43-B1B7-C8F787667F52}" dt="2021-06-10T06:43:21.433" v="129"/>
          <ac:spMkLst>
            <pc:docMk/>
            <pc:sldMk cId="1570553839" sldId="2552"/>
            <ac:spMk id="96" creationId="{9E0D8666-A22A-5348-9C52-1FDA95BB6251}"/>
          </ac:spMkLst>
        </pc:spChg>
        <pc:spChg chg="mod">
          <ac:chgData name="Miglani, Manisha" userId="dcd8ae44-efb6-4afd-b817-410b43c02073" providerId="ADAL" clId="{FF858129-72AD-8A43-B1B7-C8F787667F52}" dt="2021-06-10T06:43:21.433" v="129"/>
          <ac:spMkLst>
            <pc:docMk/>
            <pc:sldMk cId="1570553839" sldId="2552"/>
            <ac:spMk id="97" creationId="{F647A3A8-52AC-5C42-9015-AC96E4DD4F21}"/>
          </ac:spMkLst>
        </pc:spChg>
        <pc:spChg chg="mod">
          <ac:chgData name="Miglani, Manisha" userId="dcd8ae44-efb6-4afd-b817-410b43c02073" providerId="ADAL" clId="{FF858129-72AD-8A43-B1B7-C8F787667F52}" dt="2021-06-10T06:43:21.433" v="129"/>
          <ac:spMkLst>
            <pc:docMk/>
            <pc:sldMk cId="1570553839" sldId="2552"/>
            <ac:spMk id="98" creationId="{AC795C1B-B093-5649-87BC-AE61BB7F4AA2}"/>
          </ac:spMkLst>
        </pc:spChg>
        <pc:spChg chg="mod">
          <ac:chgData name="Miglani, Manisha" userId="dcd8ae44-efb6-4afd-b817-410b43c02073" providerId="ADAL" clId="{FF858129-72AD-8A43-B1B7-C8F787667F52}" dt="2021-06-10T06:43:21.433" v="129"/>
          <ac:spMkLst>
            <pc:docMk/>
            <pc:sldMk cId="1570553839" sldId="2552"/>
            <ac:spMk id="99" creationId="{4F042025-12A1-444F-9F34-C0AC74145554}"/>
          </ac:spMkLst>
        </pc:spChg>
        <pc:spChg chg="mod">
          <ac:chgData name="Miglani, Manisha" userId="dcd8ae44-efb6-4afd-b817-410b43c02073" providerId="ADAL" clId="{FF858129-72AD-8A43-B1B7-C8F787667F52}" dt="2021-06-10T06:43:21.433" v="129"/>
          <ac:spMkLst>
            <pc:docMk/>
            <pc:sldMk cId="1570553839" sldId="2552"/>
            <ac:spMk id="100" creationId="{523C7E26-7251-D045-B493-0C396BEE425D}"/>
          </ac:spMkLst>
        </pc:spChg>
        <pc:spChg chg="mod">
          <ac:chgData name="Miglani, Manisha" userId="dcd8ae44-efb6-4afd-b817-410b43c02073" providerId="ADAL" clId="{FF858129-72AD-8A43-B1B7-C8F787667F52}" dt="2021-06-10T06:43:21.433" v="129"/>
          <ac:spMkLst>
            <pc:docMk/>
            <pc:sldMk cId="1570553839" sldId="2552"/>
            <ac:spMk id="101" creationId="{36F89096-B99C-0543-988A-4ACE11E13E0E}"/>
          </ac:spMkLst>
        </pc:spChg>
        <pc:spChg chg="mod">
          <ac:chgData name="Miglani, Manisha" userId="dcd8ae44-efb6-4afd-b817-410b43c02073" providerId="ADAL" clId="{FF858129-72AD-8A43-B1B7-C8F787667F52}" dt="2021-06-10T06:43:21.433" v="129"/>
          <ac:spMkLst>
            <pc:docMk/>
            <pc:sldMk cId="1570553839" sldId="2552"/>
            <ac:spMk id="102" creationId="{0DA5A3C7-EE40-6D43-BF55-A49E0B6D8138}"/>
          </ac:spMkLst>
        </pc:spChg>
        <pc:spChg chg="mod">
          <ac:chgData name="Miglani, Manisha" userId="dcd8ae44-efb6-4afd-b817-410b43c02073" providerId="ADAL" clId="{FF858129-72AD-8A43-B1B7-C8F787667F52}" dt="2021-06-10T06:43:21.433" v="129"/>
          <ac:spMkLst>
            <pc:docMk/>
            <pc:sldMk cId="1570553839" sldId="2552"/>
            <ac:spMk id="103" creationId="{149B1D8C-BD12-3442-A449-9FB68A585708}"/>
          </ac:spMkLst>
        </pc:spChg>
        <pc:spChg chg="mod">
          <ac:chgData name="Miglani, Manisha" userId="dcd8ae44-efb6-4afd-b817-410b43c02073" providerId="ADAL" clId="{FF858129-72AD-8A43-B1B7-C8F787667F52}" dt="2021-06-10T06:43:21.433" v="129"/>
          <ac:spMkLst>
            <pc:docMk/>
            <pc:sldMk cId="1570553839" sldId="2552"/>
            <ac:spMk id="104" creationId="{85443740-B8A5-B244-A6DE-B36A671A1535}"/>
          </ac:spMkLst>
        </pc:spChg>
        <pc:spChg chg="mod">
          <ac:chgData name="Miglani, Manisha" userId="dcd8ae44-efb6-4afd-b817-410b43c02073" providerId="ADAL" clId="{FF858129-72AD-8A43-B1B7-C8F787667F52}" dt="2021-06-10T06:43:21.433" v="129"/>
          <ac:spMkLst>
            <pc:docMk/>
            <pc:sldMk cId="1570553839" sldId="2552"/>
            <ac:spMk id="105" creationId="{50881ACF-0E10-5641-BD00-13101100335B}"/>
          </ac:spMkLst>
        </pc:spChg>
        <pc:spChg chg="mod">
          <ac:chgData name="Miglani, Manisha" userId="dcd8ae44-efb6-4afd-b817-410b43c02073" providerId="ADAL" clId="{FF858129-72AD-8A43-B1B7-C8F787667F52}" dt="2021-06-10T06:43:21.433" v="129"/>
          <ac:spMkLst>
            <pc:docMk/>
            <pc:sldMk cId="1570553839" sldId="2552"/>
            <ac:spMk id="106" creationId="{F369207E-1DBD-BE45-8C68-16536E577C0C}"/>
          </ac:spMkLst>
        </pc:spChg>
        <pc:spChg chg="mod">
          <ac:chgData name="Miglani, Manisha" userId="dcd8ae44-efb6-4afd-b817-410b43c02073" providerId="ADAL" clId="{FF858129-72AD-8A43-B1B7-C8F787667F52}" dt="2021-06-10T06:43:21.433" v="129"/>
          <ac:spMkLst>
            <pc:docMk/>
            <pc:sldMk cId="1570553839" sldId="2552"/>
            <ac:spMk id="107" creationId="{91F17C58-6C0B-C947-8C8C-2487F21CF357}"/>
          </ac:spMkLst>
        </pc:spChg>
        <pc:spChg chg="mod">
          <ac:chgData name="Miglani, Manisha" userId="dcd8ae44-efb6-4afd-b817-410b43c02073" providerId="ADAL" clId="{FF858129-72AD-8A43-B1B7-C8F787667F52}" dt="2021-06-10T06:43:21.433" v="129"/>
          <ac:spMkLst>
            <pc:docMk/>
            <pc:sldMk cId="1570553839" sldId="2552"/>
            <ac:spMk id="108" creationId="{2740B5BB-0C43-A643-8CA0-DE7808CADF0B}"/>
          </ac:spMkLst>
        </pc:spChg>
        <pc:spChg chg="mod">
          <ac:chgData name="Miglani, Manisha" userId="dcd8ae44-efb6-4afd-b817-410b43c02073" providerId="ADAL" clId="{FF858129-72AD-8A43-B1B7-C8F787667F52}" dt="2021-06-10T06:43:21.433" v="129"/>
          <ac:spMkLst>
            <pc:docMk/>
            <pc:sldMk cId="1570553839" sldId="2552"/>
            <ac:spMk id="109" creationId="{5A9C8C49-CB59-454B-8951-852875F3B497}"/>
          </ac:spMkLst>
        </pc:spChg>
        <pc:spChg chg="mod">
          <ac:chgData name="Miglani, Manisha" userId="dcd8ae44-efb6-4afd-b817-410b43c02073" providerId="ADAL" clId="{FF858129-72AD-8A43-B1B7-C8F787667F52}" dt="2021-06-10T06:43:21.433" v="129"/>
          <ac:spMkLst>
            <pc:docMk/>
            <pc:sldMk cId="1570553839" sldId="2552"/>
            <ac:spMk id="110" creationId="{59D982AA-2206-4041-B5EA-57CBE9A102F3}"/>
          </ac:spMkLst>
        </pc:spChg>
        <pc:spChg chg="mod">
          <ac:chgData name="Miglani, Manisha" userId="dcd8ae44-efb6-4afd-b817-410b43c02073" providerId="ADAL" clId="{FF858129-72AD-8A43-B1B7-C8F787667F52}" dt="2021-06-10T06:43:21.433" v="129"/>
          <ac:spMkLst>
            <pc:docMk/>
            <pc:sldMk cId="1570553839" sldId="2552"/>
            <ac:spMk id="111" creationId="{9CB75190-5AAA-AD46-889B-62AEEC5ED77B}"/>
          </ac:spMkLst>
        </pc:spChg>
        <pc:spChg chg="mod">
          <ac:chgData name="Miglani, Manisha" userId="dcd8ae44-efb6-4afd-b817-410b43c02073" providerId="ADAL" clId="{FF858129-72AD-8A43-B1B7-C8F787667F52}" dt="2021-06-10T06:43:21.433" v="129"/>
          <ac:spMkLst>
            <pc:docMk/>
            <pc:sldMk cId="1570553839" sldId="2552"/>
            <ac:spMk id="112" creationId="{1347DDEA-3280-A441-BD15-9168B3E23BCE}"/>
          </ac:spMkLst>
        </pc:spChg>
        <pc:spChg chg="mod">
          <ac:chgData name="Miglani, Manisha" userId="dcd8ae44-efb6-4afd-b817-410b43c02073" providerId="ADAL" clId="{FF858129-72AD-8A43-B1B7-C8F787667F52}" dt="2021-06-10T06:43:21.433" v="129"/>
          <ac:spMkLst>
            <pc:docMk/>
            <pc:sldMk cId="1570553839" sldId="2552"/>
            <ac:spMk id="113" creationId="{19302A29-0B47-9F43-A1B2-3C29F0955D38}"/>
          </ac:spMkLst>
        </pc:spChg>
        <pc:spChg chg="mod">
          <ac:chgData name="Miglani, Manisha" userId="dcd8ae44-efb6-4afd-b817-410b43c02073" providerId="ADAL" clId="{FF858129-72AD-8A43-B1B7-C8F787667F52}" dt="2021-06-10T06:43:21.433" v="129"/>
          <ac:spMkLst>
            <pc:docMk/>
            <pc:sldMk cId="1570553839" sldId="2552"/>
            <ac:spMk id="114" creationId="{DF7DFD62-0F1C-BA46-BC8B-2D3F71D7194F}"/>
          </ac:spMkLst>
        </pc:spChg>
        <pc:spChg chg="mod">
          <ac:chgData name="Miglani, Manisha" userId="dcd8ae44-efb6-4afd-b817-410b43c02073" providerId="ADAL" clId="{FF858129-72AD-8A43-B1B7-C8F787667F52}" dt="2021-06-10T06:43:21.433" v="129"/>
          <ac:spMkLst>
            <pc:docMk/>
            <pc:sldMk cId="1570553839" sldId="2552"/>
            <ac:spMk id="115" creationId="{A2488249-B320-3D4B-9D19-4CE7C4ADCC32}"/>
          </ac:spMkLst>
        </pc:spChg>
        <pc:spChg chg="mod">
          <ac:chgData name="Miglani, Manisha" userId="dcd8ae44-efb6-4afd-b817-410b43c02073" providerId="ADAL" clId="{FF858129-72AD-8A43-B1B7-C8F787667F52}" dt="2021-06-10T06:43:21.433" v="129"/>
          <ac:spMkLst>
            <pc:docMk/>
            <pc:sldMk cId="1570553839" sldId="2552"/>
            <ac:spMk id="116" creationId="{445CECB6-1899-374B-B4CE-444AEB9CBED2}"/>
          </ac:spMkLst>
        </pc:spChg>
        <pc:spChg chg="mod">
          <ac:chgData name="Miglani, Manisha" userId="dcd8ae44-efb6-4afd-b817-410b43c02073" providerId="ADAL" clId="{FF858129-72AD-8A43-B1B7-C8F787667F52}" dt="2021-06-10T06:43:21.433" v="129"/>
          <ac:spMkLst>
            <pc:docMk/>
            <pc:sldMk cId="1570553839" sldId="2552"/>
            <ac:spMk id="117" creationId="{BEC55770-DCC5-8F49-AF81-620964DA3277}"/>
          </ac:spMkLst>
        </pc:spChg>
        <pc:spChg chg="mod">
          <ac:chgData name="Miglani, Manisha" userId="dcd8ae44-efb6-4afd-b817-410b43c02073" providerId="ADAL" clId="{FF858129-72AD-8A43-B1B7-C8F787667F52}" dt="2021-06-10T06:43:21.433" v="129"/>
          <ac:spMkLst>
            <pc:docMk/>
            <pc:sldMk cId="1570553839" sldId="2552"/>
            <ac:spMk id="118" creationId="{AE6B68D6-402A-7048-A536-6CDACABBF773}"/>
          </ac:spMkLst>
        </pc:spChg>
        <pc:spChg chg="mod">
          <ac:chgData name="Miglani, Manisha" userId="dcd8ae44-efb6-4afd-b817-410b43c02073" providerId="ADAL" clId="{FF858129-72AD-8A43-B1B7-C8F787667F52}" dt="2021-06-10T06:43:21.433" v="129"/>
          <ac:spMkLst>
            <pc:docMk/>
            <pc:sldMk cId="1570553839" sldId="2552"/>
            <ac:spMk id="119" creationId="{0ED67E90-B262-114D-AD61-243F2AAD4BE4}"/>
          </ac:spMkLst>
        </pc:spChg>
        <pc:spChg chg="mod">
          <ac:chgData name="Miglani, Manisha" userId="dcd8ae44-efb6-4afd-b817-410b43c02073" providerId="ADAL" clId="{FF858129-72AD-8A43-B1B7-C8F787667F52}" dt="2021-06-10T06:43:21.433" v="129"/>
          <ac:spMkLst>
            <pc:docMk/>
            <pc:sldMk cId="1570553839" sldId="2552"/>
            <ac:spMk id="120" creationId="{2B3DB1DE-251D-9344-874B-1F4F495B2609}"/>
          </ac:spMkLst>
        </pc:spChg>
        <pc:spChg chg="mod">
          <ac:chgData name="Miglani, Manisha" userId="dcd8ae44-efb6-4afd-b817-410b43c02073" providerId="ADAL" clId="{FF858129-72AD-8A43-B1B7-C8F787667F52}" dt="2021-06-10T06:43:21.433" v="129"/>
          <ac:spMkLst>
            <pc:docMk/>
            <pc:sldMk cId="1570553839" sldId="2552"/>
            <ac:spMk id="121" creationId="{2B1910F2-E564-374B-A896-AF06704C3E82}"/>
          </ac:spMkLst>
        </pc:spChg>
        <pc:spChg chg="mod">
          <ac:chgData name="Miglani, Manisha" userId="dcd8ae44-efb6-4afd-b817-410b43c02073" providerId="ADAL" clId="{FF858129-72AD-8A43-B1B7-C8F787667F52}" dt="2021-06-10T06:43:21.433" v="129"/>
          <ac:spMkLst>
            <pc:docMk/>
            <pc:sldMk cId="1570553839" sldId="2552"/>
            <ac:spMk id="122" creationId="{27CC7FD3-7199-344C-BAD4-96C76118430A}"/>
          </ac:spMkLst>
        </pc:spChg>
        <pc:spChg chg="mod">
          <ac:chgData name="Miglani, Manisha" userId="dcd8ae44-efb6-4afd-b817-410b43c02073" providerId="ADAL" clId="{FF858129-72AD-8A43-B1B7-C8F787667F52}" dt="2021-06-10T06:43:21.433" v="129"/>
          <ac:spMkLst>
            <pc:docMk/>
            <pc:sldMk cId="1570553839" sldId="2552"/>
            <ac:spMk id="123" creationId="{C6AC9EB4-CC33-ED4C-84BD-FF1F5DAD6008}"/>
          </ac:spMkLst>
        </pc:spChg>
        <pc:spChg chg="mod">
          <ac:chgData name="Miglani, Manisha" userId="dcd8ae44-efb6-4afd-b817-410b43c02073" providerId="ADAL" clId="{FF858129-72AD-8A43-B1B7-C8F787667F52}" dt="2021-06-10T06:43:21.433" v="129"/>
          <ac:spMkLst>
            <pc:docMk/>
            <pc:sldMk cId="1570553839" sldId="2552"/>
            <ac:spMk id="124" creationId="{65C54761-5D61-D449-B10B-6DDDCFBE9C7B}"/>
          </ac:spMkLst>
        </pc:spChg>
        <pc:spChg chg="mod">
          <ac:chgData name="Miglani, Manisha" userId="dcd8ae44-efb6-4afd-b817-410b43c02073" providerId="ADAL" clId="{FF858129-72AD-8A43-B1B7-C8F787667F52}" dt="2021-06-10T06:43:21.433" v="129"/>
          <ac:spMkLst>
            <pc:docMk/>
            <pc:sldMk cId="1570553839" sldId="2552"/>
            <ac:spMk id="125" creationId="{0DA2F8BF-DC37-3F42-9DD2-6CA92BB2CFE1}"/>
          </ac:spMkLst>
        </pc:spChg>
        <pc:spChg chg="mod">
          <ac:chgData name="Miglani, Manisha" userId="dcd8ae44-efb6-4afd-b817-410b43c02073" providerId="ADAL" clId="{FF858129-72AD-8A43-B1B7-C8F787667F52}" dt="2021-06-10T06:43:21.433" v="129"/>
          <ac:spMkLst>
            <pc:docMk/>
            <pc:sldMk cId="1570553839" sldId="2552"/>
            <ac:spMk id="126" creationId="{3A5E7DF0-974F-AA4D-AE8C-DB1106B1D5CD}"/>
          </ac:spMkLst>
        </pc:spChg>
        <pc:spChg chg="mod">
          <ac:chgData name="Miglani, Manisha" userId="dcd8ae44-efb6-4afd-b817-410b43c02073" providerId="ADAL" clId="{FF858129-72AD-8A43-B1B7-C8F787667F52}" dt="2021-06-10T06:43:21.433" v="129"/>
          <ac:spMkLst>
            <pc:docMk/>
            <pc:sldMk cId="1570553839" sldId="2552"/>
            <ac:spMk id="127" creationId="{827B5470-4924-934C-954E-22DB101688F6}"/>
          </ac:spMkLst>
        </pc:spChg>
        <pc:spChg chg="mod">
          <ac:chgData name="Miglani, Manisha" userId="dcd8ae44-efb6-4afd-b817-410b43c02073" providerId="ADAL" clId="{FF858129-72AD-8A43-B1B7-C8F787667F52}" dt="2021-06-10T06:43:21.433" v="129"/>
          <ac:spMkLst>
            <pc:docMk/>
            <pc:sldMk cId="1570553839" sldId="2552"/>
            <ac:spMk id="128" creationId="{F7AEB1E7-ECE5-7C49-B9D7-53684DAF9853}"/>
          </ac:spMkLst>
        </pc:spChg>
        <pc:spChg chg="mod">
          <ac:chgData name="Miglani, Manisha" userId="dcd8ae44-efb6-4afd-b817-410b43c02073" providerId="ADAL" clId="{FF858129-72AD-8A43-B1B7-C8F787667F52}" dt="2021-06-10T06:43:21.433" v="129"/>
          <ac:spMkLst>
            <pc:docMk/>
            <pc:sldMk cId="1570553839" sldId="2552"/>
            <ac:spMk id="129" creationId="{EB5DD67F-D3D3-D14E-B77C-80E4DFA1BDFD}"/>
          </ac:spMkLst>
        </pc:spChg>
        <pc:spChg chg="mod">
          <ac:chgData name="Miglani, Manisha" userId="dcd8ae44-efb6-4afd-b817-410b43c02073" providerId="ADAL" clId="{FF858129-72AD-8A43-B1B7-C8F787667F52}" dt="2021-06-10T06:43:21.433" v="129"/>
          <ac:spMkLst>
            <pc:docMk/>
            <pc:sldMk cId="1570553839" sldId="2552"/>
            <ac:spMk id="130" creationId="{EE8043D4-DFBF-7044-9AB1-EDC32E03BF05}"/>
          </ac:spMkLst>
        </pc:spChg>
        <pc:spChg chg="mod">
          <ac:chgData name="Miglani, Manisha" userId="dcd8ae44-efb6-4afd-b817-410b43c02073" providerId="ADAL" clId="{FF858129-72AD-8A43-B1B7-C8F787667F52}" dt="2021-06-10T06:43:21.433" v="129"/>
          <ac:spMkLst>
            <pc:docMk/>
            <pc:sldMk cId="1570553839" sldId="2552"/>
            <ac:spMk id="131" creationId="{B9B8743B-1EDA-C84D-95C5-A020A2DACA61}"/>
          </ac:spMkLst>
        </pc:spChg>
        <pc:spChg chg="mod">
          <ac:chgData name="Miglani, Manisha" userId="dcd8ae44-efb6-4afd-b817-410b43c02073" providerId="ADAL" clId="{FF858129-72AD-8A43-B1B7-C8F787667F52}" dt="2021-06-10T06:43:21.433" v="129"/>
          <ac:spMkLst>
            <pc:docMk/>
            <pc:sldMk cId="1570553839" sldId="2552"/>
            <ac:spMk id="132" creationId="{E8483699-D0F3-C34E-AE06-C99DEA014F6E}"/>
          </ac:spMkLst>
        </pc:spChg>
        <pc:spChg chg="mod">
          <ac:chgData name="Miglani, Manisha" userId="dcd8ae44-efb6-4afd-b817-410b43c02073" providerId="ADAL" clId="{FF858129-72AD-8A43-B1B7-C8F787667F52}" dt="2021-06-10T06:43:21.433" v="129"/>
          <ac:spMkLst>
            <pc:docMk/>
            <pc:sldMk cId="1570553839" sldId="2552"/>
            <ac:spMk id="133" creationId="{8995F8B2-2164-1A4F-BD52-F72BA044FC1C}"/>
          </ac:spMkLst>
        </pc:spChg>
        <pc:spChg chg="mod">
          <ac:chgData name="Miglani, Manisha" userId="dcd8ae44-efb6-4afd-b817-410b43c02073" providerId="ADAL" clId="{FF858129-72AD-8A43-B1B7-C8F787667F52}" dt="2021-06-10T06:43:21.433" v="129"/>
          <ac:spMkLst>
            <pc:docMk/>
            <pc:sldMk cId="1570553839" sldId="2552"/>
            <ac:spMk id="134" creationId="{C64EEC18-14BF-A74C-98CC-DEEF4EC5ECAF}"/>
          </ac:spMkLst>
        </pc:spChg>
        <pc:spChg chg="mod">
          <ac:chgData name="Miglani, Manisha" userId="dcd8ae44-efb6-4afd-b817-410b43c02073" providerId="ADAL" clId="{FF858129-72AD-8A43-B1B7-C8F787667F52}" dt="2021-06-10T06:43:21.433" v="129"/>
          <ac:spMkLst>
            <pc:docMk/>
            <pc:sldMk cId="1570553839" sldId="2552"/>
            <ac:spMk id="135" creationId="{6C35420E-6AE2-A54E-890C-9B5078A56B52}"/>
          </ac:spMkLst>
        </pc:spChg>
        <pc:spChg chg="mod">
          <ac:chgData name="Miglani, Manisha" userId="dcd8ae44-efb6-4afd-b817-410b43c02073" providerId="ADAL" clId="{FF858129-72AD-8A43-B1B7-C8F787667F52}" dt="2021-06-10T06:43:21.433" v="129"/>
          <ac:spMkLst>
            <pc:docMk/>
            <pc:sldMk cId="1570553839" sldId="2552"/>
            <ac:spMk id="136" creationId="{95539DB2-EC1C-D74F-B4E2-BADF104BC743}"/>
          </ac:spMkLst>
        </pc:spChg>
        <pc:spChg chg="mod">
          <ac:chgData name="Miglani, Manisha" userId="dcd8ae44-efb6-4afd-b817-410b43c02073" providerId="ADAL" clId="{FF858129-72AD-8A43-B1B7-C8F787667F52}" dt="2021-06-10T06:43:21.433" v="129"/>
          <ac:spMkLst>
            <pc:docMk/>
            <pc:sldMk cId="1570553839" sldId="2552"/>
            <ac:spMk id="137" creationId="{B9996BDD-EAAB-0F41-B7B8-E9558AE38DBD}"/>
          </ac:spMkLst>
        </pc:spChg>
        <pc:spChg chg="mod">
          <ac:chgData name="Miglani, Manisha" userId="dcd8ae44-efb6-4afd-b817-410b43c02073" providerId="ADAL" clId="{FF858129-72AD-8A43-B1B7-C8F787667F52}" dt="2021-06-10T06:43:21.433" v="129"/>
          <ac:spMkLst>
            <pc:docMk/>
            <pc:sldMk cId="1570553839" sldId="2552"/>
            <ac:spMk id="138" creationId="{CED96CBD-00E6-B846-830C-E33353206A0A}"/>
          </ac:spMkLst>
        </pc:spChg>
        <pc:spChg chg="mod">
          <ac:chgData name="Miglani, Manisha" userId="dcd8ae44-efb6-4afd-b817-410b43c02073" providerId="ADAL" clId="{FF858129-72AD-8A43-B1B7-C8F787667F52}" dt="2021-06-10T06:43:21.433" v="129"/>
          <ac:spMkLst>
            <pc:docMk/>
            <pc:sldMk cId="1570553839" sldId="2552"/>
            <ac:spMk id="139" creationId="{1A725973-5998-0942-ADAF-8DA7AEC7046C}"/>
          </ac:spMkLst>
        </pc:spChg>
        <pc:spChg chg="mod">
          <ac:chgData name="Miglani, Manisha" userId="dcd8ae44-efb6-4afd-b817-410b43c02073" providerId="ADAL" clId="{FF858129-72AD-8A43-B1B7-C8F787667F52}" dt="2021-06-10T06:43:21.433" v="129"/>
          <ac:spMkLst>
            <pc:docMk/>
            <pc:sldMk cId="1570553839" sldId="2552"/>
            <ac:spMk id="140" creationId="{A31F63A9-478C-5F4E-B251-C29F843C0CA8}"/>
          </ac:spMkLst>
        </pc:spChg>
        <pc:spChg chg="mod">
          <ac:chgData name="Miglani, Manisha" userId="dcd8ae44-efb6-4afd-b817-410b43c02073" providerId="ADAL" clId="{FF858129-72AD-8A43-B1B7-C8F787667F52}" dt="2021-06-10T06:43:21.433" v="129"/>
          <ac:spMkLst>
            <pc:docMk/>
            <pc:sldMk cId="1570553839" sldId="2552"/>
            <ac:spMk id="141" creationId="{87AA175E-C872-D64C-BD4F-E2051F6ED077}"/>
          </ac:spMkLst>
        </pc:spChg>
        <pc:spChg chg="mod">
          <ac:chgData name="Miglani, Manisha" userId="dcd8ae44-efb6-4afd-b817-410b43c02073" providerId="ADAL" clId="{FF858129-72AD-8A43-B1B7-C8F787667F52}" dt="2021-06-10T06:43:21.433" v="129"/>
          <ac:spMkLst>
            <pc:docMk/>
            <pc:sldMk cId="1570553839" sldId="2552"/>
            <ac:spMk id="142" creationId="{CB8AF5EB-754F-3B47-B243-5CB6041077B0}"/>
          </ac:spMkLst>
        </pc:spChg>
        <pc:spChg chg="mod">
          <ac:chgData name="Miglani, Manisha" userId="dcd8ae44-efb6-4afd-b817-410b43c02073" providerId="ADAL" clId="{FF858129-72AD-8A43-B1B7-C8F787667F52}" dt="2021-06-10T06:43:21.433" v="129"/>
          <ac:spMkLst>
            <pc:docMk/>
            <pc:sldMk cId="1570553839" sldId="2552"/>
            <ac:spMk id="143" creationId="{BF18DA3D-3ECC-854C-9BBE-B43A5965B163}"/>
          </ac:spMkLst>
        </pc:spChg>
        <pc:spChg chg="mod">
          <ac:chgData name="Miglani, Manisha" userId="dcd8ae44-efb6-4afd-b817-410b43c02073" providerId="ADAL" clId="{FF858129-72AD-8A43-B1B7-C8F787667F52}" dt="2021-06-10T06:43:21.433" v="129"/>
          <ac:spMkLst>
            <pc:docMk/>
            <pc:sldMk cId="1570553839" sldId="2552"/>
            <ac:spMk id="144" creationId="{010FAC8D-C173-154A-93B6-F56F802AB919}"/>
          </ac:spMkLst>
        </pc:spChg>
        <pc:spChg chg="mod">
          <ac:chgData name="Miglani, Manisha" userId="dcd8ae44-efb6-4afd-b817-410b43c02073" providerId="ADAL" clId="{FF858129-72AD-8A43-B1B7-C8F787667F52}" dt="2021-06-10T06:43:21.433" v="129"/>
          <ac:spMkLst>
            <pc:docMk/>
            <pc:sldMk cId="1570553839" sldId="2552"/>
            <ac:spMk id="145" creationId="{B228A9E2-8677-F947-95F5-71F6892ECBE1}"/>
          </ac:spMkLst>
        </pc:spChg>
        <pc:spChg chg="mod">
          <ac:chgData name="Miglani, Manisha" userId="dcd8ae44-efb6-4afd-b817-410b43c02073" providerId="ADAL" clId="{FF858129-72AD-8A43-B1B7-C8F787667F52}" dt="2021-06-10T06:43:21.433" v="129"/>
          <ac:spMkLst>
            <pc:docMk/>
            <pc:sldMk cId="1570553839" sldId="2552"/>
            <ac:spMk id="151" creationId="{23A88379-4915-2645-8448-F810F6C57643}"/>
          </ac:spMkLst>
        </pc:spChg>
        <pc:spChg chg="mod">
          <ac:chgData name="Miglani, Manisha" userId="dcd8ae44-efb6-4afd-b817-410b43c02073" providerId="ADAL" clId="{FF858129-72AD-8A43-B1B7-C8F787667F52}" dt="2021-06-10T06:43:21.433" v="129"/>
          <ac:spMkLst>
            <pc:docMk/>
            <pc:sldMk cId="1570553839" sldId="2552"/>
            <ac:spMk id="155" creationId="{D8BCBA0B-44E2-0547-AFEE-047D1DA017AE}"/>
          </ac:spMkLst>
        </pc:spChg>
        <pc:spChg chg="mod">
          <ac:chgData name="Miglani, Manisha" userId="dcd8ae44-efb6-4afd-b817-410b43c02073" providerId="ADAL" clId="{FF858129-72AD-8A43-B1B7-C8F787667F52}" dt="2021-06-10T06:43:21.433" v="129"/>
          <ac:spMkLst>
            <pc:docMk/>
            <pc:sldMk cId="1570553839" sldId="2552"/>
            <ac:spMk id="159" creationId="{FB5FB967-0E31-584C-BA54-936DF35116E7}"/>
          </ac:spMkLst>
        </pc:spChg>
        <pc:spChg chg="mod">
          <ac:chgData name="Miglani, Manisha" userId="dcd8ae44-efb6-4afd-b817-410b43c02073" providerId="ADAL" clId="{FF858129-72AD-8A43-B1B7-C8F787667F52}" dt="2021-06-10T06:43:21.433" v="129"/>
          <ac:spMkLst>
            <pc:docMk/>
            <pc:sldMk cId="1570553839" sldId="2552"/>
            <ac:spMk id="160" creationId="{3F78944F-980C-1247-BDBF-BE3087785EBD}"/>
          </ac:spMkLst>
        </pc:spChg>
        <pc:spChg chg="mod">
          <ac:chgData name="Miglani, Manisha" userId="dcd8ae44-efb6-4afd-b817-410b43c02073" providerId="ADAL" clId="{FF858129-72AD-8A43-B1B7-C8F787667F52}" dt="2021-06-10T06:43:21.433" v="129"/>
          <ac:spMkLst>
            <pc:docMk/>
            <pc:sldMk cId="1570553839" sldId="2552"/>
            <ac:spMk id="161" creationId="{513842B9-1002-C54A-BA11-D6461A25EF2D}"/>
          </ac:spMkLst>
        </pc:spChg>
        <pc:spChg chg="mod">
          <ac:chgData name="Miglani, Manisha" userId="dcd8ae44-efb6-4afd-b817-410b43c02073" providerId="ADAL" clId="{FF858129-72AD-8A43-B1B7-C8F787667F52}" dt="2021-06-10T06:43:21.433" v="129"/>
          <ac:spMkLst>
            <pc:docMk/>
            <pc:sldMk cId="1570553839" sldId="2552"/>
            <ac:spMk id="162" creationId="{1F5ADA9A-46B0-1649-8BAA-851EFE1A6487}"/>
          </ac:spMkLst>
        </pc:spChg>
        <pc:spChg chg="mod">
          <ac:chgData name="Miglani, Manisha" userId="dcd8ae44-efb6-4afd-b817-410b43c02073" providerId="ADAL" clId="{FF858129-72AD-8A43-B1B7-C8F787667F52}" dt="2021-06-10T06:43:21.433" v="129"/>
          <ac:spMkLst>
            <pc:docMk/>
            <pc:sldMk cId="1570553839" sldId="2552"/>
            <ac:spMk id="163" creationId="{57126207-D438-6F49-8B39-D3C505BB4866}"/>
          </ac:spMkLst>
        </pc:spChg>
        <pc:spChg chg="mod">
          <ac:chgData name="Miglani, Manisha" userId="dcd8ae44-efb6-4afd-b817-410b43c02073" providerId="ADAL" clId="{FF858129-72AD-8A43-B1B7-C8F787667F52}" dt="2021-06-10T06:43:21.433" v="129"/>
          <ac:spMkLst>
            <pc:docMk/>
            <pc:sldMk cId="1570553839" sldId="2552"/>
            <ac:spMk id="164" creationId="{AC15173C-E6FD-854D-9A68-1F0F97BDBC2F}"/>
          </ac:spMkLst>
        </pc:spChg>
        <pc:spChg chg="mod">
          <ac:chgData name="Miglani, Manisha" userId="dcd8ae44-efb6-4afd-b817-410b43c02073" providerId="ADAL" clId="{FF858129-72AD-8A43-B1B7-C8F787667F52}" dt="2021-06-10T06:43:21.433" v="129"/>
          <ac:spMkLst>
            <pc:docMk/>
            <pc:sldMk cId="1570553839" sldId="2552"/>
            <ac:spMk id="165" creationId="{B829D112-B1CA-1249-885A-5CDF9AB434B6}"/>
          </ac:spMkLst>
        </pc:spChg>
        <pc:spChg chg="mod">
          <ac:chgData name="Miglani, Manisha" userId="dcd8ae44-efb6-4afd-b817-410b43c02073" providerId="ADAL" clId="{FF858129-72AD-8A43-B1B7-C8F787667F52}" dt="2021-06-10T06:43:21.433" v="129"/>
          <ac:spMkLst>
            <pc:docMk/>
            <pc:sldMk cId="1570553839" sldId="2552"/>
            <ac:spMk id="166" creationId="{48AF0189-8049-054B-BED0-BD1BB143CD37}"/>
          </ac:spMkLst>
        </pc:spChg>
        <pc:spChg chg="mod">
          <ac:chgData name="Miglani, Manisha" userId="dcd8ae44-efb6-4afd-b817-410b43c02073" providerId="ADAL" clId="{FF858129-72AD-8A43-B1B7-C8F787667F52}" dt="2021-06-10T06:43:21.433" v="129"/>
          <ac:spMkLst>
            <pc:docMk/>
            <pc:sldMk cId="1570553839" sldId="2552"/>
            <ac:spMk id="167" creationId="{A5F6D04B-036E-3341-BB93-18C85C3B40C8}"/>
          </ac:spMkLst>
        </pc:spChg>
        <pc:spChg chg="mod">
          <ac:chgData name="Miglani, Manisha" userId="dcd8ae44-efb6-4afd-b817-410b43c02073" providerId="ADAL" clId="{FF858129-72AD-8A43-B1B7-C8F787667F52}" dt="2021-06-10T06:43:21.433" v="129"/>
          <ac:spMkLst>
            <pc:docMk/>
            <pc:sldMk cId="1570553839" sldId="2552"/>
            <ac:spMk id="168" creationId="{82F86273-63D8-7849-B45A-9B02174B96E8}"/>
          </ac:spMkLst>
        </pc:spChg>
        <pc:spChg chg="mod">
          <ac:chgData name="Miglani, Manisha" userId="dcd8ae44-efb6-4afd-b817-410b43c02073" providerId="ADAL" clId="{FF858129-72AD-8A43-B1B7-C8F787667F52}" dt="2021-06-10T06:43:21.433" v="129"/>
          <ac:spMkLst>
            <pc:docMk/>
            <pc:sldMk cId="1570553839" sldId="2552"/>
            <ac:spMk id="169" creationId="{23689C0C-5E66-F248-A830-3DF7EC91B9E3}"/>
          </ac:spMkLst>
        </pc:spChg>
        <pc:spChg chg="mod">
          <ac:chgData name="Miglani, Manisha" userId="dcd8ae44-efb6-4afd-b817-410b43c02073" providerId="ADAL" clId="{FF858129-72AD-8A43-B1B7-C8F787667F52}" dt="2021-06-10T06:43:21.433" v="129"/>
          <ac:spMkLst>
            <pc:docMk/>
            <pc:sldMk cId="1570553839" sldId="2552"/>
            <ac:spMk id="170" creationId="{467EF9F0-CFD5-B149-BA8E-2ABA3C11F5D2}"/>
          </ac:spMkLst>
        </pc:spChg>
        <pc:spChg chg="mod">
          <ac:chgData name="Miglani, Manisha" userId="dcd8ae44-efb6-4afd-b817-410b43c02073" providerId="ADAL" clId="{FF858129-72AD-8A43-B1B7-C8F787667F52}" dt="2021-06-10T06:43:21.433" v="129"/>
          <ac:spMkLst>
            <pc:docMk/>
            <pc:sldMk cId="1570553839" sldId="2552"/>
            <ac:spMk id="171" creationId="{9E92FA57-A8FB-EC42-8A05-EA4ADB902B3E}"/>
          </ac:spMkLst>
        </pc:spChg>
        <pc:spChg chg="mod">
          <ac:chgData name="Miglani, Manisha" userId="dcd8ae44-efb6-4afd-b817-410b43c02073" providerId="ADAL" clId="{FF858129-72AD-8A43-B1B7-C8F787667F52}" dt="2021-06-10T06:43:21.433" v="129"/>
          <ac:spMkLst>
            <pc:docMk/>
            <pc:sldMk cId="1570553839" sldId="2552"/>
            <ac:spMk id="172" creationId="{2EC8214F-682F-8347-B7F7-D33A0CEA71F2}"/>
          </ac:spMkLst>
        </pc:spChg>
        <pc:spChg chg="mod">
          <ac:chgData name="Miglani, Manisha" userId="dcd8ae44-efb6-4afd-b817-410b43c02073" providerId="ADAL" clId="{FF858129-72AD-8A43-B1B7-C8F787667F52}" dt="2021-06-10T06:43:21.433" v="129"/>
          <ac:spMkLst>
            <pc:docMk/>
            <pc:sldMk cId="1570553839" sldId="2552"/>
            <ac:spMk id="173" creationId="{51A5B09A-3FC6-2448-9155-1ED0ABF19A16}"/>
          </ac:spMkLst>
        </pc:spChg>
        <pc:spChg chg="mod">
          <ac:chgData name="Miglani, Manisha" userId="dcd8ae44-efb6-4afd-b817-410b43c02073" providerId="ADAL" clId="{FF858129-72AD-8A43-B1B7-C8F787667F52}" dt="2021-06-10T06:43:21.433" v="129"/>
          <ac:spMkLst>
            <pc:docMk/>
            <pc:sldMk cId="1570553839" sldId="2552"/>
            <ac:spMk id="174" creationId="{BEB3A87C-8720-BC4D-B082-89C93BDC02EF}"/>
          </ac:spMkLst>
        </pc:spChg>
        <pc:spChg chg="mod">
          <ac:chgData name="Miglani, Manisha" userId="dcd8ae44-efb6-4afd-b817-410b43c02073" providerId="ADAL" clId="{FF858129-72AD-8A43-B1B7-C8F787667F52}" dt="2021-06-10T06:43:21.433" v="129"/>
          <ac:spMkLst>
            <pc:docMk/>
            <pc:sldMk cId="1570553839" sldId="2552"/>
            <ac:spMk id="175" creationId="{CBCF179B-F124-DC4D-A1CD-B3937686A9B9}"/>
          </ac:spMkLst>
        </pc:spChg>
        <pc:spChg chg="mod">
          <ac:chgData name="Miglani, Manisha" userId="dcd8ae44-efb6-4afd-b817-410b43c02073" providerId="ADAL" clId="{FF858129-72AD-8A43-B1B7-C8F787667F52}" dt="2021-06-10T06:43:21.433" v="129"/>
          <ac:spMkLst>
            <pc:docMk/>
            <pc:sldMk cId="1570553839" sldId="2552"/>
            <ac:spMk id="176" creationId="{1DC91581-8448-374E-AE1C-98F4408FAFB9}"/>
          </ac:spMkLst>
        </pc:spChg>
        <pc:spChg chg="mod">
          <ac:chgData name="Miglani, Manisha" userId="dcd8ae44-efb6-4afd-b817-410b43c02073" providerId="ADAL" clId="{FF858129-72AD-8A43-B1B7-C8F787667F52}" dt="2021-06-10T06:43:21.433" v="129"/>
          <ac:spMkLst>
            <pc:docMk/>
            <pc:sldMk cId="1570553839" sldId="2552"/>
            <ac:spMk id="177" creationId="{F1D8800E-A660-7845-A65C-64759ACD2997}"/>
          </ac:spMkLst>
        </pc:spChg>
        <pc:spChg chg="mod">
          <ac:chgData name="Miglani, Manisha" userId="dcd8ae44-efb6-4afd-b817-410b43c02073" providerId="ADAL" clId="{FF858129-72AD-8A43-B1B7-C8F787667F52}" dt="2021-06-10T06:43:21.433" v="129"/>
          <ac:spMkLst>
            <pc:docMk/>
            <pc:sldMk cId="1570553839" sldId="2552"/>
            <ac:spMk id="178" creationId="{7E260E1C-2E53-1247-932F-B1FD9DA3AEEC}"/>
          </ac:spMkLst>
        </pc:spChg>
        <pc:spChg chg="mod">
          <ac:chgData name="Miglani, Manisha" userId="dcd8ae44-efb6-4afd-b817-410b43c02073" providerId="ADAL" clId="{FF858129-72AD-8A43-B1B7-C8F787667F52}" dt="2021-06-10T06:43:21.433" v="129"/>
          <ac:spMkLst>
            <pc:docMk/>
            <pc:sldMk cId="1570553839" sldId="2552"/>
            <ac:spMk id="179" creationId="{C8ED4363-4032-7847-9CDC-009CA1348AEE}"/>
          </ac:spMkLst>
        </pc:spChg>
        <pc:spChg chg="mod">
          <ac:chgData name="Miglani, Manisha" userId="dcd8ae44-efb6-4afd-b817-410b43c02073" providerId="ADAL" clId="{FF858129-72AD-8A43-B1B7-C8F787667F52}" dt="2021-06-10T06:43:21.433" v="129"/>
          <ac:spMkLst>
            <pc:docMk/>
            <pc:sldMk cId="1570553839" sldId="2552"/>
            <ac:spMk id="180" creationId="{C2389A4D-0527-394A-BC2C-B1564ED650CD}"/>
          </ac:spMkLst>
        </pc:spChg>
        <pc:spChg chg="mod">
          <ac:chgData name="Miglani, Manisha" userId="dcd8ae44-efb6-4afd-b817-410b43c02073" providerId="ADAL" clId="{FF858129-72AD-8A43-B1B7-C8F787667F52}" dt="2021-06-10T06:43:21.433" v="129"/>
          <ac:spMkLst>
            <pc:docMk/>
            <pc:sldMk cId="1570553839" sldId="2552"/>
            <ac:spMk id="181" creationId="{6E78614D-1F33-F84C-8AA6-FBE160F96A07}"/>
          </ac:spMkLst>
        </pc:spChg>
        <pc:spChg chg="mod">
          <ac:chgData name="Miglani, Manisha" userId="dcd8ae44-efb6-4afd-b817-410b43c02073" providerId="ADAL" clId="{FF858129-72AD-8A43-B1B7-C8F787667F52}" dt="2021-06-10T06:43:21.433" v="129"/>
          <ac:spMkLst>
            <pc:docMk/>
            <pc:sldMk cId="1570553839" sldId="2552"/>
            <ac:spMk id="185" creationId="{96AA7E2D-1BC1-A54A-8286-5CF4839793F5}"/>
          </ac:spMkLst>
        </pc:spChg>
        <pc:spChg chg="mod">
          <ac:chgData name="Miglani, Manisha" userId="dcd8ae44-efb6-4afd-b817-410b43c02073" providerId="ADAL" clId="{FF858129-72AD-8A43-B1B7-C8F787667F52}" dt="2021-06-10T06:43:21.433" v="129"/>
          <ac:spMkLst>
            <pc:docMk/>
            <pc:sldMk cId="1570553839" sldId="2552"/>
            <ac:spMk id="186" creationId="{82C09499-2222-F446-87C7-4D829BCE5C37}"/>
          </ac:spMkLst>
        </pc:spChg>
        <pc:spChg chg="mod">
          <ac:chgData name="Miglani, Manisha" userId="dcd8ae44-efb6-4afd-b817-410b43c02073" providerId="ADAL" clId="{FF858129-72AD-8A43-B1B7-C8F787667F52}" dt="2021-06-10T06:43:21.433" v="129"/>
          <ac:spMkLst>
            <pc:docMk/>
            <pc:sldMk cId="1570553839" sldId="2552"/>
            <ac:spMk id="187" creationId="{5FD8D218-2B01-8548-8421-AD286F0835E8}"/>
          </ac:spMkLst>
        </pc:spChg>
        <pc:spChg chg="mod">
          <ac:chgData name="Miglani, Manisha" userId="dcd8ae44-efb6-4afd-b817-410b43c02073" providerId="ADAL" clId="{FF858129-72AD-8A43-B1B7-C8F787667F52}" dt="2021-06-10T06:43:21.433" v="129"/>
          <ac:spMkLst>
            <pc:docMk/>
            <pc:sldMk cId="1570553839" sldId="2552"/>
            <ac:spMk id="188" creationId="{6A2D64C1-1DB9-524D-A077-9899A30363F6}"/>
          </ac:spMkLst>
        </pc:spChg>
        <pc:spChg chg="mod">
          <ac:chgData name="Miglani, Manisha" userId="dcd8ae44-efb6-4afd-b817-410b43c02073" providerId="ADAL" clId="{FF858129-72AD-8A43-B1B7-C8F787667F52}" dt="2021-06-10T06:43:21.433" v="129"/>
          <ac:spMkLst>
            <pc:docMk/>
            <pc:sldMk cId="1570553839" sldId="2552"/>
            <ac:spMk id="190" creationId="{9E58C35C-D7DC-1642-9C67-091558A55A92}"/>
          </ac:spMkLst>
        </pc:spChg>
        <pc:spChg chg="mod">
          <ac:chgData name="Miglani, Manisha" userId="dcd8ae44-efb6-4afd-b817-410b43c02073" providerId="ADAL" clId="{FF858129-72AD-8A43-B1B7-C8F787667F52}" dt="2021-06-10T06:43:21.433" v="129"/>
          <ac:spMkLst>
            <pc:docMk/>
            <pc:sldMk cId="1570553839" sldId="2552"/>
            <ac:spMk id="191" creationId="{31603FCA-2461-9144-9741-EFD552020036}"/>
          </ac:spMkLst>
        </pc:spChg>
        <pc:spChg chg="mod">
          <ac:chgData name="Miglani, Manisha" userId="dcd8ae44-efb6-4afd-b817-410b43c02073" providerId="ADAL" clId="{FF858129-72AD-8A43-B1B7-C8F787667F52}" dt="2021-06-10T06:43:21.433" v="129"/>
          <ac:spMkLst>
            <pc:docMk/>
            <pc:sldMk cId="1570553839" sldId="2552"/>
            <ac:spMk id="192" creationId="{63C428AD-905B-AA46-8D1F-951397CBE7D5}"/>
          </ac:spMkLst>
        </pc:spChg>
        <pc:spChg chg="mod">
          <ac:chgData name="Miglani, Manisha" userId="dcd8ae44-efb6-4afd-b817-410b43c02073" providerId="ADAL" clId="{FF858129-72AD-8A43-B1B7-C8F787667F52}" dt="2021-06-10T06:43:21.433" v="129"/>
          <ac:spMkLst>
            <pc:docMk/>
            <pc:sldMk cId="1570553839" sldId="2552"/>
            <ac:spMk id="193" creationId="{D6129E77-4B67-6B4C-A63E-278844053FB4}"/>
          </ac:spMkLst>
        </pc:spChg>
        <pc:spChg chg="mod">
          <ac:chgData name="Miglani, Manisha" userId="dcd8ae44-efb6-4afd-b817-410b43c02073" providerId="ADAL" clId="{FF858129-72AD-8A43-B1B7-C8F787667F52}" dt="2021-06-10T06:43:21.433" v="129"/>
          <ac:spMkLst>
            <pc:docMk/>
            <pc:sldMk cId="1570553839" sldId="2552"/>
            <ac:spMk id="194" creationId="{B8EBF3D4-662B-3F4C-9F0B-520C629AFEAF}"/>
          </ac:spMkLst>
        </pc:spChg>
        <pc:spChg chg="mod">
          <ac:chgData name="Miglani, Manisha" userId="dcd8ae44-efb6-4afd-b817-410b43c02073" providerId="ADAL" clId="{FF858129-72AD-8A43-B1B7-C8F787667F52}" dt="2021-06-10T06:43:21.433" v="129"/>
          <ac:spMkLst>
            <pc:docMk/>
            <pc:sldMk cId="1570553839" sldId="2552"/>
            <ac:spMk id="195" creationId="{438CE341-FD55-1F44-B6E6-55C6DACE030F}"/>
          </ac:spMkLst>
        </pc:spChg>
        <pc:spChg chg="mod">
          <ac:chgData name="Miglani, Manisha" userId="dcd8ae44-efb6-4afd-b817-410b43c02073" providerId="ADAL" clId="{FF858129-72AD-8A43-B1B7-C8F787667F52}" dt="2021-06-10T06:43:21.433" v="129"/>
          <ac:spMkLst>
            <pc:docMk/>
            <pc:sldMk cId="1570553839" sldId="2552"/>
            <ac:spMk id="196" creationId="{8708CC85-C8AD-C447-AF9E-57AE5EE552BE}"/>
          </ac:spMkLst>
        </pc:spChg>
        <pc:spChg chg="mod">
          <ac:chgData name="Miglani, Manisha" userId="dcd8ae44-efb6-4afd-b817-410b43c02073" providerId="ADAL" clId="{FF858129-72AD-8A43-B1B7-C8F787667F52}" dt="2021-06-10T06:43:21.433" v="129"/>
          <ac:spMkLst>
            <pc:docMk/>
            <pc:sldMk cId="1570553839" sldId="2552"/>
            <ac:spMk id="197" creationId="{8CF2A5A0-4820-C34E-A5A3-1EB269A52DF8}"/>
          </ac:spMkLst>
        </pc:spChg>
        <pc:spChg chg="mod">
          <ac:chgData name="Miglani, Manisha" userId="dcd8ae44-efb6-4afd-b817-410b43c02073" providerId="ADAL" clId="{FF858129-72AD-8A43-B1B7-C8F787667F52}" dt="2021-06-10T06:43:21.433" v="129"/>
          <ac:spMkLst>
            <pc:docMk/>
            <pc:sldMk cId="1570553839" sldId="2552"/>
            <ac:spMk id="198" creationId="{A923D247-C7FD-514F-AA62-560399B7109F}"/>
          </ac:spMkLst>
        </pc:spChg>
        <pc:spChg chg="mod">
          <ac:chgData name="Miglani, Manisha" userId="dcd8ae44-efb6-4afd-b817-410b43c02073" providerId="ADAL" clId="{FF858129-72AD-8A43-B1B7-C8F787667F52}" dt="2021-06-10T06:43:21.433" v="129"/>
          <ac:spMkLst>
            <pc:docMk/>
            <pc:sldMk cId="1570553839" sldId="2552"/>
            <ac:spMk id="199" creationId="{E0020CEB-94B6-5240-9413-C1281E65B454}"/>
          </ac:spMkLst>
        </pc:spChg>
        <pc:spChg chg="mod">
          <ac:chgData name="Miglani, Manisha" userId="dcd8ae44-efb6-4afd-b817-410b43c02073" providerId="ADAL" clId="{FF858129-72AD-8A43-B1B7-C8F787667F52}" dt="2021-06-10T06:43:21.433" v="129"/>
          <ac:spMkLst>
            <pc:docMk/>
            <pc:sldMk cId="1570553839" sldId="2552"/>
            <ac:spMk id="200" creationId="{4E3FCA96-77B9-4848-BC40-3EE0E62757B1}"/>
          </ac:spMkLst>
        </pc:spChg>
        <pc:spChg chg="mod">
          <ac:chgData name="Miglani, Manisha" userId="dcd8ae44-efb6-4afd-b817-410b43c02073" providerId="ADAL" clId="{FF858129-72AD-8A43-B1B7-C8F787667F52}" dt="2021-06-10T06:43:21.433" v="129"/>
          <ac:spMkLst>
            <pc:docMk/>
            <pc:sldMk cId="1570553839" sldId="2552"/>
            <ac:spMk id="201" creationId="{AB73585F-F1F0-B74C-B097-95EF0B430C20}"/>
          </ac:spMkLst>
        </pc:spChg>
        <pc:spChg chg="mod">
          <ac:chgData name="Miglani, Manisha" userId="dcd8ae44-efb6-4afd-b817-410b43c02073" providerId="ADAL" clId="{FF858129-72AD-8A43-B1B7-C8F787667F52}" dt="2021-06-10T06:43:21.433" v="129"/>
          <ac:spMkLst>
            <pc:docMk/>
            <pc:sldMk cId="1570553839" sldId="2552"/>
            <ac:spMk id="202" creationId="{6F84DB7B-EFFD-734D-BE4F-0BAB6BB94514}"/>
          </ac:spMkLst>
        </pc:spChg>
        <pc:spChg chg="del">
          <ac:chgData name="Miglani, Manisha" userId="dcd8ae44-efb6-4afd-b817-410b43c02073" providerId="ADAL" clId="{FF858129-72AD-8A43-B1B7-C8F787667F52}" dt="2021-06-09T12:23:57.770" v="37" actId="478"/>
          <ac:spMkLst>
            <pc:docMk/>
            <pc:sldMk cId="1570553839" sldId="2552"/>
            <ac:spMk id="202" creationId="{C6DEBAD4-BF0F-4B58-8C66-40AA9776A388}"/>
          </ac:spMkLst>
        </pc:spChg>
        <pc:spChg chg="del">
          <ac:chgData name="Miglani, Manisha" userId="dcd8ae44-efb6-4afd-b817-410b43c02073" providerId="ADAL" clId="{FF858129-72AD-8A43-B1B7-C8F787667F52}" dt="2021-06-09T12:25:29.030" v="59" actId="478"/>
          <ac:spMkLst>
            <pc:docMk/>
            <pc:sldMk cId="1570553839" sldId="2552"/>
            <ac:spMk id="204" creationId="{5C884ACE-58B1-4755-BFA7-0FE304D42B59}"/>
          </ac:spMkLst>
        </pc:spChg>
        <pc:spChg chg="mod">
          <ac:chgData name="Miglani, Manisha" userId="dcd8ae44-efb6-4afd-b817-410b43c02073" providerId="ADAL" clId="{FF858129-72AD-8A43-B1B7-C8F787667F52}" dt="2021-06-10T06:43:21.433" v="129"/>
          <ac:spMkLst>
            <pc:docMk/>
            <pc:sldMk cId="1570553839" sldId="2552"/>
            <ac:spMk id="204" creationId="{E1CD62E7-B98C-6343-8880-0518C6350CB7}"/>
          </ac:spMkLst>
        </pc:spChg>
        <pc:spChg chg="del">
          <ac:chgData name="Miglani, Manisha" userId="dcd8ae44-efb6-4afd-b817-410b43c02073" providerId="ADAL" clId="{FF858129-72AD-8A43-B1B7-C8F787667F52}" dt="2021-06-10T07:38:23.121" v="203" actId="478"/>
          <ac:spMkLst>
            <pc:docMk/>
            <pc:sldMk cId="1570553839" sldId="2552"/>
            <ac:spMk id="205" creationId="{0D61221F-8FF4-44D5-9ED3-810E5B608119}"/>
          </ac:spMkLst>
        </pc:spChg>
        <pc:spChg chg="mod">
          <ac:chgData name="Miglani, Manisha" userId="dcd8ae44-efb6-4afd-b817-410b43c02073" providerId="ADAL" clId="{FF858129-72AD-8A43-B1B7-C8F787667F52}" dt="2021-06-10T06:43:21.433" v="129"/>
          <ac:spMkLst>
            <pc:docMk/>
            <pc:sldMk cId="1570553839" sldId="2552"/>
            <ac:spMk id="206" creationId="{ED794AF2-3A1B-6543-AEA2-B14D8D57AEB4}"/>
          </ac:spMkLst>
        </pc:spChg>
        <pc:spChg chg="mod">
          <ac:chgData name="Miglani, Manisha" userId="dcd8ae44-efb6-4afd-b817-410b43c02073" providerId="ADAL" clId="{FF858129-72AD-8A43-B1B7-C8F787667F52}" dt="2021-06-10T06:43:21.433" v="129"/>
          <ac:spMkLst>
            <pc:docMk/>
            <pc:sldMk cId="1570553839" sldId="2552"/>
            <ac:spMk id="207" creationId="{0810AA5B-4E7C-E346-938C-40A04142F281}"/>
          </ac:spMkLst>
        </pc:spChg>
        <pc:spChg chg="mod">
          <ac:chgData name="Miglani, Manisha" userId="dcd8ae44-efb6-4afd-b817-410b43c02073" providerId="ADAL" clId="{FF858129-72AD-8A43-B1B7-C8F787667F52}" dt="2021-06-10T06:43:21.433" v="129"/>
          <ac:spMkLst>
            <pc:docMk/>
            <pc:sldMk cId="1570553839" sldId="2552"/>
            <ac:spMk id="208" creationId="{3EC69397-4F3C-2246-B957-F19452EFFE0D}"/>
          </ac:spMkLst>
        </pc:spChg>
        <pc:spChg chg="mod">
          <ac:chgData name="Miglani, Manisha" userId="dcd8ae44-efb6-4afd-b817-410b43c02073" providerId="ADAL" clId="{FF858129-72AD-8A43-B1B7-C8F787667F52}" dt="2021-06-10T06:43:21.433" v="129"/>
          <ac:spMkLst>
            <pc:docMk/>
            <pc:sldMk cId="1570553839" sldId="2552"/>
            <ac:spMk id="209" creationId="{64C3AFA2-2B5D-0A4B-BA5E-B77DE0F5B2CD}"/>
          </ac:spMkLst>
        </pc:spChg>
        <pc:spChg chg="mod">
          <ac:chgData name="Miglani, Manisha" userId="dcd8ae44-efb6-4afd-b817-410b43c02073" providerId="ADAL" clId="{FF858129-72AD-8A43-B1B7-C8F787667F52}" dt="2021-06-10T06:43:21.433" v="129"/>
          <ac:spMkLst>
            <pc:docMk/>
            <pc:sldMk cId="1570553839" sldId="2552"/>
            <ac:spMk id="210" creationId="{DD955038-AE55-294D-93BC-365C9C67FD0F}"/>
          </ac:spMkLst>
        </pc:spChg>
        <pc:spChg chg="mod">
          <ac:chgData name="Miglani, Manisha" userId="dcd8ae44-efb6-4afd-b817-410b43c02073" providerId="ADAL" clId="{FF858129-72AD-8A43-B1B7-C8F787667F52}" dt="2021-06-10T06:43:21.433" v="129"/>
          <ac:spMkLst>
            <pc:docMk/>
            <pc:sldMk cId="1570553839" sldId="2552"/>
            <ac:spMk id="211" creationId="{B19BD61C-A523-F545-A6ED-C0326B9CFDE8}"/>
          </ac:spMkLst>
        </pc:spChg>
        <pc:spChg chg="mod">
          <ac:chgData name="Miglani, Manisha" userId="dcd8ae44-efb6-4afd-b817-410b43c02073" providerId="ADAL" clId="{FF858129-72AD-8A43-B1B7-C8F787667F52}" dt="2021-06-10T06:43:21.433" v="129"/>
          <ac:spMkLst>
            <pc:docMk/>
            <pc:sldMk cId="1570553839" sldId="2552"/>
            <ac:spMk id="212" creationId="{49A45019-77CB-1941-B633-B038B7AA197F}"/>
          </ac:spMkLst>
        </pc:spChg>
        <pc:spChg chg="mod">
          <ac:chgData name="Miglani, Manisha" userId="dcd8ae44-efb6-4afd-b817-410b43c02073" providerId="ADAL" clId="{FF858129-72AD-8A43-B1B7-C8F787667F52}" dt="2021-06-10T06:43:21.433" v="129"/>
          <ac:spMkLst>
            <pc:docMk/>
            <pc:sldMk cId="1570553839" sldId="2552"/>
            <ac:spMk id="213" creationId="{CCC290E2-A46D-C04A-B649-CC13FE907EBF}"/>
          </ac:spMkLst>
        </pc:spChg>
        <pc:spChg chg="mod">
          <ac:chgData name="Miglani, Manisha" userId="dcd8ae44-efb6-4afd-b817-410b43c02073" providerId="ADAL" clId="{FF858129-72AD-8A43-B1B7-C8F787667F52}" dt="2021-06-10T06:43:21.433" v="129"/>
          <ac:spMkLst>
            <pc:docMk/>
            <pc:sldMk cId="1570553839" sldId="2552"/>
            <ac:spMk id="214" creationId="{A8111D56-CCF7-124C-BF18-8FD7F92A6038}"/>
          </ac:spMkLst>
        </pc:spChg>
        <pc:spChg chg="mod">
          <ac:chgData name="Miglani, Manisha" userId="dcd8ae44-efb6-4afd-b817-410b43c02073" providerId="ADAL" clId="{FF858129-72AD-8A43-B1B7-C8F787667F52}" dt="2021-06-10T06:43:21.433" v="129"/>
          <ac:spMkLst>
            <pc:docMk/>
            <pc:sldMk cId="1570553839" sldId="2552"/>
            <ac:spMk id="215" creationId="{ABDFD7A5-ED79-2B49-9A25-C07A6BA9298C}"/>
          </ac:spMkLst>
        </pc:spChg>
        <pc:spChg chg="mod">
          <ac:chgData name="Miglani, Manisha" userId="dcd8ae44-efb6-4afd-b817-410b43c02073" providerId="ADAL" clId="{FF858129-72AD-8A43-B1B7-C8F787667F52}" dt="2021-06-10T06:43:21.433" v="129"/>
          <ac:spMkLst>
            <pc:docMk/>
            <pc:sldMk cId="1570553839" sldId="2552"/>
            <ac:spMk id="216" creationId="{C732E43A-4711-DE4F-A73C-8651C7DF72B4}"/>
          </ac:spMkLst>
        </pc:spChg>
        <pc:spChg chg="mod">
          <ac:chgData name="Miglani, Manisha" userId="dcd8ae44-efb6-4afd-b817-410b43c02073" providerId="ADAL" clId="{FF858129-72AD-8A43-B1B7-C8F787667F52}" dt="2021-06-10T06:43:21.433" v="129"/>
          <ac:spMkLst>
            <pc:docMk/>
            <pc:sldMk cId="1570553839" sldId="2552"/>
            <ac:spMk id="217" creationId="{5B42FD80-B789-DE45-A1EC-3E7DF03E9D0A}"/>
          </ac:spMkLst>
        </pc:spChg>
        <pc:spChg chg="mod">
          <ac:chgData name="Miglani, Manisha" userId="dcd8ae44-efb6-4afd-b817-410b43c02073" providerId="ADAL" clId="{FF858129-72AD-8A43-B1B7-C8F787667F52}" dt="2021-06-10T06:43:21.433" v="129"/>
          <ac:spMkLst>
            <pc:docMk/>
            <pc:sldMk cId="1570553839" sldId="2552"/>
            <ac:spMk id="218" creationId="{67FCB548-0644-3247-BED2-551CDD3C67EA}"/>
          </ac:spMkLst>
        </pc:spChg>
        <pc:spChg chg="mod">
          <ac:chgData name="Miglani, Manisha" userId="dcd8ae44-efb6-4afd-b817-410b43c02073" providerId="ADAL" clId="{FF858129-72AD-8A43-B1B7-C8F787667F52}" dt="2021-06-10T06:43:21.433" v="129"/>
          <ac:spMkLst>
            <pc:docMk/>
            <pc:sldMk cId="1570553839" sldId="2552"/>
            <ac:spMk id="219" creationId="{F5E67A30-E488-6842-B728-BA361424CAD3}"/>
          </ac:spMkLst>
        </pc:spChg>
        <pc:spChg chg="mod">
          <ac:chgData name="Miglani, Manisha" userId="dcd8ae44-efb6-4afd-b817-410b43c02073" providerId="ADAL" clId="{FF858129-72AD-8A43-B1B7-C8F787667F52}" dt="2021-06-10T06:43:21.433" v="129"/>
          <ac:spMkLst>
            <pc:docMk/>
            <pc:sldMk cId="1570553839" sldId="2552"/>
            <ac:spMk id="220" creationId="{93D13E03-8823-0F49-9FB0-84AF1BBD4D0C}"/>
          </ac:spMkLst>
        </pc:spChg>
        <pc:spChg chg="mod">
          <ac:chgData name="Miglani, Manisha" userId="dcd8ae44-efb6-4afd-b817-410b43c02073" providerId="ADAL" clId="{FF858129-72AD-8A43-B1B7-C8F787667F52}" dt="2021-06-10T06:43:21.433" v="129"/>
          <ac:spMkLst>
            <pc:docMk/>
            <pc:sldMk cId="1570553839" sldId="2552"/>
            <ac:spMk id="221" creationId="{E85A4A61-17CF-DD41-8C7D-4DDCEA09EEE5}"/>
          </ac:spMkLst>
        </pc:spChg>
        <pc:spChg chg="mod">
          <ac:chgData name="Miglani, Manisha" userId="dcd8ae44-efb6-4afd-b817-410b43c02073" providerId="ADAL" clId="{FF858129-72AD-8A43-B1B7-C8F787667F52}" dt="2021-06-10T06:43:21.433" v="129"/>
          <ac:spMkLst>
            <pc:docMk/>
            <pc:sldMk cId="1570553839" sldId="2552"/>
            <ac:spMk id="222" creationId="{A07AB2A3-443F-C940-B96B-6E12D32F9F60}"/>
          </ac:spMkLst>
        </pc:spChg>
        <pc:spChg chg="mod">
          <ac:chgData name="Miglani, Manisha" userId="dcd8ae44-efb6-4afd-b817-410b43c02073" providerId="ADAL" clId="{FF858129-72AD-8A43-B1B7-C8F787667F52}" dt="2021-06-10T06:43:21.433" v="129"/>
          <ac:spMkLst>
            <pc:docMk/>
            <pc:sldMk cId="1570553839" sldId="2552"/>
            <ac:spMk id="223" creationId="{8C8EE849-A04D-AB49-8024-0D3F379A960A}"/>
          </ac:spMkLst>
        </pc:spChg>
        <pc:spChg chg="mod">
          <ac:chgData name="Miglani, Manisha" userId="dcd8ae44-efb6-4afd-b817-410b43c02073" providerId="ADAL" clId="{FF858129-72AD-8A43-B1B7-C8F787667F52}" dt="2021-06-10T06:43:21.433" v="129"/>
          <ac:spMkLst>
            <pc:docMk/>
            <pc:sldMk cId="1570553839" sldId="2552"/>
            <ac:spMk id="224" creationId="{5EA72F70-4233-DA49-90A9-59A3C2916EC3}"/>
          </ac:spMkLst>
        </pc:spChg>
        <pc:spChg chg="mod">
          <ac:chgData name="Miglani, Manisha" userId="dcd8ae44-efb6-4afd-b817-410b43c02073" providerId="ADAL" clId="{FF858129-72AD-8A43-B1B7-C8F787667F52}" dt="2021-06-10T06:43:21.433" v="129"/>
          <ac:spMkLst>
            <pc:docMk/>
            <pc:sldMk cId="1570553839" sldId="2552"/>
            <ac:spMk id="225" creationId="{4BE1A745-750A-5242-9D7A-43E962B57977}"/>
          </ac:spMkLst>
        </pc:spChg>
        <pc:spChg chg="mod">
          <ac:chgData name="Miglani, Manisha" userId="dcd8ae44-efb6-4afd-b817-410b43c02073" providerId="ADAL" clId="{FF858129-72AD-8A43-B1B7-C8F787667F52}" dt="2021-06-10T06:43:21.433" v="129"/>
          <ac:spMkLst>
            <pc:docMk/>
            <pc:sldMk cId="1570553839" sldId="2552"/>
            <ac:spMk id="226" creationId="{099EDDF1-33A1-1649-8BAE-4E33DA0F8597}"/>
          </ac:spMkLst>
        </pc:spChg>
        <pc:spChg chg="mod">
          <ac:chgData name="Miglani, Manisha" userId="dcd8ae44-efb6-4afd-b817-410b43c02073" providerId="ADAL" clId="{FF858129-72AD-8A43-B1B7-C8F787667F52}" dt="2021-06-10T06:43:21.433" v="129"/>
          <ac:spMkLst>
            <pc:docMk/>
            <pc:sldMk cId="1570553839" sldId="2552"/>
            <ac:spMk id="227" creationId="{72176DF3-568E-6741-978E-1C96CDCC3202}"/>
          </ac:spMkLst>
        </pc:spChg>
        <pc:spChg chg="mod">
          <ac:chgData name="Miglani, Manisha" userId="dcd8ae44-efb6-4afd-b817-410b43c02073" providerId="ADAL" clId="{FF858129-72AD-8A43-B1B7-C8F787667F52}" dt="2021-06-10T06:43:21.433" v="129"/>
          <ac:spMkLst>
            <pc:docMk/>
            <pc:sldMk cId="1570553839" sldId="2552"/>
            <ac:spMk id="228" creationId="{11F37564-8600-9E41-8A4D-B6FB07833BE4}"/>
          </ac:spMkLst>
        </pc:spChg>
        <pc:spChg chg="mod">
          <ac:chgData name="Miglani, Manisha" userId="dcd8ae44-efb6-4afd-b817-410b43c02073" providerId="ADAL" clId="{FF858129-72AD-8A43-B1B7-C8F787667F52}" dt="2021-06-10T06:43:21.433" v="129"/>
          <ac:spMkLst>
            <pc:docMk/>
            <pc:sldMk cId="1570553839" sldId="2552"/>
            <ac:spMk id="229" creationId="{4783F4DB-6BE7-C54A-AA63-C073A9E03B40}"/>
          </ac:spMkLst>
        </pc:spChg>
        <pc:spChg chg="mod">
          <ac:chgData name="Miglani, Manisha" userId="dcd8ae44-efb6-4afd-b817-410b43c02073" providerId="ADAL" clId="{FF858129-72AD-8A43-B1B7-C8F787667F52}" dt="2021-06-10T06:43:21.433" v="129"/>
          <ac:spMkLst>
            <pc:docMk/>
            <pc:sldMk cId="1570553839" sldId="2552"/>
            <ac:spMk id="230" creationId="{D112EDB9-80C0-BC4C-BF85-38A287A7C779}"/>
          </ac:spMkLst>
        </pc:spChg>
        <pc:spChg chg="mod">
          <ac:chgData name="Miglani, Manisha" userId="dcd8ae44-efb6-4afd-b817-410b43c02073" providerId="ADAL" clId="{FF858129-72AD-8A43-B1B7-C8F787667F52}" dt="2021-06-10T06:43:21.433" v="129"/>
          <ac:spMkLst>
            <pc:docMk/>
            <pc:sldMk cId="1570553839" sldId="2552"/>
            <ac:spMk id="231" creationId="{D7E2BA16-77D2-6241-956B-7DBEA39E5346}"/>
          </ac:spMkLst>
        </pc:spChg>
        <pc:spChg chg="mod">
          <ac:chgData name="Miglani, Manisha" userId="dcd8ae44-efb6-4afd-b817-410b43c02073" providerId="ADAL" clId="{FF858129-72AD-8A43-B1B7-C8F787667F52}" dt="2021-06-10T06:43:21.433" v="129"/>
          <ac:spMkLst>
            <pc:docMk/>
            <pc:sldMk cId="1570553839" sldId="2552"/>
            <ac:spMk id="232" creationId="{B61C0A10-20D7-A448-A2E3-49CFF02A1803}"/>
          </ac:spMkLst>
        </pc:spChg>
        <pc:spChg chg="mod">
          <ac:chgData name="Miglani, Manisha" userId="dcd8ae44-efb6-4afd-b817-410b43c02073" providerId="ADAL" clId="{FF858129-72AD-8A43-B1B7-C8F787667F52}" dt="2021-06-10T06:43:21.433" v="129"/>
          <ac:spMkLst>
            <pc:docMk/>
            <pc:sldMk cId="1570553839" sldId="2552"/>
            <ac:spMk id="235" creationId="{9F2F79C2-FB2D-D847-849D-7B222F572AB4}"/>
          </ac:spMkLst>
        </pc:spChg>
        <pc:spChg chg="mod">
          <ac:chgData name="Miglani, Manisha" userId="dcd8ae44-efb6-4afd-b817-410b43c02073" providerId="ADAL" clId="{FF858129-72AD-8A43-B1B7-C8F787667F52}" dt="2021-06-10T06:43:21.433" v="129"/>
          <ac:spMkLst>
            <pc:docMk/>
            <pc:sldMk cId="1570553839" sldId="2552"/>
            <ac:spMk id="236" creationId="{258E11B0-5C12-954D-92D9-8C0872B18DDA}"/>
          </ac:spMkLst>
        </pc:spChg>
        <pc:spChg chg="mod">
          <ac:chgData name="Miglani, Manisha" userId="dcd8ae44-efb6-4afd-b817-410b43c02073" providerId="ADAL" clId="{FF858129-72AD-8A43-B1B7-C8F787667F52}" dt="2021-06-10T06:43:21.433" v="129"/>
          <ac:spMkLst>
            <pc:docMk/>
            <pc:sldMk cId="1570553839" sldId="2552"/>
            <ac:spMk id="237" creationId="{923E5EC0-6CCA-904E-B494-70BAA1EB5F70}"/>
          </ac:spMkLst>
        </pc:spChg>
        <pc:spChg chg="mod">
          <ac:chgData name="Miglani, Manisha" userId="dcd8ae44-efb6-4afd-b817-410b43c02073" providerId="ADAL" clId="{FF858129-72AD-8A43-B1B7-C8F787667F52}" dt="2021-06-10T06:43:21.433" v="129"/>
          <ac:spMkLst>
            <pc:docMk/>
            <pc:sldMk cId="1570553839" sldId="2552"/>
            <ac:spMk id="238" creationId="{5D4F9C76-E595-8243-BDE4-243438BAD9BF}"/>
          </ac:spMkLst>
        </pc:spChg>
        <pc:spChg chg="mod">
          <ac:chgData name="Miglani, Manisha" userId="dcd8ae44-efb6-4afd-b817-410b43c02073" providerId="ADAL" clId="{FF858129-72AD-8A43-B1B7-C8F787667F52}" dt="2021-06-10T06:43:21.433" v="129"/>
          <ac:spMkLst>
            <pc:docMk/>
            <pc:sldMk cId="1570553839" sldId="2552"/>
            <ac:spMk id="239" creationId="{7878473E-B225-544F-98C3-2257A414DB7D}"/>
          </ac:spMkLst>
        </pc:spChg>
        <pc:spChg chg="mod">
          <ac:chgData name="Miglani, Manisha" userId="dcd8ae44-efb6-4afd-b817-410b43c02073" providerId="ADAL" clId="{FF858129-72AD-8A43-B1B7-C8F787667F52}" dt="2021-06-10T06:43:21.433" v="129"/>
          <ac:spMkLst>
            <pc:docMk/>
            <pc:sldMk cId="1570553839" sldId="2552"/>
            <ac:spMk id="240" creationId="{D2F21BBC-E2E5-4D49-844E-426E4EAA6A9B}"/>
          </ac:spMkLst>
        </pc:spChg>
        <pc:spChg chg="mod">
          <ac:chgData name="Miglani, Manisha" userId="dcd8ae44-efb6-4afd-b817-410b43c02073" providerId="ADAL" clId="{FF858129-72AD-8A43-B1B7-C8F787667F52}" dt="2021-06-10T06:43:21.433" v="129"/>
          <ac:spMkLst>
            <pc:docMk/>
            <pc:sldMk cId="1570553839" sldId="2552"/>
            <ac:spMk id="241" creationId="{A52CFD24-E07B-034A-8365-A2878FABA61D}"/>
          </ac:spMkLst>
        </pc:spChg>
        <pc:spChg chg="mod">
          <ac:chgData name="Miglani, Manisha" userId="dcd8ae44-efb6-4afd-b817-410b43c02073" providerId="ADAL" clId="{FF858129-72AD-8A43-B1B7-C8F787667F52}" dt="2021-06-10T06:43:21.433" v="129"/>
          <ac:spMkLst>
            <pc:docMk/>
            <pc:sldMk cId="1570553839" sldId="2552"/>
            <ac:spMk id="242" creationId="{A89E853F-2BAF-AE4F-BE5E-AD416EDA44BC}"/>
          </ac:spMkLst>
        </pc:spChg>
        <pc:spChg chg="mod">
          <ac:chgData name="Miglani, Manisha" userId="dcd8ae44-efb6-4afd-b817-410b43c02073" providerId="ADAL" clId="{FF858129-72AD-8A43-B1B7-C8F787667F52}" dt="2021-06-10T06:43:21.433" v="129"/>
          <ac:spMkLst>
            <pc:docMk/>
            <pc:sldMk cId="1570553839" sldId="2552"/>
            <ac:spMk id="243" creationId="{6D8625A8-CAE7-3045-95BB-7F75AAAAB9D8}"/>
          </ac:spMkLst>
        </pc:spChg>
        <pc:spChg chg="mod">
          <ac:chgData name="Miglani, Manisha" userId="dcd8ae44-efb6-4afd-b817-410b43c02073" providerId="ADAL" clId="{FF858129-72AD-8A43-B1B7-C8F787667F52}" dt="2021-06-10T06:43:21.433" v="129"/>
          <ac:spMkLst>
            <pc:docMk/>
            <pc:sldMk cId="1570553839" sldId="2552"/>
            <ac:spMk id="244" creationId="{74A22F29-9C1D-0C4B-82B4-6A2724D55377}"/>
          </ac:spMkLst>
        </pc:spChg>
        <pc:spChg chg="mod">
          <ac:chgData name="Miglani, Manisha" userId="dcd8ae44-efb6-4afd-b817-410b43c02073" providerId="ADAL" clId="{FF858129-72AD-8A43-B1B7-C8F787667F52}" dt="2021-06-10T06:43:21.433" v="129"/>
          <ac:spMkLst>
            <pc:docMk/>
            <pc:sldMk cId="1570553839" sldId="2552"/>
            <ac:spMk id="245" creationId="{6C32ED41-BA70-EB47-AAAF-924EA0CA9B40}"/>
          </ac:spMkLst>
        </pc:spChg>
        <pc:spChg chg="mod">
          <ac:chgData name="Miglani, Manisha" userId="dcd8ae44-efb6-4afd-b817-410b43c02073" providerId="ADAL" clId="{FF858129-72AD-8A43-B1B7-C8F787667F52}" dt="2021-06-10T06:43:21.433" v="129"/>
          <ac:spMkLst>
            <pc:docMk/>
            <pc:sldMk cId="1570553839" sldId="2552"/>
            <ac:spMk id="246" creationId="{8333B632-E1BE-5E45-8F60-5FC4AF903F8E}"/>
          </ac:spMkLst>
        </pc:spChg>
        <pc:spChg chg="mod">
          <ac:chgData name="Miglani, Manisha" userId="dcd8ae44-efb6-4afd-b817-410b43c02073" providerId="ADAL" clId="{FF858129-72AD-8A43-B1B7-C8F787667F52}" dt="2021-06-10T06:43:21.433" v="129"/>
          <ac:spMkLst>
            <pc:docMk/>
            <pc:sldMk cId="1570553839" sldId="2552"/>
            <ac:spMk id="247" creationId="{2EBA98D5-E061-1843-893C-0153E4413BFA}"/>
          </ac:spMkLst>
        </pc:spChg>
        <pc:spChg chg="mod">
          <ac:chgData name="Miglani, Manisha" userId="dcd8ae44-efb6-4afd-b817-410b43c02073" providerId="ADAL" clId="{FF858129-72AD-8A43-B1B7-C8F787667F52}" dt="2021-06-10T06:43:21.433" v="129"/>
          <ac:spMkLst>
            <pc:docMk/>
            <pc:sldMk cId="1570553839" sldId="2552"/>
            <ac:spMk id="248" creationId="{60A5D3D1-0E46-7D4A-BFC7-53A2D665D074}"/>
          </ac:spMkLst>
        </pc:spChg>
        <pc:spChg chg="mod">
          <ac:chgData name="Miglani, Manisha" userId="dcd8ae44-efb6-4afd-b817-410b43c02073" providerId="ADAL" clId="{FF858129-72AD-8A43-B1B7-C8F787667F52}" dt="2021-06-10T06:43:21.433" v="129"/>
          <ac:spMkLst>
            <pc:docMk/>
            <pc:sldMk cId="1570553839" sldId="2552"/>
            <ac:spMk id="249" creationId="{2BFA92D7-8FBA-E34D-A56F-0FADA1998A5A}"/>
          </ac:spMkLst>
        </pc:spChg>
        <pc:spChg chg="mod">
          <ac:chgData name="Miglani, Manisha" userId="dcd8ae44-efb6-4afd-b817-410b43c02073" providerId="ADAL" clId="{FF858129-72AD-8A43-B1B7-C8F787667F52}" dt="2021-06-10T06:43:21.433" v="129"/>
          <ac:spMkLst>
            <pc:docMk/>
            <pc:sldMk cId="1570553839" sldId="2552"/>
            <ac:spMk id="250" creationId="{929CCB87-D7DD-DB41-91B6-4F1CB35B0426}"/>
          </ac:spMkLst>
        </pc:spChg>
        <pc:spChg chg="mod">
          <ac:chgData name="Miglani, Manisha" userId="dcd8ae44-efb6-4afd-b817-410b43c02073" providerId="ADAL" clId="{FF858129-72AD-8A43-B1B7-C8F787667F52}" dt="2021-06-10T06:43:21.433" v="129"/>
          <ac:spMkLst>
            <pc:docMk/>
            <pc:sldMk cId="1570553839" sldId="2552"/>
            <ac:spMk id="251" creationId="{E80599E4-8F9A-1440-BDC3-56EFD64647B2}"/>
          </ac:spMkLst>
        </pc:spChg>
        <pc:spChg chg="mod">
          <ac:chgData name="Miglani, Manisha" userId="dcd8ae44-efb6-4afd-b817-410b43c02073" providerId="ADAL" clId="{FF858129-72AD-8A43-B1B7-C8F787667F52}" dt="2021-06-10T06:43:21.433" v="129"/>
          <ac:spMkLst>
            <pc:docMk/>
            <pc:sldMk cId="1570553839" sldId="2552"/>
            <ac:spMk id="252" creationId="{5BA8C232-0B16-604B-82C7-F4380D23A105}"/>
          </ac:spMkLst>
        </pc:spChg>
        <pc:spChg chg="mod">
          <ac:chgData name="Miglani, Manisha" userId="dcd8ae44-efb6-4afd-b817-410b43c02073" providerId="ADAL" clId="{FF858129-72AD-8A43-B1B7-C8F787667F52}" dt="2021-06-10T06:43:21.433" v="129"/>
          <ac:spMkLst>
            <pc:docMk/>
            <pc:sldMk cId="1570553839" sldId="2552"/>
            <ac:spMk id="253" creationId="{FB713505-9BCD-3B49-BA54-7592DB393CCB}"/>
          </ac:spMkLst>
        </pc:spChg>
        <pc:spChg chg="mod">
          <ac:chgData name="Miglani, Manisha" userId="dcd8ae44-efb6-4afd-b817-410b43c02073" providerId="ADAL" clId="{FF858129-72AD-8A43-B1B7-C8F787667F52}" dt="2021-06-10T06:43:21.433" v="129"/>
          <ac:spMkLst>
            <pc:docMk/>
            <pc:sldMk cId="1570553839" sldId="2552"/>
            <ac:spMk id="254" creationId="{739387E1-C265-AC4E-A557-93899C112BA8}"/>
          </ac:spMkLst>
        </pc:spChg>
        <pc:spChg chg="mod">
          <ac:chgData name="Miglani, Manisha" userId="dcd8ae44-efb6-4afd-b817-410b43c02073" providerId="ADAL" clId="{FF858129-72AD-8A43-B1B7-C8F787667F52}" dt="2021-06-10T06:43:21.433" v="129"/>
          <ac:spMkLst>
            <pc:docMk/>
            <pc:sldMk cId="1570553839" sldId="2552"/>
            <ac:spMk id="255" creationId="{FBE3B284-C1E0-EF47-808A-448BDBEF466F}"/>
          </ac:spMkLst>
        </pc:spChg>
        <pc:spChg chg="mod">
          <ac:chgData name="Miglani, Manisha" userId="dcd8ae44-efb6-4afd-b817-410b43c02073" providerId="ADAL" clId="{FF858129-72AD-8A43-B1B7-C8F787667F52}" dt="2021-06-10T06:43:21.433" v="129"/>
          <ac:spMkLst>
            <pc:docMk/>
            <pc:sldMk cId="1570553839" sldId="2552"/>
            <ac:spMk id="256" creationId="{66A590DB-F657-2D42-A72C-B89366F2D1F1}"/>
          </ac:spMkLst>
        </pc:spChg>
        <pc:spChg chg="mod">
          <ac:chgData name="Miglani, Manisha" userId="dcd8ae44-efb6-4afd-b817-410b43c02073" providerId="ADAL" clId="{FF858129-72AD-8A43-B1B7-C8F787667F52}" dt="2021-06-10T06:43:21.433" v="129"/>
          <ac:spMkLst>
            <pc:docMk/>
            <pc:sldMk cId="1570553839" sldId="2552"/>
            <ac:spMk id="257" creationId="{CDF24369-63A0-D240-9368-443D229CBF6E}"/>
          </ac:spMkLst>
        </pc:spChg>
        <pc:spChg chg="mod">
          <ac:chgData name="Miglani, Manisha" userId="dcd8ae44-efb6-4afd-b817-410b43c02073" providerId="ADAL" clId="{FF858129-72AD-8A43-B1B7-C8F787667F52}" dt="2021-06-10T06:43:21.433" v="129"/>
          <ac:spMkLst>
            <pc:docMk/>
            <pc:sldMk cId="1570553839" sldId="2552"/>
            <ac:spMk id="258" creationId="{66F5A5B1-FC9D-2B49-A84C-6F6D0405828B}"/>
          </ac:spMkLst>
        </pc:spChg>
        <pc:spChg chg="mod">
          <ac:chgData name="Miglani, Manisha" userId="dcd8ae44-efb6-4afd-b817-410b43c02073" providerId="ADAL" clId="{FF858129-72AD-8A43-B1B7-C8F787667F52}" dt="2021-06-10T06:43:21.433" v="129"/>
          <ac:spMkLst>
            <pc:docMk/>
            <pc:sldMk cId="1570553839" sldId="2552"/>
            <ac:spMk id="259" creationId="{670D557A-4320-BF4B-9C5E-35924FD346F5}"/>
          </ac:spMkLst>
        </pc:spChg>
        <pc:spChg chg="mod">
          <ac:chgData name="Miglani, Manisha" userId="dcd8ae44-efb6-4afd-b817-410b43c02073" providerId="ADAL" clId="{FF858129-72AD-8A43-B1B7-C8F787667F52}" dt="2021-06-10T06:43:21.433" v="129"/>
          <ac:spMkLst>
            <pc:docMk/>
            <pc:sldMk cId="1570553839" sldId="2552"/>
            <ac:spMk id="260" creationId="{E895BB9C-56A1-5345-B739-78DB02276513}"/>
          </ac:spMkLst>
        </pc:spChg>
        <pc:spChg chg="mod">
          <ac:chgData name="Miglani, Manisha" userId="dcd8ae44-efb6-4afd-b817-410b43c02073" providerId="ADAL" clId="{FF858129-72AD-8A43-B1B7-C8F787667F52}" dt="2021-06-10T06:43:21.433" v="129"/>
          <ac:spMkLst>
            <pc:docMk/>
            <pc:sldMk cId="1570553839" sldId="2552"/>
            <ac:spMk id="261" creationId="{9871956F-303E-0E49-8E9E-B3D59D35031F}"/>
          </ac:spMkLst>
        </pc:spChg>
        <pc:spChg chg="mod">
          <ac:chgData name="Miglani, Manisha" userId="dcd8ae44-efb6-4afd-b817-410b43c02073" providerId="ADAL" clId="{FF858129-72AD-8A43-B1B7-C8F787667F52}" dt="2021-06-10T06:43:21.433" v="129"/>
          <ac:spMkLst>
            <pc:docMk/>
            <pc:sldMk cId="1570553839" sldId="2552"/>
            <ac:spMk id="262" creationId="{C8159667-FCC1-1B4B-8CDC-9753CE292054}"/>
          </ac:spMkLst>
        </pc:spChg>
        <pc:spChg chg="mod">
          <ac:chgData name="Miglani, Manisha" userId="dcd8ae44-efb6-4afd-b817-410b43c02073" providerId="ADAL" clId="{FF858129-72AD-8A43-B1B7-C8F787667F52}" dt="2021-06-10T06:43:21.433" v="129"/>
          <ac:spMkLst>
            <pc:docMk/>
            <pc:sldMk cId="1570553839" sldId="2552"/>
            <ac:spMk id="263" creationId="{C016552B-3C83-7346-9EC5-871D7FC14723}"/>
          </ac:spMkLst>
        </pc:spChg>
        <pc:spChg chg="mod">
          <ac:chgData name="Miglani, Manisha" userId="dcd8ae44-efb6-4afd-b817-410b43c02073" providerId="ADAL" clId="{FF858129-72AD-8A43-B1B7-C8F787667F52}" dt="2021-06-10T06:43:21.433" v="129"/>
          <ac:spMkLst>
            <pc:docMk/>
            <pc:sldMk cId="1570553839" sldId="2552"/>
            <ac:spMk id="264" creationId="{ADDF82A9-03B2-7E48-9297-20062F55095E}"/>
          </ac:spMkLst>
        </pc:spChg>
        <pc:spChg chg="mod">
          <ac:chgData name="Miglani, Manisha" userId="dcd8ae44-efb6-4afd-b817-410b43c02073" providerId="ADAL" clId="{FF858129-72AD-8A43-B1B7-C8F787667F52}" dt="2021-06-10T06:43:21.433" v="129"/>
          <ac:spMkLst>
            <pc:docMk/>
            <pc:sldMk cId="1570553839" sldId="2552"/>
            <ac:spMk id="265" creationId="{CE4CA460-1947-324D-ADFF-0FACF9459908}"/>
          </ac:spMkLst>
        </pc:spChg>
        <pc:spChg chg="mod">
          <ac:chgData name="Miglani, Manisha" userId="dcd8ae44-efb6-4afd-b817-410b43c02073" providerId="ADAL" clId="{FF858129-72AD-8A43-B1B7-C8F787667F52}" dt="2021-06-10T06:43:21.433" v="129"/>
          <ac:spMkLst>
            <pc:docMk/>
            <pc:sldMk cId="1570553839" sldId="2552"/>
            <ac:spMk id="266" creationId="{16EA2EC6-1CFE-8E44-B176-D6AB4E03935A}"/>
          </ac:spMkLst>
        </pc:spChg>
        <pc:spChg chg="mod">
          <ac:chgData name="Miglani, Manisha" userId="dcd8ae44-efb6-4afd-b817-410b43c02073" providerId="ADAL" clId="{FF858129-72AD-8A43-B1B7-C8F787667F52}" dt="2021-06-10T06:43:21.433" v="129"/>
          <ac:spMkLst>
            <pc:docMk/>
            <pc:sldMk cId="1570553839" sldId="2552"/>
            <ac:spMk id="267" creationId="{BE0F0C43-32DC-E049-A00B-6E0384FBA8DD}"/>
          </ac:spMkLst>
        </pc:spChg>
        <pc:spChg chg="mod">
          <ac:chgData name="Miglani, Manisha" userId="dcd8ae44-efb6-4afd-b817-410b43c02073" providerId="ADAL" clId="{FF858129-72AD-8A43-B1B7-C8F787667F52}" dt="2021-06-10T06:43:21.433" v="129"/>
          <ac:spMkLst>
            <pc:docMk/>
            <pc:sldMk cId="1570553839" sldId="2552"/>
            <ac:spMk id="268" creationId="{3A887F99-92E7-124E-B99A-5C7BB0A864E2}"/>
          </ac:spMkLst>
        </pc:spChg>
        <pc:spChg chg="mod">
          <ac:chgData name="Miglani, Manisha" userId="dcd8ae44-efb6-4afd-b817-410b43c02073" providerId="ADAL" clId="{FF858129-72AD-8A43-B1B7-C8F787667F52}" dt="2021-06-10T06:43:21.433" v="129"/>
          <ac:spMkLst>
            <pc:docMk/>
            <pc:sldMk cId="1570553839" sldId="2552"/>
            <ac:spMk id="269" creationId="{6D550779-AB6D-BF45-B9B6-1F7933BA61FA}"/>
          </ac:spMkLst>
        </pc:spChg>
        <pc:spChg chg="mod">
          <ac:chgData name="Miglani, Manisha" userId="dcd8ae44-efb6-4afd-b817-410b43c02073" providerId="ADAL" clId="{FF858129-72AD-8A43-B1B7-C8F787667F52}" dt="2021-06-10T06:43:21.433" v="129"/>
          <ac:spMkLst>
            <pc:docMk/>
            <pc:sldMk cId="1570553839" sldId="2552"/>
            <ac:spMk id="270" creationId="{A829FDD7-51D9-C840-8F23-07337066F161}"/>
          </ac:spMkLst>
        </pc:spChg>
        <pc:spChg chg="mod">
          <ac:chgData name="Miglani, Manisha" userId="dcd8ae44-efb6-4afd-b817-410b43c02073" providerId="ADAL" clId="{FF858129-72AD-8A43-B1B7-C8F787667F52}" dt="2021-06-10T06:43:21.433" v="129"/>
          <ac:spMkLst>
            <pc:docMk/>
            <pc:sldMk cId="1570553839" sldId="2552"/>
            <ac:spMk id="271" creationId="{FDAE7C90-7290-C245-9D43-F46E2B97A519}"/>
          </ac:spMkLst>
        </pc:spChg>
        <pc:spChg chg="mod">
          <ac:chgData name="Miglani, Manisha" userId="dcd8ae44-efb6-4afd-b817-410b43c02073" providerId="ADAL" clId="{FF858129-72AD-8A43-B1B7-C8F787667F52}" dt="2021-06-10T06:43:21.433" v="129"/>
          <ac:spMkLst>
            <pc:docMk/>
            <pc:sldMk cId="1570553839" sldId="2552"/>
            <ac:spMk id="272" creationId="{B6A5CDAB-860D-D144-8851-AA754F9495C6}"/>
          </ac:spMkLst>
        </pc:spChg>
        <pc:spChg chg="mod">
          <ac:chgData name="Miglani, Manisha" userId="dcd8ae44-efb6-4afd-b817-410b43c02073" providerId="ADAL" clId="{FF858129-72AD-8A43-B1B7-C8F787667F52}" dt="2021-06-10T06:43:21.433" v="129"/>
          <ac:spMkLst>
            <pc:docMk/>
            <pc:sldMk cId="1570553839" sldId="2552"/>
            <ac:spMk id="273" creationId="{0B66ACF8-9574-5A44-9DAE-0C6D708311F4}"/>
          </ac:spMkLst>
        </pc:spChg>
        <pc:spChg chg="mod">
          <ac:chgData name="Miglani, Manisha" userId="dcd8ae44-efb6-4afd-b817-410b43c02073" providerId="ADAL" clId="{FF858129-72AD-8A43-B1B7-C8F787667F52}" dt="2021-06-10T06:43:21.433" v="129"/>
          <ac:spMkLst>
            <pc:docMk/>
            <pc:sldMk cId="1570553839" sldId="2552"/>
            <ac:spMk id="274" creationId="{FE8AAFBA-BB7B-004E-AEC2-89A456DCBBF1}"/>
          </ac:spMkLst>
        </pc:spChg>
        <pc:spChg chg="mod">
          <ac:chgData name="Miglani, Manisha" userId="dcd8ae44-efb6-4afd-b817-410b43c02073" providerId="ADAL" clId="{FF858129-72AD-8A43-B1B7-C8F787667F52}" dt="2021-06-10T06:43:21.433" v="129"/>
          <ac:spMkLst>
            <pc:docMk/>
            <pc:sldMk cId="1570553839" sldId="2552"/>
            <ac:spMk id="275" creationId="{CACE1311-B0E9-5B4F-A1C3-AAAC76B79FA0}"/>
          </ac:spMkLst>
        </pc:spChg>
        <pc:spChg chg="mod">
          <ac:chgData name="Miglani, Manisha" userId="dcd8ae44-efb6-4afd-b817-410b43c02073" providerId="ADAL" clId="{FF858129-72AD-8A43-B1B7-C8F787667F52}" dt="2021-06-10T06:43:21.433" v="129"/>
          <ac:spMkLst>
            <pc:docMk/>
            <pc:sldMk cId="1570553839" sldId="2552"/>
            <ac:spMk id="276" creationId="{6576C260-21B5-F344-AEE5-5FDF13F185A1}"/>
          </ac:spMkLst>
        </pc:spChg>
        <pc:spChg chg="mod">
          <ac:chgData name="Miglani, Manisha" userId="dcd8ae44-efb6-4afd-b817-410b43c02073" providerId="ADAL" clId="{FF858129-72AD-8A43-B1B7-C8F787667F52}" dt="2021-06-10T06:43:21.433" v="129"/>
          <ac:spMkLst>
            <pc:docMk/>
            <pc:sldMk cId="1570553839" sldId="2552"/>
            <ac:spMk id="277" creationId="{922F8C90-0A5D-C246-A452-6A0C69429A84}"/>
          </ac:spMkLst>
        </pc:spChg>
        <pc:spChg chg="mod">
          <ac:chgData name="Miglani, Manisha" userId="dcd8ae44-efb6-4afd-b817-410b43c02073" providerId="ADAL" clId="{FF858129-72AD-8A43-B1B7-C8F787667F52}" dt="2021-06-10T06:43:21.433" v="129"/>
          <ac:spMkLst>
            <pc:docMk/>
            <pc:sldMk cId="1570553839" sldId="2552"/>
            <ac:spMk id="278" creationId="{48E07585-FC0D-F94C-A960-A09F6BB427B2}"/>
          </ac:spMkLst>
        </pc:spChg>
        <pc:spChg chg="mod">
          <ac:chgData name="Miglani, Manisha" userId="dcd8ae44-efb6-4afd-b817-410b43c02073" providerId="ADAL" clId="{FF858129-72AD-8A43-B1B7-C8F787667F52}" dt="2021-06-10T06:43:21.433" v="129"/>
          <ac:spMkLst>
            <pc:docMk/>
            <pc:sldMk cId="1570553839" sldId="2552"/>
            <ac:spMk id="279" creationId="{AA972282-A001-1A40-A902-156DAE5FE43C}"/>
          </ac:spMkLst>
        </pc:spChg>
        <pc:spChg chg="mod">
          <ac:chgData name="Miglani, Manisha" userId="dcd8ae44-efb6-4afd-b817-410b43c02073" providerId="ADAL" clId="{FF858129-72AD-8A43-B1B7-C8F787667F52}" dt="2021-06-10T06:43:21.433" v="129"/>
          <ac:spMkLst>
            <pc:docMk/>
            <pc:sldMk cId="1570553839" sldId="2552"/>
            <ac:spMk id="280" creationId="{C1DE2B39-A868-504B-99EF-660374BEFAB9}"/>
          </ac:spMkLst>
        </pc:spChg>
        <pc:spChg chg="mod">
          <ac:chgData name="Miglani, Manisha" userId="dcd8ae44-efb6-4afd-b817-410b43c02073" providerId="ADAL" clId="{FF858129-72AD-8A43-B1B7-C8F787667F52}" dt="2021-06-10T06:43:21.433" v="129"/>
          <ac:spMkLst>
            <pc:docMk/>
            <pc:sldMk cId="1570553839" sldId="2552"/>
            <ac:spMk id="281" creationId="{4AF8FD1D-6C34-F443-9FBC-7F3C21C1B68C}"/>
          </ac:spMkLst>
        </pc:spChg>
        <pc:spChg chg="mod">
          <ac:chgData name="Miglani, Manisha" userId="dcd8ae44-efb6-4afd-b817-410b43c02073" providerId="ADAL" clId="{FF858129-72AD-8A43-B1B7-C8F787667F52}" dt="2021-06-10T06:43:21.433" v="129"/>
          <ac:spMkLst>
            <pc:docMk/>
            <pc:sldMk cId="1570553839" sldId="2552"/>
            <ac:spMk id="282" creationId="{023B0BF4-7AE7-D749-BAB7-BEC48DA3F3B0}"/>
          </ac:spMkLst>
        </pc:spChg>
        <pc:spChg chg="mod">
          <ac:chgData name="Miglani, Manisha" userId="dcd8ae44-efb6-4afd-b817-410b43c02073" providerId="ADAL" clId="{FF858129-72AD-8A43-B1B7-C8F787667F52}" dt="2021-06-10T06:43:21.433" v="129"/>
          <ac:spMkLst>
            <pc:docMk/>
            <pc:sldMk cId="1570553839" sldId="2552"/>
            <ac:spMk id="283" creationId="{752713F1-8B4D-4E45-9701-00535B42EE19}"/>
          </ac:spMkLst>
        </pc:spChg>
        <pc:spChg chg="mod">
          <ac:chgData name="Miglani, Manisha" userId="dcd8ae44-efb6-4afd-b817-410b43c02073" providerId="ADAL" clId="{FF858129-72AD-8A43-B1B7-C8F787667F52}" dt="2021-06-10T06:43:21.433" v="129"/>
          <ac:spMkLst>
            <pc:docMk/>
            <pc:sldMk cId="1570553839" sldId="2552"/>
            <ac:spMk id="284" creationId="{4A3F1648-A69E-9747-8559-C7400D99403F}"/>
          </ac:spMkLst>
        </pc:spChg>
        <pc:spChg chg="mod">
          <ac:chgData name="Miglani, Manisha" userId="dcd8ae44-efb6-4afd-b817-410b43c02073" providerId="ADAL" clId="{FF858129-72AD-8A43-B1B7-C8F787667F52}" dt="2021-06-10T06:43:21.433" v="129"/>
          <ac:spMkLst>
            <pc:docMk/>
            <pc:sldMk cId="1570553839" sldId="2552"/>
            <ac:spMk id="285" creationId="{7C5E7B9B-9C19-104D-A65F-E1241B35F374}"/>
          </ac:spMkLst>
        </pc:spChg>
        <pc:spChg chg="mod">
          <ac:chgData name="Miglani, Manisha" userId="dcd8ae44-efb6-4afd-b817-410b43c02073" providerId="ADAL" clId="{FF858129-72AD-8A43-B1B7-C8F787667F52}" dt="2021-06-10T06:43:21.433" v="129"/>
          <ac:spMkLst>
            <pc:docMk/>
            <pc:sldMk cId="1570553839" sldId="2552"/>
            <ac:spMk id="286" creationId="{EC683C6D-0F00-244F-934E-2155E244CA17}"/>
          </ac:spMkLst>
        </pc:spChg>
        <pc:spChg chg="mod">
          <ac:chgData name="Miglani, Manisha" userId="dcd8ae44-efb6-4afd-b817-410b43c02073" providerId="ADAL" clId="{FF858129-72AD-8A43-B1B7-C8F787667F52}" dt="2021-06-10T06:43:21.433" v="129"/>
          <ac:spMkLst>
            <pc:docMk/>
            <pc:sldMk cId="1570553839" sldId="2552"/>
            <ac:spMk id="287" creationId="{2F96127E-94EA-A44D-86E0-FD162D889762}"/>
          </ac:spMkLst>
        </pc:spChg>
        <pc:spChg chg="mod">
          <ac:chgData name="Miglani, Manisha" userId="dcd8ae44-efb6-4afd-b817-410b43c02073" providerId="ADAL" clId="{FF858129-72AD-8A43-B1B7-C8F787667F52}" dt="2021-06-10T06:43:21.433" v="129"/>
          <ac:spMkLst>
            <pc:docMk/>
            <pc:sldMk cId="1570553839" sldId="2552"/>
            <ac:spMk id="288" creationId="{D359A4BA-EE6A-BE4E-A5DC-E584668E234C}"/>
          </ac:spMkLst>
        </pc:spChg>
        <pc:spChg chg="mod">
          <ac:chgData name="Miglani, Manisha" userId="dcd8ae44-efb6-4afd-b817-410b43c02073" providerId="ADAL" clId="{FF858129-72AD-8A43-B1B7-C8F787667F52}" dt="2021-06-10T06:43:21.433" v="129"/>
          <ac:spMkLst>
            <pc:docMk/>
            <pc:sldMk cId="1570553839" sldId="2552"/>
            <ac:spMk id="289" creationId="{39966D71-9242-3A48-A52E-7EF6CF61BB6B}"/>
          </ac:spMkLst>
        </pc:spChg>
        <pc:spChg chg="mod">
          <ac:chgData name="Miglani, Manisha" userId="dcd8ae44-efb6-4afd-b817-410b43c02073" providerId="ADAL" clId="{FF858129-72AD-8A43-B1B7-C8F787667F52}" dt="2021-06-10T06:43:21.433" v="129"/>
          <ac:spMkLst>
            <pc:docMk/>
            <pc:sldMk cId="1570553839" sldId="2552"/>
            <ac:spMk id="290" creationId="{A5AC1C63-91C8-7B4E-AC06-C2B021E446F6}"/>
          </ac:spMkLst>
        </pc:spChg>
        <pc:spChg chg="mod">
          <ac:chgData name="Miglani, Manisha" userId="dcd8ae44-efb6-4afd-b817-410b43c02073" providerId="ADAL" clId="{FF858129-72AD-8A43-B1B7-C8F787667F52}" dt="2021-06-10T06:43:21.433" v="129"/>
          <ac:spMkLst>
            <pc:docMk/>
            <pc:sldMk cId="1570553839" sldId="2552"/>
            <ac:spMk id="291" creationId="{15D1988B-B71C-6F4F-BA4A-A412989D180E}"/>
          </ac:spMkLst>
        </pc:spChg>
        <pc:spChg chg="mod">
          <ac:chgData name="Miglani, Manisha" userId="dcd8ae44-efb6-4afd-b817-410b43c02073" providerId="ADAL" clId="{FF858129-72AD-8A43-B1B7-C8F787667F52}" dt="2021-06-10T06:43:21.433" v="129"/>
          <ac:spMkLst>
            <pc:docMk/>
            <pc:sldMk cId="1570553839" sldId="2552"/>
            <ac:spMk id="292" creationId="{CCE8948F-03CA-8C41-B654-A952000B30B1}"/>
          </ac:spMkLst>
        </pc:spChg>
        <pc:spChg chg="mod">
          <ac:chgData name="Miglani, Manisha" userId="dcd8ae44-efb6-4afd-b817-410b43c02073" providerId="ADAL" clId="{FF858129-72AD-8A43-B1B7-C8F787667F52}" dt="2021-06-10T06:43:21.433" v="129"/>
          <ac:spMkLst>
            <pc:docMk/>
            <pc:sldMk cId="1570553839" sldId="2552"/>
            <ac:spMk id="293" creationId="{7763C163-8FEF-A14E-B902-3FFA0DAC237C}"/>
          </ac:spMkLst>
        </pc:spChg>
        <pc:spChg chg="mod">
          <ac:chgData name="Miglani, Manisha" userId="dcd8ae44-efb6-4afd-b817-410b43c02073" providerId="ADAL" clId="{FF858129-72AD-8A43-B1B7-C8F787667F52}" dt="2021-06-10T06:43:21.433" v="129"/>
          <ac:spMkLst>
            <pc:docMk/>
            <pc:sldMk cId="1570553839" sldId="2552"/>
            <ac:spMk id="294" creationId="{A67D3E2B-F374-2B43-B93A-69DBC0E47700}"/>
          </ac:spMkLst>
        </pc:spChg>
        <pc:spChg chg="mod">
          <ac:chgData name="Miglani, Manisha" userId="dcd8ae44-efb6-4afd-b817-410b43c02073" providerId="ADAL" clId="{FF858129-72AD-8A43-B1B7-C8F787667F52}" dt="2021-06-10T06:43:21.433" v="129"/>
          <ac:spMkLst>
            <pc:docMk/>
            <pc:sldMk cId="1570553839" sldId="2552"/>
            <ac:spMk id="295" creationId="{8D290F3C-2A0C-AC49-A01F-E576CD509FE2}"/>
          </ac:spMkLst>
        </pc:spChg>
        <pc:spChg chg="mod">
          <ac:chgData name="Miglani, Manisha" userId="dcd8ae44-efb6-4afd-b817-410b43c02073" providerId="ADAL" clId="{FF858129-72AD-8A43-B1B7-C8F787667F52}" dt="2021-06-10T06:43:21.433" v="129"/>
          <ac:spMkLst>
            <pc:docMk/>
            <pc:sldMk cId="1570553839" sldId="2552"/>
            <ac:spMk id="296" creationId="{F8518F17-B6E2-7443-8687-CC10489A43E3}"/>
          </ac:spMkLst>
        </pc:spChg>
        <pc:spChg chg="mod">
          <ac:chgData name="Miglani, Manisha" userId="dcd8ae44-efb6-4afd-b817-410b43c02073" providerId="ADAL" clId="{FF858129-72AD-8A43-B1B7-C8F787667F52}" dt="2021-06-10T06:43:21.433" v="129"/>
          <ac:spMkLst>
            <pc:docMk/>
            <pc:sldMk cId="1570553839" sldId="2552"/>
            <ac:spMk id="297" creationId="{2A436D1A-95E0-6B40-A4AB-3254D53074D6}"/>
          </ac:spMkLst>
        </pc:spChg>
        <pc:spChg chg="mod">
          <ac:chgData name="Miglani, Manisha" userId="dcd8ae44-efb6-4afd-b817-410b43c02073" providerId="ADAL" clId="{FF858129-72AD-8A43-B1B7-C8F787667F52}" dt="2021-06-10T06:43:21.433" v="129"/>
          <ac:spMkLst>
            <pc:docMk/>
            <pc:sldMk cId="1570553839" sldId="2552"/>
            <ac:spMk id="298" creationId="{B082A378-335C-A642-BAB6-E55132A70991}"/>
          </ac:spMkLst>
        </pc:spChg>
        <pc:spChg chg="mod">
          <ac:chgData name="Miglani, Manisha" userId="dcd8ae44-efb6-4afd-b817-410b43c02073" providerId="ADAL" clId="{FF858129-72AD-8A43-B1B7-C8F787667F52}" dt="2021-06-10T06:43:21.433" v="129"/>
          <ac:spMkLst>
            <pc:docMk/>
            <pc:sldMk cId="1570553839" sldId="2552"/>
            <ac:spMk id="299" creationId="{C299E40D-0DFC-9442-84C6-F0C00CC5E8B2}"/>
          </ac:spMkLst>
        </pc:spChg>
        <pc:spChg chg="mod">
          <ac:chgData name="Miglani, Manisha" userId="dcd8ae44-efb6-4afd-b817-410b43c02073" providerId="ADAL" clId="{FF858129-72AD-8A43-B1B7-C8F787667F52}" dt="2021-06-10T06:43:21.433" v="129"/>
          <ac:spMkLst>
            <pc:docMk/>
            <pc:sldMk cId="1570553839" sldId="2552"/>
            <ac:spMk id="300" creationId="{99694BDE-6BE1-0B4F-BF48-61BA61D6F8CC}"/>
          </ac:spMkLst>
        </pc:spChg>
        <pc:spChg chg="mod">
          <ac:chgData name="Miglani, Manisha" userId="dcd8ae44-efb6-4afd-b817-410b43c02073" providerId="ADAL" clId="{FF858129-72AD-8A43-B1B7-C8F787667F52}" dt="2021-06-10T06:43:21.433" v="129"/>
          <ac:spMkLst>
            <pc:docMk/>
            <pc:sldMk cId="1570553839" sldId="2552"/>
            <ac:spMk id="301" creationId="{5A06D1FF-5BD9-6146-B212-44175ADD7E79}"/>
          </ac:spMkLst>
        </pc:spChg>
        <pc:spChg chg="mod">
          <ac:chgData name="Miglani, Manisha" userId="dcd8ae44-efb6-4afd-b817-410b43c02073" providerId="ADAL" clId="{FF858129-72AD-8A43-B1B7-C8F787667F52}" dt="2021-06-10T06:43:21.433" v="129"/>
          <ac:spMkLst>
            <pc:docMk/>
            <pc:sldMk cId="1570553839" sldId="2552"/>
            <ac:spMk id="302" creationId="{A85C6EE7-1948-D34D-BD64-D70AACFC1A80}"/>
          </ac:spMkLst>
        </pc:spChg>
        <pc:spChg chg="mod">
          <ac:chgData name="Miglani, Manisha" userId="dcd8ae44-efb6-4afd-b817-410b43c02073" providerId="ADAL" clId="{FF858129-72AD-8A43-B1B7-C8F787667F52}" dt="2021-06-10T06:43:21.433" v="129"/>
          <ac:spMkLst>
            <pc:docMk/>
            <pc:sldMk cId="1570553839" sldId="2552"/>
            <ac:spMk id="303" creationId="{0EC800B7-936F-794F-A94B-CB75970DBA94}"/>
          </ac:spMkLst>
        </pc:spChg>
        <pc:spChg chg="mod">
          <ac:chgData name="Miglani, Manisha" userId="dcd8ae44-efb6-4afd-b817-410b43c02073" providerId="ADAL" clId="{FF858129-72AD-8A43-B1B7-C8F787667F52}" dt="2021-06-10T06:43:21.433" v="129"/>
          <ac:spMkLst>
            <pc:docMk/>
            <pc:sldMk cId="1570553839" sldId="2552"/>
            <ac:spMk id="304" creationId="{2CF0AEF6-5CD5-404D-9551-1A903113BCE4}"/>
          </ac:spMkLst>
        </pc:spChg>
        <pc:spChg chg="mod">
          <ac:chgData name="Miglani, Manisha" userId="dcd8ae44-efb6-4afd-b817-410b43c02073" providerId="ADAL" clId="{FF858129-72AD-8A43-B1B7-C8F787667F52}" dt="2021-06-10T06:43:21.433" v="129"/>
          <ac:spMkLst>
            <pc:docMk/>
            <pc:sldMk cId="1570553839" sldId="2552"/>
            <ac:spMk id="305" creationId="{BFCE67EE-7A0B-5E4E-B1FA-3F560C81668C}"/>
          </ac:spMkLst>
        </pc:spChg>
        <pc:spChg chg="mod">
          <ac:chgData name="Miglani, Manisha" userId="dcd8ae44-efb6-4afd-b817-410b43c02073" providerId="ADAL" clId="{FF858129-72AD-8A43-B1B7-C8F787667F52}" dt="2021-06-10T06:43:21.433" v="129"/>
          <ac:spMkLst>
            <pc:docMk/>
            <pc:sldMk cId="1570553839" sldId="2552"/>
            <ac:spMk id="306" creationId="{15699FDA-2598-E54D-BA6B-ED8314A2EB90}"/>
          </ac:spMkLst>
        </pc:spChg>
        <pc:spChg chg="mod">
          <ac:chgData name="Miglani, Manisha" userId="dcd8ae44-efb6-4afd-b817-410b43c02073" providerId="ADAL" clId="{FF858129-72AD-8A43-B1B7-C8F787667F52}" dt="2021-06-10T06:43:21.433" v="129"/>
          <ac:spMkLst>
            <pc:docMk/>
            <pc:sldMk cId="1570553839" sldId="2552"/>
            <ac:spMk id="307" creationId="{DB42A796-7B86-E24E-9201-BFAF0D18B001}"/>
          </ac:spMkLst>
        </pc:spChg>
        <pc:spChg chg="mod">
          <ac:chgData name="Miglani, Manisha" userId="dcd8ae44-efb6-4afd-b817-410b43c02073" providerId="ADAL" clId="{FF858129-72AD-8A43-B1B7-C8F787667F52}" dt="2021-06-10T06:43:21.433" v="129"/>
          <ac:spMkLst>
            <pc:docMk/>
            <pc:sldMk cId="1570553839" sldId="2552"/>
            <ac:spMk id="308" creationId="{391952D0-36A3-2C4B-9340-592A290EB5A1}"/>
          </ac:spMkLst>
        </pc:spChg>
        <pc:spChg chg="mod">
          <ac:chgData name="Miglani, Manisha" userId="dcd8ae44-efb6-4afd-b817-410b43c02073" providerId="ADAL" clId="{FF858129-72AD-8A43-B1B7-C8F787667F52}" dt="2021-06-10T06:43:21.433" v="129"/>
          <ac:spMkLst>
            <pc:docMk/>
            <pc:sldMk cId="1570553839" sldId="2552"/>
            <ac:spMk id="309" creationId="{6F2EF4B2-B0D3-3E43-A9A0-0A3C83C07983}"/>
          </ac:spMkLst>
        </pc:spChg>
        <pc:spChg chg="mod">
          <ac:chgData name="Miglani, Manisha" userId="dcd8ae44-efb6-4afd-b817-410b43c02073" providerId="ADAL" clId="{FF858129-72AD-8A43-B1B7-C8F787667F52}" dt="2021-06-10T06:43:21.433" v="129"/>
          <ac:spMkLst>
            <pc:docMk/>
            <pc:sldMk cId="1570553839" sldId="2552"/>
            <ac:spMk id="310" creationId="{D653F34A-565D-654A-A2A9-2E0E5DD49B4B}"/>
          </ac:spMkLst>
        </pc:spChg>
        <pc:spChg chg="mod">
          <ac:chgData name="Miglani, Manisha" userId="dcd8ae44-efb6-4afd-b817-410b43c02073" providerId="ADAL" clId="{FF858129-72AD-8A43-B1B7-C8F787667F52}" dt="2021-06-10T06:43:21.433" v="129"/>
          <ac:spMkLst>
            <pc:docMk/>
            <pc:sldMk cId="1570553839" sldId="2552"/>
            <ac:spMk id="312" creationId="{6C69E2DA-1927-174F-B78F-D32E971F577D}"/>
          </ac:spMkLst>
        </pc:spChg>
        <pc:spChg chg="mod">
          <ac:chgData name="Miglani, Manisha" userId="dcd8ae44-efb6-4afd-b817-410b43c02073" providerId="ADAL" clId="{FF858129-72AD-8A43-B1B7-C8F787667F52}" dt="2021-06-10T06:43:21.433" v="129"/>
          <ac:spMkLst>
            <pc:docMk/>
            <pc:sldMk cId="1570553839" sldId="2552"/>
            <ac:spMk id="313" creationId="{A33ECC24-83AA-8240-B462-783004C4E8E2}"/>
          </ac:spMkLst>
        </pc:spChg>
        <pc:spChg chg="mod">
          <ac:chgData name="Miglani, Manisha" userId="dcd8ae44-efb6-4afd-b817-410b43c02073" providerId="ADAL" clId="{FF858129-72AD-8A43-B1B7-C8F787667F52}" dt="2021-06-10T06:43:21.433" v="129"/>
          <ac:spMkLst>
            <pc:docMk/>
            <pc:sldMk cId="1570553839" sldId="2552"/>
            <ac:spMk id="314" creationId="{FDD3B38C-C02B-204E-B009-A676125680D0}"/>
          </ac:spMkLst>
        </pc:spChg>
        <pc:spChg chg="mod">
          <ac:chgData name="Miglani, Manisha" userId="dcd8ae44-efb6-4afd-b817-410b43c02073" providerId="ADAL" clId="{FF858129-72AD-8A43-B1B7-C8F787667F52}" dt="2021-06-10T06:43:21.433" v="129"/>
          <ac:spMkLst>
            <pc:docMk/>
            <pc:sldMk cId="1570553839" sldId="2552"/>
            <ac:spMk id="315" creationId="{538CC99D-9D99-9B45-AAED-9BC1414F553F}"/>
          </ac:spMkLst>
        </pc:spChg>
        <pc:spChg chg="mod">
          <ac:chgData name="Miglani, Manisha" userId="dcd8ae44-efb6-4afd-b817-410b43c02073" providerId="ADAL" clId="{FF858129-72AD-8A43-B1B7-C8F787667F52}" dt="2021-06-10T06:43:21.433" v="129"/>
          <ac:spMkLst>
            <pc:docMk/>
            <pc:sldMk cId="1570553839" sldId="2552"/>
            <ac:spMk id="316" creationId="{C99CA0B2-F170-8A4A-B10F-9AE9EB247EF4}"/>
          </ac:spMkLst>
        </pc:spChg>
        <pc:spChg chg="mod">
          <ac:chgData name="Miglani, Manisha" userId="dcd8ae44-efb6-4afd-b817-410b43c02073" providerId="ADAL" clId="{FF858129-72AD-8A43-B1B7-C8F787667F52}" dt="2021-06-10T06:43:21.433" v="129"/>
          <ac:spMkLst>
            <pc:docMk/>
            <pc:sldMk cId="1570553839" sldId="2552"/>
            <ac:spMk id="317" creationId="{07186830-B269-4D4F-88B2-0C75BAF48124}"/>
          </ac:spMkLst>
        </pc:spChg>
        <pc:spChg chg="mod">
          <ac:chgData name="Miglani, Manisha" userId="dcd8ae44-efb6-4afd-b817-410b43c02073" providerId="ADAL" clId="{FF858129-72AD-8A43-B1B7-C8F787667F52}" dt="2021-06-10T06:43:21.433" v="129"/>
          <ac:spMkLst>
            <pc:docMk/>
            <pc:sldMk cId="1570553839" sldId="2552"/>
            <ac:spMk id="318" creationId="{7D8CD418-1314-DB48-8691-5C604A1E1B0F}"/>
          </ac:spMkLst>
        </pc:spChg>
        <pc:spChg chg="mod">
          <ac:chgData name="Miglani, Manisha" userId="dcd8ae44-efb6-4afd-b817-410b43c02073" providerId="ADAL" clId="{FF858129-72AD-8A43-B1B7-C8F787667F52}" dt="2021-06-10T06:43:21.433" v="129"/>
          <ac:spMkLst>
            <pc:docMk/>
            <pc:sldMk cId="1570553839" sldId="2552"/>
            <ac:spMk id="319" creationId="{432B841A-9E25-2941-81ED-1E4A63547D40}"/>
          </ac:spMkLst>
        </pc:spChg>
        <pc:spChg chg="mod">
          <ac:chgData name="Miglani, Manisha" userId="dcd8ae44-efb6-4afd-b817-410b43c02073" providerId="ADAL" clId="{FF858129-72AD-8A43-B1B7-C8F787667F52}" dt="2021-06-10T06:43:21.433" v="129"/>
          <ac:spMkLst>
            <pc:docMk/>
            <pc:sldMk cId="1570553839" sldId="2552"/>
            <ac:spMk id="320" creationId="{0E03FB44-C334-7746-BB95-D672AC8AEAAA}"/>
          </ac:spMkLst>
        </pc:spChg>
        <pc:spChg chg="mod">
          <ac:chgData name="Miglani, Manisha" userId="dcd8ae44-efb6-4afd-b817-410b43c02073" providerId="ADAL" clId="{FF858129-72AD-8A43-B1B7-C8F787667F52}" dt="2021-06-10T06:43:21.433" v="129"/>
          <ac:spMkLst>
            <pc:docMk/>
            <pc:sldMk cId="1570553839" sldId="2552"/>
            <ac:spMk id="321" creationId="{EB196F9A-F93C-7D4C-9BA6-8BC9E3E6C42A}"/>
          </ac:spMkLst>
        </pc:spChg>
        <pc:spChg chg="mod">
          <ac:chgData name="Miglani, Manisha" userId="dcd8ae44-efb6-4afd-b817-410b43c02073" providerId="ADAL" clId="{FF858129-72AD-8A43-B1B7-C8F787667F52}" dt="2021-06-10T06:43:21.433" v="129"/>
          <ac:spMkLst>
            <pc:docMk/>
            <pc:sldMk cId="1570553839" sldId="2552"/>
            <ac:spMk id="322" creationId="{1E99415B-9736-174E-9CC7-E27CEE6DAE97}"/>
          </ac:spMkLst>
        </pc:spChg>
        <pc:spChg chg="mod">
          <ac:chgData name="Miglani, Manisha" userId="dcd8ae44-efb6-4afd-b817-410b43c02073" providerId="ADAL" clId="{FF858129-72AD-8A43-B1B7-C8F787667F52}" dt="2021-06-10T06:43:21.433" v="129"/>
          <ac:spMkLst>
            <pc:docMk/>
            <pc:sldMk cId="1570553839" sldId="2552"/>
            <ac:spMk id="323" creationId="{2A2F7FFE-AD91-404F-A515-D56E576F2563}"/>
          </ac:spMkLst>
        </pc:spChg>
        <pc:spChg chg="mod">
          <ac:chgData name="Miglani, Manisha" userId="dcd8ae44-efb6-4afd-b817-410b43c02073" providerId="ADAL" clId="{FF858129-72AD-8A43-B1B7-C8F787667F52}" dt="2021-06-10T06:43:21.433" v="129"/>
          <ac:spMkLst>
            <pc:docMk/>
            <pc:sldMk cId="1570553839" sldId="2552"/>
            <ac:spMk id="324" creationId="{AD76C643-88FE-904A-93A4-D3F6384D6890}"/>
          </ac:spMkLst>
        </pc:spChg>
        <pc:spChg chg="mod">
          <ac:chgData name="Miglani, Manisha" userId="dcd8ae44-efb6-4afd-b817-410b43c02073" providerId="ADAL" clId="{FF858129-72AD-8A43-B1B7-C8F787667F52}" dt="2021-06-10T06:43:21.433" v="129"/>
          <ac:spMkLst>
            <pc:docMk/>
            <pc:sldMk cId="1570553839" sldId="2552"/>
            <ac:spMk id="325" creationId="{89941B75-FBAA-2641-B791-3FBB4F1F346E}"/>
          </ac:spMkLst>
        </pc:spChg>
        <pc:spChg chg="mod">
          <ac:chgData name="Miglani, Manisha" userId="dcd8ae44-efb6-4afd-b817-410b43c02073" providerId="ADAL" clId="{FF858129-72AD-8A43-B1B7-C8F787667F52}" dt="2021-06-10T06:43:21.433" v="129"/>
          <ac:spMkLst>
            <pc:docMk/>
            <pc:sldMk cId="1570553839" sldId="2552"/>
            <ac:spMk id="326" creationId="{C27260F8-9164-C64B-ACFC-A80658050270}"/>
          </ac:spMkLst>
        </pc:spChg>
        <pc:spChg chg="mod">
          <ac:chgData name="Miglani, Manisha" userId="dcd8ae44-efb6-4afd-b817-410b43c02073" providerId="ADAL" clId="{FF858129-72AD-8A43-B1B7-C8F787667F52}" dt="2021-06-10T06:43:21.433" v="129"/>
          <ac:spMkLst>
            <pc:docMk/>
            <pc:sldMk cId="1570553839" sldId="2552"/>
            <ac:spMk id="327" creationId="{62597E72-6A37-A24D-BA7C-63671AB1BBAE}"/>
          </ac:spMkLst>
        </pc:spChg>
        <pc:spChg chg="mod">
          <ac:chgData name="Miglani, Manisha" userId="dcd8ae44-efb6-4afd-b817-410b43c02073" providerId="ADAL" clId="{FF858129-72AD-8A43-B1B7-C8F787667F52}" dt="2021-06-10T06:43:21.433" v="129"/>
          <ac:spMkLst>
            <pc:docMk/>
            <pc:sldMk cId="1570553839" sldId="2552"/>
            <ac:spMk id="328" creationId="{A42E7856-BB2A-3C45-902E-B23FA74F7DE4}"/>
          </ac:spMkLst>
        </pc:spChg>
        <pc:spChg chg="mod">
          <ac:chgData name="Miglani, Manisha" userId="dcd8ae44-efb6-4afd-b817-410b43c02073" providerId="ADAL" clId="{FF858129-72AD-8A43-B1B7-C8F787667F52}" dt="2021-06-10T06:43:21.433" v="129"/>
          <ac:spMkLst>
            <pc:docMk/>
            <pc:sldMk cId="1570553839" sldId="2552"/>
            <ac:spMk id="329" creationId="{B5774678-C9B9-D842-981D-B7A3456B1458}"/>
          </ac:spMkLst>
        </pc:spChg>
        <pc:spChg chg="mod">
          <ac:chgData name="Miglani, Manisha" userId="dcd8ae44-efb6-4afd-b817-410b43c02073" providerId="ADAL" clId="{FF858129-72AD-8A43-B1B7-C8F787667F52}" dt="2021-06-10T06:43:21.433" v="129"/>
          <ac:spMkLst>
            <pc:docMk/>
            <pc:sldMk cId="1570553839" sldId="2552"/>
            <ac:spMk id="330" creationId="{1374CB9A-C1E1-3D42-94BD-677DB95936FF}"/>
          </ac:spMkLst>
        </pc:spChg>
        <pc:spChg chg="mod">
          <ac:chgData name="Miglani, Manisha" userId="dcd8ae44-efb6-4afd-b817-410b43c02073" providerId="ADAL" clId="{FF858129-72AD-8A43-B1B7-C8F787667F52}" dt="2021-06-10T06:43:21.433" v="129"/>
          <ac:spMkLst>
            <pc:docMk/>
            <pc:sldMk cId="1570553839" sldId="2552"/>
            <ac:spMk id="331" creationId="{D9B3C003-0C6B-F447-8048-C6393FBC6C51}"/>
          </ac:spMkLst>
        </pc:spChg>
        <pc:spChg chg="mod">
          <ac:chgData name="Miglani, Manisha" userId="dcd8ae44-efb6-4afd-b817-410b43c02073" providerId="ADAL" clId="{FF858129-72AD-8A43-B1B7-C8F787667F52}" dt="2021-06-10T06:43:21.433" v="129"/>
          <ac:spMkLst>
            <pc:docMk/>
            <pc:sldMk cId="1570553839" sldId="2552"/>
            <ac:spMk id="332" creationId="{7FDB4341-CA22-3E4B-ABDA-5B52E56F6D13}"/>
          </ac:spMkLst>
        </pc:spChg>
        <pc:spChg chg="mod">
          <ac:chgData name="Miglani, Manisha" userId="dcd8ae44-efb6-4afd-b817-410b43c02073" providerId="ADAL" clId="{FF858129-72AD-8A43-B1B7-C8F787667F52}" dt="2021-06-10T06:43:21.433" v="129"/>
          <ac:spMkLst>
            <pc:docMk/>
            <pc:sldMk cId="1570553839" sldId="2552"/>
            <ac:spMk id="333" creationId="{23E58556-A20F-8A4B-8DF3-F99AAB4A484E}"/>
          </ac:spMkLst>
        </pc:spChg>
        <pc:spChg chg="mod">
          <ac:chgData name="Miglani, Manisha" userId="dcd8ae44-efb6-4afd-b817-410b43c02073" providerId="ADAL" clId="{FF858129-72AD-8A43-B1B7-C8F787667F52}" dt="2021-06-10T06:43:21.433" v="129"/>
          <ac:spMkLst>
            <pc:docMk/>
            <pc:sldMk cId="1570553839" sldId="2552"/>
            <ac:spMk id="334" creationId="{66235B3E-6CE8-B742-9741-3293003FE606}"/>
          </ac:spMkLst>
        </pc:spChg>
        <pc:spChg chg="mod">
          <ac:chgData name="Miglani, Manisha" userId="dcd8ae44-efb6-4afd-b817-410b43c02073" providerId="ADAL" clId="{FF858129-72AD-8A43-B1B7-C8F787667F52}" dt="2021-06-10T06:43:21.433" v="129"/>
          <ac:spMkLst>
            <pc:docMk/>
            <pc:sldMk cId="1570553839" sldId="2552"/>
            <ac:spMk id="335" creationId="{475AC4F8-CBFC-CB40-A2D1-F360B6D31477}"/>
          </ac:spMkLst>
        </pc:spChg>
        <pc:spChg chg="mod">
          <ac:chgData name="Miglani, Manisha" userId="dcd8ae44-efb6-4afd-b817-410b43c02073" providerId="ADAL" clId="{FF858129-72AD-8A43-B1B7-C8F787667F52}" dt="2021-06-10T06:43:21.433" v="129"/>
          <ac:spMkLst>
            <pc:docMk/>
            <pc:sldMk cId="1570553839" sldId="2552"/>
            <ac:spMk id="336" creationId="{C3D9D540-2381-8A44-B531-07B7B826B69F}"/>
          </ac:spMkLst>
        </pc:spChg>
        <pc:spChg chg="mod">
          <ac:chgData name="Miglani, Manisha" userId="dcd8ae44-efb6-4afd-b817-410b43c02073" providerId="ADAL" clId="{FF858129-72AD-8A43-B1B7-C8F787667F52}" dt="2021-06-10T06:43:21.433" v="129"/>
          <ac:spMkLst>
            <pc:docMk/>
            <pc:sldMk cId="1570553839" sldId="2552"/>
            <ac:spMk id="337" creationId="{97A8A14B-B33E-D34B-8C13-D1CC7C7E0565}"/>
          </ac:spMkLst>
        </pc:spChg>
        <pc:spChg chg="mod">
          <ac:chgData name="Miglani, Manisha" userId="dcd8ae44-efb6-4afd-b817-410b43c02073" providerId="ADAL" clId="{FF858129-72AD-8A43-B1B7-C8F787667F52}" dt="2021-06-10T06:43:21.433" v="129"/>
          <ac:spMkLst>
            <pc:docMk/>
            <pc:sldMk cId="1570553839" sldId="2552"/>
            <ac:spMk id="338" creationId="{7653AC89-D17A-D743-B983-5E190A394B40}"/>
          </ac:spMkLst>
        </pc:spChg>
        <pc:spChg chg="mod">
          <ac:chgData name="Miglani, Manisha" userId="dcd8ae44-efb6-4afd-b817-410b43c02073" providerId="ADAL" clId="{FF858129-72AD-8A43-B1B7-C8F787667F52}" dt="2021-06-10T06:43:21.433" v="129"/>
          <ac:spMkLst>
            <pc:docMk/>
            <pc:sldMk cId="1570553839" sldId="2552"/>
            <ac:spMk id="339" creationId="{E2BCB253-183C-E646-86D2-83958A595671}"/>
          </ac:spMkLst>
        </pc:spChg>
        <pc:spChg chg="mod">
          <ac:chgData name="Miglani, Manisha" userId="dcd8ae44-efb6-4afd-b817-410b43c02073" providerId="ADAL" clId="{FF858129-72AD-8A43-B1B7-C8F787667F52}" dt="2021-06-10T06:43:21.433" v="129"/>
          <ac:spMkLst>
            <pc:docMk/>
            <pc:sldMk cId="1570553839" sldId="2552"/>
            <ac:spMk id="340" creationId="{5F1EA6AF-B88E-BE43-AF16-64C215EC99F7}"/>
          </ac:spMkLst>
        </pc:spChg>
        <pc:spChg chg="mod">
          <ac:chgData name="Miglani, Manisha" userId="dcd8ae44-efb6-4afd-b817-410b43c02073" providerId="ADAL" clId="{FF858129-72AD-8A43-B1B7-C8F787667F52}" dt="2021-06-10T06:43:21.433" v="129"/>
          <ac:spMkLst>
            <pc:docMk/>
            <pc:sldMk cId="1570553839" sldId="2552"/>
            <ac:spMk id="341" creationId="{06B35F2E-084B-FB44-AEE2-6ADCAEFE30F3}"/>
          </ac:spMkLst>
        </pc:spChg>
        <pc:spChg chg="add mod">
          <ac:chgData name="Miglani, Manisha" userId="dcd8ae44-efb6-4afd-b817-410b43c02073" providerId="ADAL" clId="{FF858129-72AD-8A43-B1B7-C8F787667F52}" dt="2021-06-10T07:38:07.054" v="198" actId="14100"/>
          <ac:spMkLst>
            <pc:docMk/>
            <pc:sldMk cId="1570553839" sldId="2552"/>
            <ac:spMk id="342" creationId="{136DD62C-50D4-BE4A-BF55-F0B60B863C1D}"/>
          </ac:spMkLst>
        </pc:spChg>
        <pc:spChg chg="add mod">
          <ac:chgData name="Miglani, Manisha" userId="dcd8ae44-efb6-4afd-b817-410b43c02073" providerId="ADAL" clId="{FF858129-72AD-8A43-B1B7-C8F787667F52}" dt="2021-06-10T07:39:11.193" v="214" actId="1037"/>
          <ac:spMkLst>
            <pc:docMk/>
            <pc:sldMk cId="1570553839" sldId="2552"/>
            <ac:spMk id="343" creationId="{05D34117-F7EA-0F46-9D79-3899ABA205F8}"/>
          </ac:spMkLst>
        </pc:spChg>
        <pc:spChg chg="mod">
          <ac:chgData name="Miglani, Manisha" userId="dcd8ae44-efb6-4afd-b817-410b43c02073" providerId="ADAL" clId="{FF858129-72AD-8A43-B1B7-C8F787667F52}" dt="2021-06-10T07:05:59.047" v="189"/>
          <ac:spMkLst>
            <pc:docMk/>
            <pc:sldMk cId="1570553839" sldId="2552"/>
            <ac:spMk id="345" creationId="{D0BB3254-E5F8-A44C-BCD0-29AFB21496A3}"/>
          </ac:spMkLst>
        </pc:spChg>
        <pc:spChg chg="mod">
          <ac:chgData name="Miglani, Manisha" userId="dcd8ae44-efb6-4afd-b817-410b43c02073" providerId="ADAL" clId="{FF858129-72AD-8A43-B1B7-C8F787667F52}" dt="2021-06-10T07:05:59.047" v="189"/>
          <ac:spMkLst>
            <pc:docMk/>
            <pc:sldMk cId="1570553839" sldId="2552"/>
            <ac:spMk id="346" creationId="{3112789E-BEC6-7C46-8A21-7E395188E518}"/>
          </ac:spMkLst>
        </pc:spChg>
        <pc:spChg chg="mod">
          <ac:chgData name="Miglani, Manisha" userId="dcd8ae44-efb6-4afd-b817-410b43c02073" providerId="ADAL" clId="{FF858129-72AD-8A43-B1B7-C8F787667F52}" dt="2021-06-10T07:05:59.047" v="189"/>
          <ac:spMkLst>
            <pc:docMk/>
            <pc:sldMk cId="1570553839" sldId="2552"/>
            <ac:spMk id="347" creationId="{E3CC7C8F-B0E8-9446-9EBB-F5EBA6926F2C}"/>
          </ac:spMkLst>
        </pc:spChg>
        <pc:spChg chg="mod">
          <ac:chgData name="Miglani, Manisha" userId="dcd8ae44-efb6-4afd-b817-410b43c02073" providerId="ADAL" clId="{FF858129-72AD-8A43-B1B7-C8F787667F52}" dt="2021-06-10T07:05:59.047" v="189"/>
          <ac:spMkLst>
            <pc:docMk/>
            <pc:sldMk cId="1570553839" sldId="2552"/>
            <ac:spMk id="348" creationId="{E8DBC258-E4A8-5549-A63D-5856E6B5149F}"/>
          </ac:spMkLst>
        </pc:spChg>
        <pc:spChg chg="mod">
          <ac:chgData name="Miglani, Manisha" userId="dcd8ae44-efb6-4afd-b817-410b43c02073" providerId="ADAL" clId="{FF858129-72AD-8A43-B1B7-C8F787667F52}" dt="2021-06-10T07:05:59.047" v="189"/>
          <ac:spMkLst>
            <pc:docMk/>
            <pc:sldMk cId="1570553839" sldId="2552"/>
            <ac:spMk id="349" creationId="{7B994F10-CEAB-4B40-A9A4-2B17EAADD6F8}"/>
          </ac:spMkLst>
        </pc:spChg>
        <pc:spChg chg="mod">
          <ac:chgData name="Miglani, Manisha" userId="dcd8ae44-efb6-4afd-b817-410b43c02073" providerId="ADAL" clId="{FF858129-72AD-8A43-B1B7-C8F787667F52}" dt="2021-06-10T07:05:59.047" v="189"/>
          <ac:spMkLst>
            <pc:docMk/>
            <pc:sldMk cId="1570553839" sldId="2552"/>
            <ac:spMk id="350" creationId="{E40C85BD-EC99-7E4E-85D4-634F594B7BE9}"/>
          </ac:spMkLst>
        </pc:spChg>
        <pc:spChg chg="mod">
          <ac:chgData name="Miglani, Manisha" userId="dcd8ae44-efb6-4afd-b817-410b43c02073" providerId="ADAL" clId="{FF858129-72AD-8A43-B1B7-C8F787667F52}" dt="2021-06-10T07:05:59.047" v="189"/>
          <ac:spMkLst>
            <pc:docMk/>
            <pc:sldMk cId="1570553839" sldId="2552"/>
            <ac:spMk id="351" creationId="{ECB3FDEC-5225-BF4C-A0EE-533B6E534FC0}"/>
          </ac:spMkLst>
        </pc:spChg>
        <pc:spChg chg="mod">
          <ac:chgData name="Miglani, Manisha" userId="dcd8ae44-efb6-4afd-b817-410b43c02073" providerId="ADAL" clId="{FF858129-72AD-8A43-B1B7-C8F787667F52}" dt="2021-06-10T07:05:59.047" v="189"/>
          <ac:spMkLst>
            <pc:docMk/>
            <pc:sldMk cId="1570553839" sldId="2552"/>
            <ac:spMk id="352" creationId="{3874D79B-F575-754D-82F4-84B0BDD56A36}"/>
          </ac:spMkLst>
        </pc:spChg>
        <pc:spChg chg="mod">
          <ac:chgData name="Miglani, Manisha" userId="dcd8ae44-efb6-4afd-b817-410b43c02073" providerId="ADAL" clId="{FF858129-72AD-8A43-B1B7-C8F787667F52}" dt="2021-06-10T07:05:59.047" v="189"/>
          <ac:spMkLst>
            <pc:docMk/>
            <pc:sldMk cId="1570553839" sldId="2552"/>
            <ac:spMk id="353" creationId="{F6CE5F6C-894F-DE4F-8D26-D44F37DC64A6}"/>
          </ac:spMkLst>
        </pc:spChg>
        <pc:spChg chg="mod">
          <ac:chgData name="Miglani, Manisha" userId="dcd8ae44-efb6-4afd-b817-410b43c02073" providerId="ADAL" clId="{FF858129-72AD-8A43-B1B7-C8F787667F52}" dt="2021-06-10T07:05:59.047" v="189"/>
          <ac:spMkLst>
            <pc:docMk/>
            <pc:sldMk cId="1570553839" sldId="2552"/>
            <ac:spMk id="354" creationId="{9F6AA373-956C-874C-ADBC-2942D5B4B03B}"/>
          </ac:spMkLst>
        </pc:spChg>
        <pc:spChg chg="mod">
          <ac:chgData name="Miglani, Manisha" userId="dcd8ae44-efb6-4afd-b817-410b43c02073" providerId="ADAL" clId="{FF858129-72AD-8A43-B1B7-C8F787667F52}" dt="2021-06-10T07:05:59.047" v="189"/>
          <ac:spMkLst>
            <pc:docMk/>
            <pc:sldMk cId="1570553839" sldId="2552"/>
            <ac:spMk id="355" creationId="{D55505AB-8522-6D49-917E-BD2AB0E5BF67}"/>
          </ac:spMkLst>
        </pc:spChg>
        <pc:spChg chg="mod">
          <ac:chgData name="Miglani, Manisha" userId="dcd8ae44-efb6-4afd-b817-410b43c02073" providerId="ADAL" clId="{FF858129-72AD-8A43-B1B7-C8F787667F52}" dt="2021-06-10T07:05:59.047" v="189"/>
          <ac:spMkLst>
            <pc:docMk/>
            <pc:sldMk cId="1570553839" sldId="2552"/>
            <ac:spMk id="356" creationId="{C0B5DCBA-599B-6743-A1F0-DB177D4CCFFA}"/>
          </ac:spMkLst>
        </pc:spChg>
        <pc:spChg chg="mod">
          <ac:chgData name="Miglani, Manisha" userId="dcd8ae44-efb6-4afd-b817-410b43c02073" providerId="ADAL" clId="{FF858129-72AD-8A43-B1B7-C8F787667F52}" dt="2021-06-10T07:05:59.047" v="189"/>
          <ac:spMkLst>
            <pc:docMk/>
            <pc:sldMk cId="1570553839" sldId="2552"/>
            <ac:spMk id="357" creationId="{2D463BC9-C905-5A43-AE7E-1A9B0DC16402}"/>
          </ac:spMkLst>
        </pc:spChg>
        <pc:spChg chg="mod">
          <ac:chgData name="Miglani, Manisha" userId="dcd8ae44-efb6-4afd-b817-410b43c02073" providerId="ADAL" clId="{FF858129-72AD-8A43-B1B7-C8F787667F52}" dt="2021-06-10T07:05:59.047" v="189"/>
          <ac:spMkLst>
            <pc:docMk/>
            <pc:sldMk cId="1570553839" sldId="2552"/>
            <ac:spMk id="358" creationId="{1EF58FC9-A7F0-FC47-AD73-8CC6D0C6531D}"/>
          </ac:spMkLst>
        </pc:spChg>
        <pc:spChg chg="mod">
          <ac:chgData name="Miglani, Manisha" userId="dcd8ae44-efb6-4afd-b817-410b43c02073" providerId="ADAL" clId="{FF858129-72AD-8A43-B1B7-C8F787667F52}" dt="2021-06-10T07:05:59.047" v="189"/>
          <ac:spMkLst>
            <pc:docMk/>
            <pc:sldMk cId="1570553839" sldId="2552"/>
            <ac:spMk id="359" creationId="{0127FCDC-AB6C-8745-8C25-F3C627626BC4}"/>
          </ac:spMkLst>
        </pc:spChg>
        <pc:spChg chg="mod">
          <ac:chgData name="Miglani, Manisha" userId="dcd8ae44-efb6-4afd-b817-410b43c02073" providerId="ADAL" clId="{FF858129-72AD-8A43-B1B7-C8F787667F52}" dt="2021-06-10T07:05:59.047" v="189"/>
          <ac:spMkLst>
            <pc:docMk/>
            <pc:sldMk cId="1570553839" sldId="2552"/>
            <ac:spMk id="360" creationId="{78993C62-A502-1C44-999F-DF7EA1B02A98}"/>
          </ac:spMkLst>
        </pc:spChg>
        <pc:spChg chg="mod">
          <ac:chgData name="Miglani, Manisha" userId="dcd8ae44-efb6-4afd-b817-410b43c02073" providerId="ADAL" clId="{FF858129-72AD-8A43-B1B7-C8F787667F52}" dt="2021-06-10T07:05:59.047" v="189"/>
          <ac:spMkLst>
            <pc:docMk/>
            <pc:sldMk cId="1570553839" sldId="2552"/>
            <ac:spMk id="361" creationId="{BB643F56-5DA8-9C46-A8C1-E164D69109DB}"/>
          </ac:spMkLst>
        </pc:spChg>
        <pc:spChg chg="mod">
          <ac:chgData name="Miglani, Manisha" userId="dcd8ae44-efb6-4afd-b817-410b43c02073" providerId="ADAL" clId="{FF858129-72AD-8A43-B1B7-C8F787667F52}" dt="2021-06-10T07:05:59.047" v="189"/>
          <ac:spMkLst>
            <pc:docMk/>
            <pc:sldMk cId="1570553839" sldId="2552"/>
            <ac:spMk id="364" creationId="{4110C0EF-5D3D-8744-8BF2-3C3F11F3A5CD}"/>
          </ac:spMkLst>
        </pc:spChg>
        <pc:spChg chg="mod">
          <ac:chgData name="Miglani, Manisha" userId="dcd8ae44-efb6-4afd-b817-410b43c02073" providerId="ADAL" clId="{FF858129-72AD-8A43-B1B7-C8F787667F52}" dt="2021-06-10T07:05:59.047" v="189"/>
          <ac:spMkLst>
            <pc:docMk/>
            <pc:sldMk cId="1570553839" sldId="2552"/>
            <ac:spMk id="365" creationId="{887F5109-8CD2-AB4C-9F33-D975F9391649}"/>
          </ac:spMkLst>
        </pc:spChg>
        <pc:spChg chg="mod">
          <ac:chgData name="Miglani, Manisha" userId="dcd8ae44-efb6-4afd-b817-410b43c02073" providerId="ADAL" clId="{FF858129-72AD-8A43-B1B7-C8F787667F52}" dt="2021-06-10T07:05:59.047" v="189"/>
          <ac:spMkLst>
            <pc:docMk/>
            <pc:sldMk cId="1570553839" sldId="2552"/>
            <ac:spMk id="366" creationId="{195B6875-E45E-9348-971E-1DE4FCA2F482}"/>
          </ac:spMkLst>
        </pc:spChg>
        <pc:spChg chg="mod">
          <ac:chgData name="Miglani, Manisha" userId="dcd8ae44-efb6-4afd-b817-410b43c02073" providerId="ADAL" clId="{FF858129-72AD-8A43-B1B7-C8F787667F52}" dt="2021-06-10T07:05:59.047" v="189"/>
          <ac:spMkLst>
            <pc:docMk/>
            <pc:sldMk cId="1570553839" sldId="2552"/>
            <ac:spMk id="367" creationId="{7F729FE4-0FC8-0048-B144-7E261238A66E}"/>
          </ac:spMkLst>
        </pc:spChg>
        <pc:spChg chg="mod">
          <ac:chgData name="Miglani, Manisha" userId="dcd8ae44-efb6-4afd-b817-410b43c02073" providerId="ADAL" clId="{FF858129-72AD-8A43-B1B7-C8F787667F52}" dt="2021-06-10T07:05:59.047" v="189"/>
          <ac:spMkLst>
            <pc:docMk/>
            <pc:sldMk cId="1570553839" sldId="2552"/>
            <ac:spMk id="368" creationId="{6A18075E-52F3-5446-A113-392710AE324D}"/>
          </ac:spMkLst>
        </pc:spChg>
        <pc:spChg chg="mod">
          <ac:chgData name="Miglani, Manisha" userId="dcd8ae44-efb6-4afd-b817-410b43c02073" providerId="ADAL" clId="{FF858129-72AD-8A43-B1B7-C8F787667F52}" dt="2021-06-10T07:05:59.047" v="189"/>
          <ac:spMkLst>
            <pc:docMk/>
            <pc:sldMk cId="1570553839" sldId="2552"/>
            <ac:spMk id="369" creationId="{DB16D11D-909C-F34B-8116-D7B5C39C842F}"/>
          </ac:spMkLst>
        </pc:spChg>
        <pc:spChg chg="mod">
          <ac:chgData name="Miglani, Manisha" userId="dcd8ae44-efb6-4afd-b817-410b43c02073" providerId="ADAL" clId="{FF858129-72AD-8A43-B1B7-C8F787667F52}" dt="2021-06-10T07:05:59.047" v="189"/>
          <ac:spMkLst>
            <pc:docMk/>
            <pc:sldMk cId="1570553839" sldId="2552"/>
            <ac:spMk id="370" creationId="{BE1D90DF-7F46-784A-B368-86A21198FBB5}"/>
          </ac:spMkLst>
        </pc:spChg>
        <pc:spChg chg="mod">
          <ac:chgData name="Miglani, Manisha" userId="dcd8ae44-efb6-4afd-b817-410b43c02073" providerId="ADAL" clId="{FF858129-72AD-8A43-B1B7-C8F787667F52}" dt="2021-06-10T07:05:59.047" v="189"/>
          <ac:spMkLst>
            <pc:docMk/>
            <pc:sldMk cId="1570553839" sldId="2552"/>
            <ac:spMk id="371" creationId="{220CF2D3-2D3F-5D49-AD87-EEE52516D24F}"/>
          </ac:spMkLst>
        </pc:spChg>
        <pc:spChg chg="mod">
          <ac:chgData name="Miglani, Manisha" userId="dcd8ae44-efb6-4afd-b817-410b43c02073" providerId="ADAL" clId="{FF858129-72AD-8A43-B1B7-C8F787667F52}" dt="2021-06-10T07:05:59.047" v="189"/>
          <ac:spMkLst>
            <pc:docMk/>
            <pc:sldMk cId="1570553839" sldId="2552"/>
            <ac:spMk id="372" creationId="{7642F8A5-7BAA-9C48-9E88-6705AABD964D}"/>
          </ac:spMkLst>
        </pc:spChg>
        <pc:spChg chg="mod">
          <ac:chgData name="Miglani, Manisha" userId="dcd8ae44-efb6-4afd-b817-410b43c02073" providerId="ADAL" clId="{FF858129-72AD-8A43-B1B7-C8F787667F52}" dt="2021-06-10T07:05:59.047" v="189"/>
          <ac:spMkLst>
            <pc:docMk/>
            <pc:sldMk cId="1570553839" sldId="2552"/>
            <ac:spMk id="373" creationId="{DC68DA52-0B76-8040-A975-768C322B6EA4}"/>
          </ac:spMkLst>
        </pc:spChg>
        <pc:spChg chg="mod">
          <ac:chgData name="Miglani, Manisha" userId="dcd8ae44-efb6-4afd-b817-410b43c02073" providerId="ADAL" clId="{FF858129-72AD-8A43-B1B7-C8F787667F52}" dt="2021-06-10T07:05:59.047" v="189"/>
          <ac:spMkLst>
            <pc:docMk/>
            <pc:sldMk cId="1570553839" sldId="2552"/>
            <ac:spMk id="374" creationId="{1B05ABD9-EC42-D24E-A4E7-C545248BBB34}"/>
          </ac:spMkLst>
        </pc:spChg>
        <pc:spChg chg="mod">
          <ac:chgData name="Miglani, Manisha" userId="dcd8ae44-efb6-4afd-b817-410b43c02073" providerId="ADAL" clId="{FF858129-72AD-8A43-B1B7-C8F787667F52}" dt="2021-06-10T07:05:59.047" v="189"/>
          <ac:spMkLst>
            <pc:docMk/>
            <pc:sldMk cId="1570553839" sldId="2552"/>
            <ac:spMk id="375" creationId="{E4B26F38-9092-004D-97C8-4B0013F0A39B}"/>
          </ac:spMkLst>
        </pc:spChg>
        <pc:spChg chg="mod">
          <ac:chgData name="Miglani, Manisha" userId="dcd8ae44-efb6-4afd-b817-410b43c02073" providerId="ADAL" clId="{FF858129-72AD-8A43-B1B7-C8F787667F52}" dt="2021-06-10T07:05:59.047" v="189"/>
          <ac:spMkLst>
            <pc:docMk/>
            <pc:sldMk cId="1570553839" sldId="2552"/>
            <ac:spMk id="376" creationId="{B6A4553D-76A1-F24D-B46E-6A7C69ABA18E}"/>
          </ac:spMkLst>
        </pc:spChg>
        <pc:spChg chg="mod">
          <ac:chgData name="Miglani, Manisha" userId="dcd8ae44-efb6-4afd-b817-410b43c02073" providerId="ADAL" clId="{FF858129-72AD-8A43-B1B7-C8F787667F52}" dt="2021-06-10T07:05:59.047" v="189"/>
          <ac:spMkLst>
            <pc:docMk/>
            <pc:sldMk cId="1570553839" sldId="2552"/>
            <ac:spMk id="377" creationId="{ED9B6661-A604-C841-A9DE-43B75B3DEAA1}"/>
          </ac:spMkLst>
        </pc:spChg>
        <pc:spChg chg="mod">
          <ac:chgData name="Miglani, Manisha" userId="dcd8ae44-efb6-4afd-b817-410b43c02073" providerId="ADAL" clId="{FF858129-72AD-8A43-B1B7-C8F787667F52}" dt="2021-06-10T07:05:59.047" v="189"/>
          <ac:spMkLst>
            <pc:docMk/>
            <pc:sldMk cId="1570553839" sldId="2552"/>
            <ac:spMk id="378" creationId="{72CAC515-81C9-C54E-BD7F-C218B05ACD17}"/>
          </ac:spMkLst>
        </pc:spChg>
        <pc:spChg chg="mod">
          <ac:chgData name="Miglani, Manisha" userId="dcd8ae44-efb6-4afd-b817-410b43c02073" providerId="ADAL" clId="{FF858129-72AD-8A43-B1B7-C8F787667F52}" dt="2021-06-10T07:05:59.047" v="189"/>
          <ac:spMkLst>
            <pc:docMk/>
            <pc:sldMk cId="1570553839" sldId="2552"/>
            <ac:spMk id="379" creationId="{E97FC2AB-A009-1243-8376-8DA7D27FBBFE}"/>
          </ac:spMkLst>
        </pc:spChg>
        <pc:spChg chg="mod">
          <ac:chgData name="Miglani, Manisha" userId="dcd8ae44-efb6-4afd-b817-410b43c02073" providerId="ADAL" clId="{FF858129-72AD-8A43-B1B7-C8F787667F52}" dt="2021-06-10T07:05:59.047" v="189"/>
          <ac:spMkLst>
            <pc:docMk/>
            <pc:sldMk cId="1570553839" sldId="2552"/>
            <ac:spMk id="380" creationId="{89B889AB-D2B4-EE45-A6E7-9508DFF4532C}"/>
          </ac:spMkLst>
        </pc:spChg>
        <pc:spChg chg="mod">
          <ac:chgData name="Miglani, Manisha" userId="dcd8ae44-efb6-4afd-b817-410b43c02073" providerId="ADAL" clId="{FF858129-72AD-8A43-B1B7-C8F787667F52}" dt="2021-06-10T07:05:59.047" v="189"/>
          <ac:spMkLst>
            <pc:docMk/>
            <pc:sldMk cId="1570553839" sldId="2552"/>
            <ac:spMk id="382" creationId="{F30103EA-B5A1-254B-B4FF-ED31D21B6F00}"/>
          </ac:spMkLst>
        </pc:spChg>
        <pc:spChg chg="mod">
          <ac:chgData name="Miglani, Manisha" userId="dcd8ae44-efb6-4afd-b817-410b43c02073" providerId="ADAL" clId="{FF858129-72AD-8A43-B1B7-C8F787667F52}" dt="2021-06-10T07:05:59.047" v="189"/>
          <ac:spMkLst>
            <pc:docMk/>
            <pc:sldMk cId="1570553839" sldId="2552"/>
            <ac:spMk id="383" creationId="{E72998EE-5386-A448-B945-1405789BA042}"/>
          </ac:spMkLst>
        </pc:spChg>
        <pc:spChg chg="mod">
          <ac:chgData name="Miglani, Manisha" userId="dcd8ae44-efb6-4afd-b817-410b43c02073" providerId="ADAL" clId="{FF858129-72AD-8A43-B1B7-C8F787667F52}" dt="2021-06-10T07:05:59.047" v="189"/>
          <ac:spMkLst>
            <pc:docMk/>
            <pc:sldMk cId="1570553839" sldId="2552"/>
            <ac:spMk id="384" creationId="{5B22955E-91C8-3E47-98DC-12C1CFEC1CFA}"/>
          </ac:spMkLst>
        </pc:spChg>
        <pc:spChg chg="mod">
          <ac:chgData name="Miglani, Manisha" userId="dcd8ae44-efb6-4afd-b817-410b43c02073" providerId="ADAL" clId="{FF858129-72AD-8A43-B1B7-C8F787667F52}" dt="2021-06-10T07:05:59.047" v="189"/>
          <ac:spMkLst>
            <pc:docMk/>
            <pc:sldMk cId="1570553839" sldId="2552"/>
            <ac:spMk id="385" creationId="{76D0CC33-3846-F949-A16E-45AF4C7C4ACB}"/>
          </ac:spMkLst>
        </pc:spChg>
        <pc:spChg chg="mod">
          <ac:chgData name="Miglani, Manisha" userId="dcd8ae44-efb6-4afd-b817-410b43c02073" providerId="ADAL" clId="{FF858129-72AD-8A43-B1B7-C8F787667F52}" dt="2021-06-10T07:05:59.047" v="189"/>
          <ac:spMkLst>
            <pc:docMk/>
            <pc:sldMk cId="1570553839" sldId="2552"/>
            <ac:spMk id="386" creationId="{C1A390A1-A7D2-3549-8298-45E67DD4A28E}"/>
          </ac:spMkLst>
        </pc:spChg>
        <pc:spChg chg="mod">
          <ac:chgData name="Miglani, Manisha" userId="dcd8ae44-efb6-4afd-b817-410b43c02073" providerId="ADAL" clId="{FF858129-72AD-8A43-B1B7-C8F787667F52}" dt="2021-06-10T07:05:59.047" v="189"/>
          <ac:spMkLst>
            <pc:docMk/>
            <pc:sldMk cId="1570553839" sldId="2552"/>
            <ac:spMk id="387" creationId="{DDA1F04C-494E-1041-9AC9-9E93DB1DC50D}"/>
          </ac:spMkLst>
        </pc:spChg>
        <pc:spChg chg="mod">
          <ac:chgData name="Miglani, Manisha" userId="dcd8ae44-efb6-4afd-b817-410b43c02073" providerId="ADAL" clId="{FF858129-72AD-8A43-B1B7-C8F787667F52}" dt="2021-06-10T07:05:59.047" v="189"/>
          <ac:spMkLst>
            <pc:docMk/>
            <pc:sldMk cId="1570553839" sldId="2552"/>
            <ac:spMk id="388" creationId="{5028BDC2-F677-CB45-8F57-48826E85F1EC}"/>
          </ac:spMkLst>
        </pc:spChg>
        <pc:spChg chg="mod">
          <ac:chgData name="Miglani, Manisha" userId="dcd8ae44-efb6-4afd-b817-410b43c02073" providerId="ADAL" clId="{FF858129-72AD-8A43-B1B7-C8F787667F52}" dt="2021-06-10T07:05:59.047" v="189"/>
          <ac:spMkLst>
            <pc:docMk/>
            <pc:sldMk cId="1570553839" sldId="2552"/>
            <ac:spMk id="389" creationId="{A61093B4-D3AE-6847-B823-01E9E19485F2}"/>
          </ac:spMkLst>
        </pc:spChg>
        <pc:spChg chg="mod">
          <ac:chgData name="Miglani, Manisha" userId="dcd8ae44-efb6-4afd-b817-410b43c02073" providerId="ADAL" clId="{FF858129-72AD-8A43-B1B7-C8F787667F52}" dt="2021-06-10T07:05:59.047" v="189"/>
          <ac:spMkLst>
            <pc:docMk/>
            <pc:sldMk cId="1570553839" sldId="2552"/>
            <ac:spMk id="390" creationId="{6CF8601E-A9A5-2F46-9684-3BCD5BB6C24E}"/>
          </ac:spMkLst>
        </pc:spChg>
        <pc:spChg chg="mod">
          <ac:chgData name="Miglani, Manisha" userId="dcd8ae44-efb6-4afd-b817-410b43c02073" providerId="ADAL" clId="{FF858129-72AD-8A43-B1B7-C8F787667F52}" dt="2021-06-10T07:05:59.047" v="189"/>
          <ac:spMkLst>
            <pc:docMk/>
            <pc:sldMk cId="1570553839" sldId="2552"/>
            <ac:spMk id="391" creationId="{7E78A210-5573-C540-8EF3-06CBB46A9C99}"/>
          </ac:spMkLst>
        </pc:spChg>
        <pc:spChg chg="mod">
          <ac:chgData name="Miglani, Manisha" userId="dcd8ae44-efb6-4afd-b817-410b43c02073" providerId="ADAL" clId="{FF858129-72AD-8A43-B1B7-C8F787667F52}" dt="2021-06-10T07:05:59.047" v="189"/>
          <ac:spMkLst>
            <pc:docMk/>
            <pc:sldMk cId="1570553839" sldId="2552"/>
            <ac:spMk id="392" creationId="{87620A51-E588-3A4B-9BF3-E929CDD79E35}"/>
          </ac:spMkLst>
        </pc:spChg>
        <pc:spChg chg="mod">
          <ac:chgData name="Miglani, Manisha" userId="dcd8ae44-efb6-4afd-b817-410b43c02073" providerId="ADAL" clId="{FF858129-72AD-8A43-B1B7-C8F787667F52}" dt="2021-06-10T07:05:59.047" v="189"/>
          <ac:spMkLst>
            <pc:docMk/>
            <pc:sldMk cId="1570553839" sldId="2552"/>
            <ac:spMk id="393" creationId="{2E6631E4-4C09-E94E-BAB8-233A4E5F6864}"/>
          </ac:spMkLst>
        </pc:spChg>
        <pc:spChg chg="mod">
          <ac:chgData name="Miglani, Manisha" userId="dcd8ae44-efb6-4afd-b817-410b43c02073" providerId="ADAL" clId="{FF858129-72AD-8A43-B1B7-C8F787667F52}" dt="2021-06-10T07:05:59.047" v="189"/>
          <ac:spMkLst>
            <pc:docMk/>
            <pc:sldMk cId="1570553839" sldId="2552"/>
            <ac:spMk id="394" creationId="{80D1F8FF-7729-4548-A5D1-AF0CDB2C329C}"/>
          </ac:spMkLst>
        </pc:spChg>
        <pc:spChg chg="mod">
          <ac:chgData name="Miglani, Manisha" userId="dcd8ae44-efb6-4afd-b817-410b43c02073" providerId="ADAL" clId="{FF858129-72AD-8A43-B1B7-C8F787667F52}" dt="2021-06-10T07:05:59.047" v="189"/>
          <ac:spMkLst>
            <pc:docMk/>
            <pc:sldMk cId="1570553839" sldId="2552"/>
            <ac:spMk id="395" creationId="{A414CD26-B2F7-A343-AD30-FD380923CEE2}"/>
          </ac:spMkLst>
        </pc:spChg>
        <pc:spChg chg="mod">
          <ac:chgData name="Miglani, Manisha" userId="dcd8ae44-efb6-4afd-b817-410b43c02073" providerId="ADAL" clId="{FF858129-72AD-8A43-B1B7-C8F787667F52}" dt="2021-06-10T07:05:59.047" v="189"/>
          <ac:spMkLst>
            <pc:docMk/>
            <pc:sldMk cId="1570553839" sldId="2552"/>
            <ac:spMk id="396" creationId="{DC1E7C4C-F663-1049-AE3E-59151411ED73}"/>
          </ac:spMkLst>
        </pc:spChg>
        <pc:spChg chg="mod">
          <ac:chgData name="Miglani, Manisha" userId="dcd8ae44-efb6-4afd-b817-410b43c02073" providerId="ADAL" clId="{FF858129-72AD-8A43-B1B7-C8F787667F52}" dt="2021-06-10T07:05:59.047" v="189"/>
          <ac:spMkLst>
            <pc:docMk/>
            <pc:sldMk cId="1570553839" sldId="2552"/>
            <ac:spMk id="397" creationId="{7A03003A-7EFD-5D4F-AC38-51E49F22E3D5}"/>
          </ac:spMkLst>
        </pc:spChg>
        <pc:spChg chg="mod">
          <ac:chgData name="Miglani, Manisha" userId="dcd8ae44-efb6-4afd-b817-410b43c02073" providerId="ADAL" clId="{FF858129-72AD-8A43-B1B7-C8F787667F52}" dt="2021-06-10T07:05:59.047" v="189"/>
          <ac:spMkLst>
            <pc:docMk/>
            <pc:sldMk cId="1570553839" sldId="2552"/>
            <ac:spMk id="398" creationId="{8D5E9A78-9A48-CC47-8D32-9BAA33718ED2}"/>
          </ac:spMkLst>
        </pc:spChg>
        <pc:spChg chg="mod">
          <ac:chgData name="Miglani, Manisha" userId="dcd8ae44-efb6-4afd-b817-410b43c02073" providerId="ADAL" clId="{FF858129-72AD-8A43-B1B7-C8F787667F52}" dt="2021-06-10T07:51:36.577" v="346" actId="553"/>
          <ac:spMkLst>
            <pc:docMk/>
            <pc:sldMk cId="1570553839" sldId="2552"/>
            <ac:spMk id="401" creationId="{BB4104B0-216D-9A4A-A0D4-A7A733AEA3A4}"/>
          </ac:spMkLst>
        </pc:spChg>
        <pc:spChg chg="mod">
          <ac:chgData name="Miglani, Manisha" userId="dcd8ae44-efb6-4afd-b817-410b43c02073" providerId="ADAL" clId="{FF858129-72AD-8A43-B1B7-C8F787667F52}" dt="2021-06-10T07:51:36.577" v="346" actId="553"/>
          <ac:spMkLst>
            <pc:docMk/>
            <pc:sldMk cId="1570553839" sldId="2552"/>
            <ac:spMk id="402" creationId="{F04C12CE-F05F-4F44-8D39-9EBBF073FCC2}"/>
          </ac:spMkLst>
        </pc:spChg>
        <pc:spChg chg="mod">
          <ac:chgData name="Miglani, Manisha" userId="dcd8ae44-efb6-4afd-b817-410b43c02073" providerId="ADAL" clId="{FF858129-72AD-8A43-B1B7-C8F787667F52}" dt="2021-06-10T07:51:36.577" v="346" actId="553"/>
          <ac:spMkLst>
            <pc:docMk/>
            <pc:sldMk cId="1570553839" sldId="2552"/>
            <ac:spMk id="403" creationId="{ADCC7601-1085-7D4C-BE4B-75F6A0547DCC}"/>
          </ac:spMkLst>
        </pc:spChg>
        <pc:spChg chg="mod">
          <ac:chgData name="Miglani, Manisha" userId="dcd8ae44-efb6-4afd-b817-410b43c02073" providerId="ADAL" clId="{FF858129-72AD-8A43-B1B7-C8F787667F52}" dt="2021-06-10T07:51:36.577" v="346" actId="553"/>
          <ac:spMkLst>
            <pc:docMk/>
            <pc:sldMk cId="1570553839" sldId="2552"/>
            <ac:spMk id="404" creationId="{6C28EAF7-B1D0-E945-9614-B81CEB031EC7}"/>
          </ac:spMkLst>
        </pc:spChg>
        <pc:spChg chg="mod">
          <ac:chgData name="Miglani, Manisha" userId="dcd8ae44-efb6-4afd-b817-410b43c02073" providerId="ADAL" clId="{FF858129-72AD-8A43-B1B7-C8F787667F52}" dt="2021-06-10T07:51:36.577" v="346" actId="553"/>
          <ac:spMkLst>
            <pc:docMk/>
            <pc:sldMk cId="1570553839" sldId="2552"/>
            <ac:spMk id="405" creationId="{A64FE779-1096-5D44-875D-D2CFA7CB903E}"/>
          </ac:spMkLst>
        </pc:spChg>
        <pc:spChg chg="mod">
          <ac:chgData name="Miglani, Manisha" userId="dcd8ae44-efb6-4afd-b817-410b43c02073" providerId="ADAL" clId="{FF858129-72AD-8A43-B1B7-C8F787667F52}" dt="2021-06-10T07:50:57.890" v="338" actId="1036"/>
          <ac:spMkLst>
            <pc:docMk/>
            <pc:sldMk cId="1570553839" sldId="2552"/>
            <ac:spMk id="416" creationId="{34B9D88A-6475-8545-A726-4DD15A34DB41}"/>
          </ac:spMkLst>
        </pc:spChg>
        <pc:spChg chg="mod">
          <ac:chgData name="Miglani, Manisha" userId="dcd8ae44-efb6-4afd-b817-410b43c02073" providerId="ADAL" clId="{FF858129-72AD-8A43-B1B7-C8F787667F52}" dt="2021-06-10T07:50:40.849" v="324" actId="403"/>
          <ac:spMkLst>
            <pc:docMk/>
            <pc:sldMk cId="1570553839" sldId="2552"/>
            <ac:spMk id="417" creationId="{8C2B9096-DF74-7F47-9888-68B08A232731}"/>
          </ac:spMkLst>
        </pc:spChg>
        <pc:spChg chg="mod">
          <ac:chgData name="Miglani, Manisha" userId="dcd8ae44-efb6-4afd-b817-410b43c02073" providerId="ADAL" clId="{FF858129-72AD-8A43-B1B7-C8F787667F52}" dt="2021-06-10T07:50:40.849" v="324" actId="403"/>
          <ac:spMkLst>
            <pc:docMk/>
            <pc:sldMk cId="1570553839" sldId="2552"/>
            <ac:spMk id="418" creationId="{27B8E724-E80A-534A-87FB-BA18930096A3}"/>
          </ac:spMkLst>
        </pc:spChg>
        <pc:spChg chg="mod">
          <ac:chgData name="Miglani, Manisha" userId="dcd8ae44-efb6-4afd-b817-410b43c02073" providerId="ADAL" clId="{FF858129-72AD-8A43-B1B7-C8F787667F52}" dt="2021-06-10T07:50:40.849" v="324" actId="403"/>
          <ac:spMkLst>
            <pc:docMk/>
            <pc:sldMk cId="1570553839" sldId="2552"/>
            <ac:spMk id="419" creationId="{47CB6E6E-3FB6-2944-AF81-5F91FC6F927B}"/>
          </ac:spMkLst>
        </pc:spChg>
        <pc:spChg chg="mod">
          <ac:chgData name="Miglani, Manisha" userId="dcd8ae44-efb6-4afd-b817-410b43c02073" providerId="ADAL" clId="{FF858129-72AD-8A43-B1B7-C8F787667F52}" dt="2021-06-10T07:50:40.849" v="324" actId="403"/>
          <ac:spMkLst>
            <pc:docMk/>
            <pc:sldMk cId="1570553839" sldId="2552"/>
            <ac:spMk id="420" creationId="{988DACA1-AAB8-7B4C-A2C2-5EC16AEBA6D0}"/>
          </ac:spMkLst>
        </pc:spChg>
        <pc:spChg chg="mod">
          <ac:chgData name="Miglani, Manisha" userId="dcd8ae44-efb6-4afd-b817-410b43c02073" providerId="ADAL" clId="{FF858129-72AD-8A43-B1B7-C8F787667F52}" dt="2021-06-10T07:50:40.849" v="324" actId="403"/>
          <ac:spMkLst>
            <pc:docMk/>
            <pc:sldMk cId="1570553839" sldId="2552"/>
            <ac:spMk id="421" creationId="{A50FFFA9-35F1-0448-8130-660C87B943EC}"/>
          </ac:spMkLst>
        </pc:spChg>
        <pc:spChg chg="mod">
          <ac:chgData name="Miglani, Manisha" userId="dcd8ae44-efb6-4afd-b817-410b43c02073" providerId="ADAL" clId="{FF858129-72AD-8A43-B1B7-C8F787667F52}" dt="2021-06-10T07:50:40.849" v="324" actId="403"/>
          <ac:spMkLst>
            <pc:docMk/>
            <pc:sldMk cId="1570553839" sldId="2552"/>
            <ac:spMk id="422" creationId="{85081F6C-7774-B24B-BB31-E7A9E5A75252}"/>
          </ac:spMkLst>
        </pc:spChg>
        <pc:spChg chg="mod">
          <ac:chgData name="Miglani, Manisha" userId="dcd8ae44-efb6-4afd-b817-410b43c02073" providerId="ADAL" clId="{FF858129-72AD-8A43-B1B7-C8F787667F52}" dt="2021-06-10T07:50:57.890" v="338" actId="1036"/>
          <ac:spMkLst>
            <pc:docMk/>
            <pc:sldMk cId="1570553839" sldId="2552"/>
            <ac:spMk id="423" creationId="{7E5DFF3B-A255-8C42-A1A2-D157911C6713}"/>
          </ac:spMkLst>
        </pc:spChg>
        <pc:spChg chg="mod">
          <ac:chgData name="Miglani, Manisha" userId="dcd8ae44-efb6-4afd-b817-410b43c02073" providerId="ADAL" clId="{FF858129-72AD-8A43-B1B7-C8F787667F52}" dt="2021-06-10T07:50:40.849" v="324" actId="403"/>
          <ac:spMkLst>
            <pc:docMk/>
            <pc:sldMk cId="1570553839" sldId="2552"/>
            <ac:spMk id="424" creationId="{D4656B83-BDE5-494C-86A4-6648224EAB5D}"/>
          </ac:spMkLst>
        </pc:spChg>
        <pc:spChg chg="mod">
          <ac:chgData name="Miglani, Manisha" userId="dcd8ae44-efb6-4afd-b817-410b43c02073" providerId="ADAL" clId="{FF858129-72AD-8A43-B1B7-C8F787667F52}" dt="2021-06-10T07:50:40.849" v="324" actId="403"/>
          <ac:spMkLst>
            <pc:docMk/>
            <pc:sldMk cId="1570553839" sldId="2552"/>
            <ac:spMk id="425" creationId="{749922F4-3379-BA45-9EA5-73255C8E387C}"/>
          </ac:spMkLst>
        </pc:spChg>
        <pc:spChg chg="mod">
          <ac:chgData name="Miglani, Manisha" userId="dcd8ae44-efb6-4afd-b817-410b43c02073" providerId="ADAL" clId="{FF858129-72AD-8A43-B1B7-C8F787667F52}" dt="2021-06-10T07:50:40.849" v="324" actId="403"/>
          <ac:spMkLst>
            <pc:docMk/>
            <pc:sldMk cId="1570553839" sldId="2552"/>
            <ac:spMk id="426" creationId="{C8FDE998-FF9B-6F45-B630-CE16AD88F641}"/>
          </ac:spMkLst>
        </pc:spChg>
        <pc:spChg chg="mod">
          <ac:chgData name="Miglani, Manisha" userId="dcd8ae44-efb6-4afd-b817-410b43c02073" providerId="ADAL" clId="{FF858129-72AD-8A43-B1B7-C8F787667F52}" dt="2021-06-10T07:50:40.849" v="324" actId="403"/>
          <ac:spMkLst>
            <pc:docMk/>
            <pc:sldMk cId="1570553839" sldId="2552"/>
            <ac:spMk id="427" creationId="{A3535B11-E97B-FA46-84CB-A9CB185B0AE9}"/>
          </ac:spMkLst>
        </pc:spChg>
        <pc:spChg chg="mod">
          <ac:chgData name="Miglani, Manisha" userId="dcd8ae44-efb6-4afd-b817-410b43c02073" providerId="ADAL" clId="{FF858129-72AD-8A43-B1B7-C8F787667F52}" dt="2021-06-10T07:50:40.849" v="324" actId="403"/>
          <ac:spMkLst>
            <pc:docMk/>
            <pc:sldMk cId="1570553839" sldId="2552"/>
            <ac:spMk id="428" creationId="{FB92D29F-690A-5B49-8931-DB6C911C97FF}"/>
          </ac:spMkLst>
        </pc:spChg>
        <pc:spChg chg="mod">
          <ac:chgData name="Miglani, Manisha" userId="dcd8ae44-efb6-4afd-b817-410b43c02073" providerId="ADAL" clId="{FF858129-72AD-8A43-B1B7-C8F787667F52}" dt="2021-06-10T07:50:40.849" v="324" actId="403"/>
          <ac:spMkLst>
            <pc:docMk/>
            <pc:sldMk cId="1570553839" sldId="2552"/>
            <ac:spMk id="429" creationId="{9D509AC5-BB23-404A-BF61-9EFA3F05D67C}"/>
          </ac:spMkLst>
        </pc:spChg>
        <pc:spChg chg="mod">
          <ac:chgData name="Miglani, Manisha" userId="dcd8ae44-efb6-4afd-b817-410b43c02073" providerId="ADAL" clId="{FF858129-72AD-8A43-B1B7-C8F787667F52}" dt="2021-06-10T07:50:40.849" v="324" actId="403"/>
          <ac:spMkLst>
            <pc:docMk/>
            <pc:sldMk cId="1570553839" sldId="2552"/>
            <ac:spMk id="430" creationId="{F7B95977-14D8-CD4C-AA15-A7ABDC64B9E3}"/>
          </ac:spMkLst>
        </pc:spChg>
        <pc:spChg chg="mod">
          <ac:chgData name="Miglani, Manisha" userId="dcd8ae44-efb6-4afd-b817-410b43c02073" providerId="ADAL" clId="{FF858129-72AD-8A43-B1B7-C8F787667F52}" dt="2021-06-10T07:50:57.890" v="338" actId="1036"/>
          <ac:spMkLst>
            <pc:docMk/>
            <pc:sldMk cId="1570553839" sldId="2552"/>
            <ac:spMk id="431" creationId="{93E5A874-B61B-5042-B309-CEE54DC68665}"/>
          </ac:spMkLst>
        </pc:spChg>
        <pc:spChg chg="mod">
          <ac:chgData name="Miglani, Manisha" userId="dcd8ae44-efb6-4afd-b817-410b43c02073" providerId="ADAL" clId="{FF858129-72AD-8A43-B1B7-C8F787667F52}" dt="2021-06-10T07:50:40.849" v="324" actId="403"/>
          <ac:spMkLst>
            <pc:docMk/>
            <pc:sldMk cId="1570553839" sldId="2552"/>
            <ac:spMk id="432" creationId="{4EF95E48-867F-7741-9251-F8D78591C870}"/>
          </ac:spMkLst>
        </pc:spChg>
        <pc:spChg chg="mod">
          <ac:chgData name="Miglani, Manisha" userId="dcd8ae44-efb6-4afd-b817-410b43c02073" providerId="ADAL" clId="{FF858129-72AD-8A43-B1B7-C8F787667F52}" dt="2021-06-10T07:50:40.849" v="324" actId="403"/>
          <ac:spMkLst>
            <pc:docMk/>
            <pc:sldMk cId="1570553839" sldId="2552"/>
            <ac:spMk id="433" creationId="{FAC3E10C-A147-1B4B-A923-DDD85FD67DA2}"/>
          </ac:spMkLst>
        </pc:spChg>
        <pc:spChg chg="mod">
          <ac:chgData name="Miglani, Manisha" userId="dcd8ae44-efb6-4afd-b817-410b43c02073" providerId="ADAL" clId="{FF858129-72AD-8A43-B1B7-C8F787667F52}" dt="2021-06-10T07:50:40.849" v="324" actId="403"/>
          <ac:spMkLst>
            <pc:docMk/>
            <pc:sldMk cId="1570553839" sldId="2552"/>
            <ac:spMk id="434" creationId="{2C722544-554F-C644-8D17-9533907507BC}"/>
          </ac:spMkLst>
        </pc:spChg>
        <pc:spChg chg="mod">
          <ac:chgData name="Miglani, Manisha" userId="dcd8ae44-efb6-4afd-b817-410b43c02073" providerId="ADAL" clId="{FF858129-72AD-8A43-B1B7-C8F787667F52}" dt="2021-06-10T07:50:40.849" v="324" actId="403"/>
          <ac:spMkLst>
            <pc:docMk/>
            <pc:sldMk cId="1570553839" sldId="2552"/>
            <ac:spMk id="435" creationId="{45143657-EDD4-F34F-8A62-65A7AE8D3681}"/>
          </ac:spMkLst>
        </pc:spChg>
        <pc:spChg chg="mod">
          <ac:chgData name="Miglani, Manisha" userId="dcd8ae44-efb6-4afd-b817-410b43c02073" providerId="ADAL" clId="{FF858129-72AD-8A43-B1B7-C8F787667F52}" dt="2021-06-10T07:50:40.849" v="324" actId="403"/>
          <ac:spMkLst>
            <pc:docMk/>
            <pc:sldMk cId="1570553839" sldId="2552"/>
            <ac:spMk id="436" creationId="{2C8EC859-DF5B-B546-B81C-613A704860F9}"/>
          </ac:spMkLst>
        </pc:spChg>
        <pc:spChg chg="mod">
          <ac:chgData name="Miglani, Manisha" userId="dcd8ae44-efb6-4afd-b817-410b43c02073" providerId="ADAL" clId="{FF858129-72AD-8A43-B1B7-C8F787667F52}" dt="2021-06-10T07:50:40.849" v="324" actId="403"/>
          <ac:spMkLst>
            <pc:docMk/>
            <pc:sldMk cId="1570553839" sldId="2552"/>
            <ac:spMk id="437" creationId="{F0D2B068-8F29-EA45-81D7-0659EFA8CF3B}"/>
          </ac:spMkLst>
        </pc:spChg>
        <pc:spChg chg="mod">
          <ac:chgData name="Miglani, Manisha" userId="dcd8ae44-efb6-4afd-b817-410b43c02073" providerId="ADAL" clId="{FF858129-72AD-8A43-B1B7-C8F787667F52}" dt="2021-06-10T07:50:57.890" v="338" actId="1036"/>
          <ac:spMkLst>
            <pc:docMk/>
            <pc:sldMk cId="1570553839" sldId="2552"/>
            <ac:spMk id="438" creationId="{1DC1D3A2-CE9D-3345-8731-A4F07EB70239}"/>
          </ac:spMkLst>
        </pc:spChg>
        <pc:spChg chg="mod">
          <ac:chgData name="Miglani, Manisha" userId="dcd8ae44-efb6-4afd-b817-410b43c02073" providerId="ADAL" clId="{FF858129-72AD-8A43-B1B7-C8F787667F52}" dt="2021-06-10T07:50:40.849" v="324" actId="403"/>
          <ac:spMkLst>
            <pc:docMk/>
            <pc:sldMk cId="1570553839" sldId="2552"/>
            <ac:spMk id="439" creationId="{52B9660A-5A75-644E-A1B3-9AE4B96F2303}"/>
          </ac:spMkLst>
        </pc:spChg>
        <pc:spChg chg="mod">
          <ac:chgData name="Miglani, Manisha" userId="dcd8ae44-efb6-4afd-b817-410b43c02073" providerId="ADAL" clId="{FF858129-72AD-8A43-B1B7-C8F787667F52}" dt="2021-06-10T07:50:40.849" v="324" actId="403"/>
          <ac:spMkLst>
            <pc:docMk/>
            <pc:sldMk cId="1570553839" sldId="2552"/>
            <ac:spMk id="440" creationId="{427BFECB-DB11-FF48-925A-2A04A1C06893}"/>
          </ac:spMkLst>
        </pc:spChg>
        <pc:spChg chg="mod">
          <ac:chgData name="Miglani, Manisha" userId="dcd8ae44-efb6-4afd-b817-410b43c02073" providerId="ADAL" clId="{FF858129-72AD-8A43-B1B7-C8F787667F52}" dt="2021-06-10T07:50:40.849" v="324" actId="403"/>
          <ac:spMkLst>
            <pc:docMk/>
            <pc:sldMk cId="1570553839" sldId="2552"/>
            <ac:spMk id="441" creationId="{B92D35CD-3A02-DD4C-A2D5-01466B9123EF}"/>
          </ac:spMkLst>
        </pc:spChg>
        <pc:spChg chg="mod">
          <ac:chgData name="Miglani, Manisha" userId="dcd8ae44-efb6-4afd-b817-410b43c02073" providerId="ADAL" clId="{FF858129-72AD-8A43-B1B7-C8F787667F52}" dt="2021-06-10T07:50:40.849" v="324" actId="403"/>
          <ac:spMkLst>
            <pc:docMk/>
            <pc:sldMk cId="1570553839" sldId="2552"/>
            <ac:spMk id="442" creationId="{2E6A1616-8A4D-064F-99BD-FF873A131ADA}"/>
          </ac:spMkLst>
        </pc:spChg>
        <pc:spChg chg="mod">
          <ac:chgData name="Miglani, Manisha" userId="dcd8ae44-efb6-4afd-b817-410b43c02073" providerId="ADAL" clId="{FF858129-72AD-8A43-B1B7-C8F787667F52}" dt="2021-06-10T07:50:40.849" v="324" actId="403"/>
          <ac:spMkLst>
            <pc:docMk/>
            <pc:sldMk cId="1570553839" sldId="2552"/>
            <ac:spMk id="443" creationId="{DC3CCFCF-9FF9-8549-A30D-04F314EEB84B}"/>
          </ac:spMkLst>
        </pc:spChg>
        <pc:spChg chg="mod">
          <ac:chgData name="Miglani, Manisha" userId="dcd8ae44-efb6-4afd-b817-410b43c02073" providerId="ADAL" clId="{FF858129-72AD-8A43-B1B7-C8F787667F52}" dt="2021-06-10T07:50:40.849" v="324" actId="403"/>
          <ac:spMkLst>
            <pc:docMk/>
            <pc:sldMk cId="1570553839" sldId="2552"/>
            <ac:spMk id="444" creationId="{92E89EAE-5439-984E-BEE7-D6956D7C5BE1}"/>
          </ac:spMkLst>
        </pc:spChg>
        <pc:spChg chg="mod">
          <ac:chgData name="Miglani, Manisha" userId="dcd8ae44-efb6-4afd-b817-410b43c02073" providerId="ADAL" clId="{FF858129-72AD-8A43-B1B7-C8F787667F52}" dt="2021-06-10T07:50:57.890" v="338" actId="1036"/>
          <ac:spMkLst>
            <pc:docMk/>
            <pc:sldMk cId="1570553839" sldId="2552"/>
            <ac:spMk id="445" creationId="{6BAC7E6D-E436-3C4E-81F0-7FF88D9440E6}"/>
          </ac:spMkLst>
        </pc:spChg>
        <pc:spChg chg="mod">
          <ac:chgData name="Miglani, Manisha" userId="dcd8ae44-efb6-4afd-b817-410b43c02073" providerId="ADAL" clId="{FF858129-72AD-8A43-B1B7-C8F787667F52}" dt="2021-06-10T07:50:40.849" v="324" actId="403"/>
          <ac:spMkLst>
            <pc:docMk/>
            <pc:sldMk cId="1570553839" sldId="2552"/>
            <ac:spMk id="446" creationId="{7C3E8857-B294-D347-A688-63AFE9817B2F}"/>
          </ac:spMkLst>
        </pc:spChg>
        <pc:spChg chg="mod">
          <ac:chgData name="Miglani, Manisha" userId="dcd8ae44-efb6-4afd-b817-410b43c02073" providerId="ADAL" clId="{FF858129-72AD-8A43-B1B7-C8F787667F52}" dt="2021-06-10T07:50:40.849" v="324" actId="403"/>
          <ac:spMkLst>
            <pc:docMk/>
            <pc:sldMk cId="1570553839" sldId="2552"/>
            <ac:spMk id="447" creationId="{113799A4-0642-6047-9DF2-3E72EE7046ED}"/>
          </ac:spMkLst>
        </pc:spChg>
        <pc:spChg chg="mod">
          <ac:chgData name="Miglani, Manisha" userId="dcd8ae44-efb6-4afd-b817-410b43c02073" providerId="ADAL" clId="{FF858129-72AD-8A43-B1B7-C8F787667F52}" dt="2021-06-10T07:50:40.849" v="324" actId="403"/>
          <ac:spMkLst>
            <pc:docMk/>
            <pc:sldMk cId="1570553839" sldId="2552"/>
            <ac:spMk id="448" creationId="{45110A90-1D44-2447-BFCE-0568431578E1}"/>
          </ac:spMkLst>
        </pc:spChg>
        <pc:spChg chg="mod">
          <ac:chgData name="Miglani, Manisha" userId="dcd8ae44-efb6-4afd-b817-410b43c02073" providerId="ADAL" clId="{FF858129-72AD-8A43-B1B7-C8F787667F52}" dt="2021-06-10T07:50:40.849" v="324" actId="403"/>
          <ac:spMkLst>
            <pc:docMk/>
            <pc:sldMk cId="1570553839" sldId="2552"/>
            <ac:spMk id="449" creationId="{EBB9491D-95EB-C241-89AE-9FA78B27C3F5}"/>
          </ac:spMkLst>
        </pc:spChg>
        <pc:spChg chg="mod">
          <ac:chgData name="Miglani, Manisha" userId="dcd8ae44-efb6-4afd-b817-410b43c02073" providerId="ADAL" clId="{FF858129-72AD-8A43-B1B7-C8F787667F52}" dt="2021-06-10T07:50:40.849" v="324" actId="403"/>
          <ac:spMkLst>
            <pc:docMk/>
            <pc:sldMk cId="1570553839" sldId="2552"/>
            <ac:spMk id="450" creationId="{70AB17E0-689D-B345-A155-6D1050E23A29}"/>
          </ac:spMkLst>
        </pc:spChg>
        <pc:spChg chg="mod">
          <ac:chgData name="Miglani, Manisha" userId="dcd8ae44-efb6-4afd-b817-410b43c02073" providerId="ADAL" clId="{FF858129-72AD-8A43-B1B7-C8F787667F52}" dt="2021-06-10T07:50:40.849" v="324" actId="403"/>
          <ac:spMkLst>
            <pc:docMk/>
            <pc:sldMk cId="1570553839" sldId="2552"/>
            <ac:spMk id="451" creationId="{264AE9CC-5CC1-9F43-9D0D-F878CB13FD87}"/>
          </ac:spMkLst>
        </pc:spChg>
        <pc:spChg chg="mod">
          <ac:chgData name="Miglani, Manisha" userId="dcd8ae44-efb6-4afd-b817-410b43c02073" providerId="ADAL" clId="{FF858129-72AD-8A43-B1B7-C8F787667F52}" dt="2021-06-10T07:50:57.890" v="338" actId="1036"/>
          <ac:spMkLst>
            <pc:docMk/>
            <pc:sldMk cId="1570553839" sldId="2552"/>
            <ac:spMk id="452" creationId="{9AC512CA-1171-0740-81DD-3741AF4CBA0B}"/>
          </ac:spMkLst>
        </pc:spChg>
        <pc:spChg chg="mod">
          <ac:chgData name="Miglani, Manisha" userId="dcd8ae44-efb6-4afd-b817-410b43c02073" providerId="ADAL" clId="{FF858129-72AD-8A43-B1B7-C8F787667F52}" dt="2021-06-10T07:50:40.849" v="324" actId="403"/>
          <ac:spMkLst>
            <pc:docMk/>
            <pc:sldMk cId="1570553839" sldId="2552"/>
            <ac:spMk id="453" creationId="{2B5B61F3-A6E1-4B41-8566-B4452267ADFC}"/>
          </ac:spMkLst>
        </pc:spChg>
        <pc:spChg chg="mod">
          <ac:chgData name="Miglani, Manisha" userId="dcd8ae44-efb6-4afd-b817-410b43c02073" providerId="ADAL" clId="{FF858129-72AD-8A43-B1B7-C8F787667F52}" dt="2021-06-10T07:50:40.849" v="324" actId="403"/>
          <ac:spMkLst>
            <pc:docMk/>
            <pc:sldMk cId="1570553839" sldId="2552"/>
            <ac:spMk id="454" creationId="{364D4489-0763-3E44-ABEE-A844E00AA2E8}"/>
          </ac:spMkLst>
        </pc:spChg>
        <pc:spChg chg="mod">
          <ac:chgData name="Miglani, Manisha" userId="dcd8ae44-efb6-4afd-b817-410b43c02073" providerId="ADAL" clId="{FF858129-72AD-8A43-B1B7-C8F787667F52}" dt="2021-06-10T07:50:40.849" v="324" actId="403"/>
          <ac:spMkLst>
            <pc:docMk/>
            <pc:sldMk cId="1570553839" sldId="2552"/>
            <ac:spMk id="455" creationId="{E6CC906E-1356-BD4F-84BF-5D16254066D5}"/>
          </ac:spMkLst>
        </pc:spChg>
        <pc:spChg chg="mod">
          <ac:chgData name="Miglani, Manisha" userId="dcd8ae44-efb6-4afd-b817-410b43c02073" providerId="ADAL" clId="{FF858129-72AD-8A43-B1B7-C8F787667F52}" dt="2021-06-10T07:50:40.849" v="324" actId="403"/>
          <ac:spMkLst>
            <pc:docMk/>
            <pc:sldMk cId="1570553839" sldId="2552"/>
            <ac:spMk id="456" creationId="{B2E01FC9-61D9-E44E-91F7-54BE640F61CD}"/>
          </ac:spMkLst>
        </pc:spChg>
        <pc:spChg chg="mod">
          <ac:chgData name="Miglani, Manisha" userId="dcd8ae44-efb6-4afd-b817-410b43c02073" providerId="ADAL" clId="{FF858129-72AD-8A43-B1B7-C8F787667F52}" dt="2021-06-10T07:50:40.849" v="324" actId="403"/>
          <ac:spMkLst>
            <pc:docMk/>
            <pc:sldMk cId="1570553839" sldId="2552"/>
            <ac:spMk id="457" creationId="{5D10D13C-9009-4448-BBC7-2BC10B468686}"/>
          </ac:spMkLst>
        </pc:spChg>
        <pc:spChg chg="mod">
          <ac:chgData name="Miglani, Manisha" userId="dcd8ae44-efb6-4afd-b817-410b43c02073" providerId="ADAL" clId="{FF858129-72AD-8A43-B1B7-C8F787667F52}" dt="2021-06-10T07:50:40.849" v="324" actId="403"/>
          <ac:spMkLst>
            <pc:docMk/>
            <pc:sldMk cId="1570553839" sldId="2552"/>
            <ac:spMk id="458" creationId="{8B62A2C5-6A13-BE41-BDA4-86035784BA27}"/>
          </ac:spMkLst>
        </pc:spChg>
        <pc:spChg chg="mod">
          <ac:chgData name="Miglani, Manisha" userId="dcd8ae44-efb6-4afd-b817-410b43c02073" providerId="ADAL" clId="{FF858129-72AD-8A43-B1B7-C8F787667F52}" dt="2021-06-10T07:50:57.890" v="338" actId="1036"/>
          <ac:spMkLst>
            <pc:docMk/>
            <pc:sldMk cId="1570553839" sldId="2552"/>
            <ac:spMk id="459" creationId="{2A1A1428-699E-DC49-85CC-ECDBC001220F}"/>
          </ac:spMkLst>
        </pc:spChg>
        <pc:spChg chg="mod">
          <ac:chgData name="Miglani, Manisha" userId="dcd8ae44-efb6-4afd-b817-410b43c02073" providerId="ADAL" clId="{FF858129-72AD-8A43-B1B7-C8F787667F52}" dt="2021-06-10T07:50:40.849" v="324" actId="403"/>
          <ac:spMkLst>
            <pc:docMk/>
            <pc:sldMk cId="1570553839" sldId="2552"/>
            <ac:spMk id="460" creationId="{60BC65EB-09F7-884A-8323-C52B2A9F27D5}"/>
          </ac:spMkLst>
        </pc:spChg>
        <pc:spChg chg="mod">
          <ac:chgData name="Miglani, Manisha" userId="dcd8ae44-efb6-4afd-b817-410b43c02073" providerId="ADAL" clId="{FF858129-72AD-8A43-B1B7-C8F787667F52}" dt="2021-06-10T07:50:40.849" v="324" actId="403"/>
          <ac:spMkLst>
            <pc:docMk/>
            <pc:sldMk cId="1570553839" sldId="2552"/>
            <ac:spMk id="461" creationId="{A3DA19C8-FA06-3B46-86C7-9C70110B7DA2}"/>
          </ac:spMkLst>
        </pc:spChg>
        <pc:spChg chg="mod">
          <ac:chgData name="Miglani, Manisha" userId="dcd8ae44-efb6-4afd-b817-410b43c02073" providerId="ADAL" clId="{FF858129-72AD-8A43-B1B7-C8F787667F52}" dt="2021-06-10T07:50:40.849" v="324" actId="403"/>
          <ac:spMkLst>
            <pc:docMk/>
            <pc:sldMk cId="1570553839" sldId="2552"/>
            <ac:spMk id="462" creationId="{BBB34422-9FBD-A046-AD2B-62A0EFAB4B5D}"/>
          </ac:spMkLst>
        </pc:spChg>
        <pc:spChg chg="mod">
          <ac:chgData name="Miglani, Manisha" userId="dcd8ae44-efb6-4afd-b817-410b43c02073" providerId="ADAL" clId="{FF858129-72AD-8A43-B1B7-C8F787667F52}" dt="2021-06-10T07:50:40.849" v="324" actId="403"/>
          <ac:spMkLst>
            <pc:docMk/>
            <pc:sldMk cId="1570553839" sldId="2552"/>
            <ac:spMk id="463" creationId="{B7781CC7-A8DD-1440-8FEA-849A36471698}"/>
          </ac:spMkLst>
        </pc:spChg>
        <pc:spChg chg="mod">
          <ac:chgData name="Miglani, Manisha" userId="dcd8ae44-efb6-4afd-b817-410b43c02073" providerId="ADAL" clId="{FF858129-72AD-8A43-B1B7-C8F787667F52}" dt="2021-06-10T07:50:40.849" v="324" actId="403"/>
          <ac:spMkLst>
            <pc:docMk/>
            <pc:sldMk cId="1570553839" sldId="2552"/>
            <ac:spMk id="464" creationId="{FDA2CC34-DE58-8E4E-B7A2-BD4C694F6182}"/>
          </ac:spMkLst>
        </pc:spChg>
        <pc:spChg chg="mod">
          <ac:chgData name="Miglani, Manisha" userId="dcd8ae44-efb6-4afd-b817-410b43c02073" providerId="ADAL" clId="{FF858129-72AD-8A43-B1B7-C8F787667F52}" dt="2021-06-10T07:50:40.849" v="324" actId="403"/>
          <ac:spMkLst>
            <pc:docMk/>
            <pc:sldMk cId="1570553839" sldId="2552"/>
            <ac:spMk id="465" creationId="{02CB7063-D668-B744-AB51-0DECA86D05A9}"/>
          </ac:spMkLst>
        </pc:spChg>
        <pc:spChg chg="mod">
          <ac:chgData name="Miglani, Manisha" userId="dcd8ae44-efb6-4afd-b817-410b43c02073" providerId="ADAL" clId="{FF858129-72AD-8A43-B1B7-C8F787667F52}" dt="2021-06-10T07:50:57.890" v="338" actId="1036"/>
          <ac:spMkLst>
            <pc:docMk/>
            <pc:sldMk cId="1570553839" sldId="2552"/>
            <ac:spMk id="466" creationId="{0B9F3954-0F0A-384C-9588-8724B084DA89}"/>
          </ac:spMkLst>
        </pc:spChg>
        <pc:spChg chg="mod">
          <ac:chgData name="Miglani, Manisha" userId="dcd8ae44-efb6-4afd-b817-410b43c02073" providerId="ADAL" clId="{FF858129-72AD-8A43-B1B7-C8F787667F52}" dt="2021-06-10T07:50:40.849" v="324" actId="403"/>
          <ac:spMkLst>
            <pc:docMk/>
            <pc:sldMk cId="1570553839" sldId="2552"/>
            <ac:spMk id="467" creationId="{81018C61-8409-BF49-B507-31B6D4118028}"/>
          </ac:spMkLst>
        </pc:spChg>
        <pc:spChg chg="mod">
          <ac:chgData name="Miglani, Manisha" userId="dcd8ae44-efb6-4afd-b817-410b43c02073" providerId="ADAL" clId="{FF858129-72AD-8A43-B1B7-C8F787667F52}" dt="2021-06-10T07:50:40.849" v="324" actId="403"/>
          <ac:spMkLst>
            <pc:docMk/>
            <pc:sldMk cId="1570553839" sldId="2552"/>
            <ac:spMk id="468" creationId="{BC2EF36C-ABA8-9747-AC21-54C12D561892}"/>
          </ac:spMkLst>
        </pc:spChg>
        <pc:spChg chg="mod">
          <ac:chgData name="Miglani, Manisha" userId="dcd8ae44-efb6-4afd-b817-410b43c02073" providerId="ADAL" clId="{FF858129-72AD-8A43-B1B7-C8F787667F52}" dt="2021-06-10T07:50:40.849" v="324" actId="403"/>
          <ac:spMkLst>
            <pc:docMk/>
            <pc:sldMk cId="1570553839" sldId="2552"/>
            <ac:spMk id="469" creationId="{F2894D59-36D3-454E-B363-E18F0BB934ED}"/>
          </ac:spMkLst>
        </pc:spChg>
        <pc:spChg chg="mod">
          <ac:chgData name="Miglani, Manisha" userId="dcd8ae44-efb6-4afd-b817-410b43c02073" providerId="ADAL" clId="{FF858129-72AD-8A43-B1B7-C8F787667F52}" dt="2021-06-10T07:50:40.849" v="324" actId="403"/>
          <ac:spMkLst>
            <pc:docMk/>
            <pc:sldMk cId="1570553839" sldId="2552"/>
            <ac:spMk id="470" creationId="{86366623-C6FC-1C45-81DF-FAC76F8B8A23}"/>
          </ac:spMkLst>
        </pc:spChg>
        <pc:spChg chg="mod">
          <ac:chgData name="Miglani, Manisha" userId="dcd8ae44-efb6-4afd-b817-410b43c02073" providerId="ADAL" clId="{FF858129-72AD-8A43-B1B7-C8F787667F52}" dt="2021-06-10T07:50:40.849" v="324" actId="403"/>
          <ac:spMkLst>
            <pc:docMk/>
            <pc:sldMk cId="1570553839" sldId="2552"/>
            <ac:spMk id="471" creationId="{C01720C0-9879-A84F-B53F-52653C37AECC}"/>
          </ac:spMkLst>
        </pc:spChg>
        <pc:spChg chg="mod">
          <ac:chgData name="Miglani, Manisha" userId="dcd8ae44-efb6-4afd-b817-410b43c02073" providerId="ADAL" clId="{FF858129-72AD-8A43-B1B7-C8F787667F52}" dt="2021-06-10T07:50:40.849" v="324" actId="403"/>
          <ac:spMkLst>
            <pc:docMk/>
            <pc:sldMk cId="1570553839" sldId="2552"/>
            <ac:spMk id="472" creationId="{59091A42-BC78-B74D-81EC-8BAA2C08B36D}"/>
          </ac:spMkLst>
        </pc:spChg>
        <pc:spChg chg="mod">
          <ac:chgData name="Miglani, Manisha" userId="dcd8ae44-efb6-4afd-b817-410b43c02073" providerId="ADAL" clId="{FF858129-72AD-8A43-B1B7-C8F787667F52}" dt="2021-06-10T07:50:57.890" v="338" actId="1036"/>
          <ac:spMkLst>
            <pc:docMk/>
            <pc:sldMk cId="1570553839" sldId="2552"/>
            <ac:spMk id="473" creationId="{C09A1CD3-F4F0-304A-8536-36FE614204C6}"/>
          </ac:spMkLst>
        </pc:spChg>
        <pc:spChg chg="mod">
          <ac:chgData name="Miglani, Manisha" userId="dcd8ae44-efb6-4afd-b817-410b43c02073" providerId="ADAL" clId="{FF858129-72AD-8A43-B1B7-C8F787667F52}" dt="2021-06-10T07:50:40.849" v="324" actId="403"/>
          <ac:spMkLst>
            <pc:docMk/>
            <pc:sldMk cId="1570553839" sldId="2552"/>
            <ac:spMk id="474" creationId="{8AA8F0D0-9B83-B642-932A-00E7BECCC136}"/>
          </ac:spMkLst>
        </pc:spChg>
        <pc:spChg chg="mod">
          <ac:chgData name="Miglani, Manisha" userId="dcd8ae44-efb6-4afd-b817-410b43c02073" providerId="ADAL" clId="{FF858129-72AD-8A43-B1B7-C8F787667F52}" dt="2021-06-10T07:50:40.849" v="324" actId="403"/>
          <ac:spMkLst>
            <pc:docMk/>
            <pc:sldMk cId="1570553839" sldId="2552"/>
            <ac:spMk id="475" creationId="{4431BB3F-5258-5546-BA4D-DC4CC6B00C00}"/>
          </ac:spMkLst>
        </pc:spChg>
        <pc:spChg chg="mod">
          <ac:chgData name="Miglani, Manisha" userId="dcd8ae44-efb6-4afd-b817-410b43c02073" providerId="ADAL" clId="{FF858129-72AD-8A43-B1B7-C8F787667F52}" dt="2021-06-10T07:50:40.849" v="324" actId="403"/>
          <ac:spMkLst>
            <pc:docMk/>
            <pc:sldMk cId="1570553839" sldId="2552"/>
            <ac:spMk id="476" creationId="{67530D38-0E25-4048-BB47-E0048A00BA50}"/>
          </ac:spMkLst>
        </pc:spChg>
        <pc:spChg chg="mod">
          <ac:chgData name="Miglani, Manisha" userId="dcd8ae44-efb6-4afd-b817-410b43c02073" providerId="ADAL" clId="{FF858129-72AD-8A43-B1B7-C8F787667F52}" dt="2021-06-10T07:50:40.849" v="324" actId="403"/>
          <ac:spMkLst>
            <pc:docMk/>
            <pc:sldMk cId="1570553839" sldId="2552"/>
            <ac:spMk id="477" creationId="{96B4DAD5-DB3A-BA49-A2AA-13E56EEEE64A}"/>
          </ac:spMkLst>
        </pc:spChg>
        <pc:spChg chg="mod">
          <ac:chgData name="Miglani, Manisha" userId="dcd8ae44-efb6-4afd-b817-410b43c02073" providerId="ADAL" clId="{FF858129-72AD-8A43-B1B7-C8F787667F52}" dt="2021-06-10T07:50:40.849" v="324" actId="403"/>
          <ac:spMkLst>
            <pc:docMk/>
            <pc:sldMk cId="1570553839" sldId="2552"/>
            <ac:spMk id="478" creationId="{CC7238A9-DC42-5948-BAF8-42DB106865DA}"/>
          </ac:spMkLst>
        </pc:spChg>
        <pc:spChg chg="mod">
          <ac:chgData name="Miglani, Manisha" userId="dcd8ae44-efb6-4afd-b817-410b43c02073" providerId="ADAL" clId="{FF858129-72AD-8A43-B1B7-C8F787667F52}" dt="2021-06-10T07:50:40.849" v="324" actId="403"/>
          <ac:spMkLst>
            <pc:docMk/>
            <pc:sldMk cId="1570553839" sldId="2552"/>
            <ac:spMk id="479" creationId="{50CC294C-90E3-1746-B04E-698A6377D1FC}"/>
          </ac:spMkLst>
        </pc:spChg>
        <pc:spChg chg="mod">
          <ac:chgData name="Miglani, Manisha" userId="dcd8ae44-efb6-4afd-b817-410b43c02073" providerId="ADAL" clId="{FF858129-72AD-8A43-B1B7-C8F787667F52}" dt="2021-06-10T07:50:57.890" v="338" actId="1036"/>
          <ac:spMkLst>
            <pc:docMk/>
            <pc:sldMk cId="1570553839" sldId="2552"/>
            <ac:spMk id="480" creationId="{E4A8B95B-2ECE-0848-8856-4C4BD84049DA}"/>
          </ac:spMkLst>
        </pc:spChg>
        <pc:spChg chg="mod">
          <ac:chgData name="Miglani, Manisha" userId="dcd8ae44-efb6-4afd-b817-410b43c02073" providerId="ADAL" clId="{FF858129-72AD-8A43-B1B7-C8F787667F52}" dt="2021-06-10T07:50:40.849" v="324" actId="403"/>
          <ac:spMkLst>
            <pc:docMk/>
            <pc:sldMk cId="1570553839" sldId="2552"/>
            <ac:spMk id="481" creationId="{8DA4BD95-5B5A-7C49-9A25-5633C6A9D83A}"/>
          </ac:spMkLst>
        </pc:spChg>
        <pc:spChg chg="mod">
          <ac:chgData name="Miglani, Manisha" userId="dcd8ae44-efb6-4afd-b817-410b43c02073" providerId="ADAL" clId="{FF858129-72AD-8A43-B1B7-C8F787667F52}" dt="2021-06-10T07:50:40.849" v="324" actId="403"/>
          <ac:spMkLst>
            <pc:docMk/>
            <pc:sldMk cId="1570553839" sldId="2552"/>
            <ac:spMk id="482" creationId="{6B921025-B021-CA48-8B20-57799B94EA7A}"/>
          </ac:spMkLst>
        </pc:spChg>
        <pc:spChg chg="mod">
          <ac:chgData name="Miglani, Manisha" userId="dcd8ae44-efb6-4afd-b817-410b43c02073" providerId="ADAL" clId="{FF858129-72AD-8A43-B1B7-C8F787667F52}" dt="2021-06-10T07:50:40.849" v="324" actId="403"/>
          <ac:spMkLst>
            <pc:docMk/>
            <pc:sldMk cId="1570553839" sldId="2552"/>
            <ac:spMk id="483" creationId="{54CC49AA-6488-D245-9268-4F43819EA4DB}"/>
          </ac:spMkLst>
        </pc:spChg>
        <pc:spChg chg="mod">
          <ac:chgData name="Miglani, Manisha" userId="dcd8ae44-efb6-4afd-b817-410b43c02073" providerId="ADAL" clId="{FF858129-72AD-8A43-B1B7-C8F787667F52}" dt="2021-06-10T07:50:40.849" v="324" actId="403"/>
          <ac:spMkLst>
            <pc:docMk/>
            <pc:sldMk cId="1570553839" sldId="2552"/>
            <ac:spMk id="484" creationId="{1131C672-C5A3-6D46-8CAF-6BD5E211D7BA}"/>
          </ac:spMkLst>
        </pc:spChg>
        <pc:spChg chg="mod">
          <ac:chgData name="Miglani, Manisha" userId="dcd8ae44-efb6-4afd-b817-410b43c02073" providerId="ADAL" clId="{FF858129-72AD-8A43-B1B7-C8F787667F52}" dt="2021-06-10T07:50:40.849" v="324" actId="403"/>
          <ac:spMkLst>
            <pc:docMk/>
            <pc:sldMk cId="1570553839" sldId="2552"/>
            <ac:spMk id="485" creationId="{B62EC2C4-6836-0647-9660-16AC354AB5D7}"/>
          </ac:spMkLst>
        </pc:spChg>
        <pc:spChg chg="mod">
          <ac:chgData name="Miglani, Manisha" userId="dcd8ae44-efb6-4afd-b817-410b43c02073" providerId="ADAL" clId="{FF858129-72AD-8A43-B1B7-C8F787667F52}" dt="2021-06-10T07:50:40.849" v="324" actId="403"/>
          <ac:spMkLst>
            <pc:docMk/>
            <pc:sldMk cId="1570553839" sldId="2552"/>
            <ac:spMk id="486" creationId="{8BF3D2D9-466B-3E44-AFE7-45BA54A68843}"/>
          </ac:spMkLst>
        </pc:spChg>
        <pc:spChg chg="mod">
          <ac:chgData name="Miglani, Manisha" userId="dcd8ae44-efb6-4afd-b817-410b43c02073" providerId="ADAL" clId="{FF858129-72AD-8A43-B1B7-C8F787667F52}" dt="2021-06-10T07:42:27.133" v="246" actId="403"/>
          <ac:spMkLst>
            <pc:docMk/>
            <pc:sldMk cId="1570553839" sldId="2552"/>
            <ac:spMk id="493" creationId="{ADC18E2C-044A-C04B-AE1E-C3A79F7521A2}"/>
          </ac:spMkLst>
        </pc:spChg>
        <pc:spChg chg="mod">
          <ac:chgData name="Miglani, Manisha" userId="dcd8ae44-efb6-4afd-b817-410b43c02073" providerId="ADAL" clId="{FF858129-72AD-8A43-B1B7-C8F787667F52}" dt="2021-06-10T07:42:07.927" v="241" actId="555"/>
          <ac:spMkLst>
            <pc:docMk/>
            <pc:sldMk cId="1570553839" sldId="2552"/>
            <ac:spMk id="494" creationId="{935FC65E-18D5-A543-95A6-EE4AF6A35A25}"/>
          </ac:spMkLst>
        </pc:spChg>
        <pc:spChg chg="mod">
          <ac:chgData name="Miglani, Manisha" userId="dcd8ae44-efb6-4afd-b817-410b43c02073" providerId="ADAL" clId="{FF858129-72AD-8A43-B1B7-C8F787667F52}" dt="2021-06-10T07:42:33.511" v="247" actId="1076"/>
          <ac:spMkLst>
            <pc:docMk/>
            <pc:sldMk cId="1570553839" sldId="2552"/>
            <ac:spMk id="495" creationId="{E6679A96-6B94-3C4E-B654-AACAD1F2792C}"/>
          </ac:spMkLst>
        </pc:spChg>
        <pc:spChg chg="mod">
          <ac:chgData name="Miglani, Manisha" userId="dcd8ae44-efb6-4afd-b817-410b43c02073" providerId="ADAL" clId="{FF858129-72AD-8A43-B1B7-C8F787667F52}" dt="2021-06-10T07:42:14.499" v="242" actId="1076"/>
          <ac:spMkLst>
            <pc:docMk/>
            <pc:sldMk cId="1570553839" sldId="2552"/>
            <ac:spMk id="496" creationId="{810B7668-81A3-A346-825A-DEE4A79291C0}"/>
          </ac:spMkLst>
        </pc:spChg>
        <pc:spChg chg="mod">
          <ac:chgData name="Miglani, Manisha" userId="dcd8ae44-efb6-4afd-b817-410b43c02073" providerId="ADAL" clId="{FF858129-72AD-8A43-B1B7-C8F787667F52}" dt="2021-06-10T07:42:33.511" v="247" actId="1076"/>
          <ac:spMkLst>
            <pc:docMk/>
            <pc:sldMk cId="1570553839" sldId="2552"/>
            <ac:spMk id="497" creationId="{6D645FFE-8D65-A247-B2CF-E9C2DBD7F3D2}"/>
          </ac:spMkLst>
        </pc:spChg>
        <pc:spChg chg="mod">
          <ac:chgData name="Miglani, Manisha" userId="dcd8ae44-efb6-4afd-b817-410b43c02073" providerId="ADAL" clId="{FF858129-72AD-8A43-B1B7-C8F787667F52}" dt="2021-06-10T07:53:50.165" v="365" actId="1076"/>
          <ac:spMkLst>
            <pc:docMk/>
            <pc:sldMk cId="1570553839" sldId="2552"/>
            <ac:spMk id="501" creationId="{446CE302-ACED-8646-8BFD-48F4E64DA7BD}"/>
          </ac:spMkLst>
        </pc:spChg>
        <pc:spChg chg="mod">
          <ac:chgData name="Miglani, Manisha" userId="dcd8ae44-efb6-4afd-b817-410b43c02073" providerId="ADAL" clId="{FF858129-72AD-8A43-B1B7-C8F787667F52}" dt="2021-06-10T07:53:46.851" v="364" actId="1076"/>
          <ac:spMkLst>
            <pc:docMk/>
            <pc:sldMk cId="1570553839" sldId="2552"/>
            <ac:spMk id="502" creationId="{001CBCE6-A0EF-5645-BD3D-45726668DF90}"/>
          </ac:spMkLst>
        </pc:spChg>
        <pc:spChg chg="mod">
          <ac:chgData name="Miglani, Manisha" userId="dcd8ae44-efb6-4afd-b817-410b43c02073" providerId="ADAL" clId="{FF858129-72AD-8A43-B1B7-C8F787667F52}" dt="2021-06-10T07:53:40.212" v="362" actId="1076"/>
          <ac:spMkLst>
            <pc:docMk/>
            <pc:sldMk cId="1570553839" sldId="2552"/>
            <ac:spMk id="503" creationId="{9687BF2E-51D5-1A4E-8046-C366E860BF1C}"/>
          </ac:spMkLst>
        </pc:spChg>
        <pc:spChg chg="mod">
          <ac:chgData name="Miglani, Manisha" userId="dcd8ae44-efb6-4afd-b817-410b43c02073" providerId="ADAL" clId="{FF858129-72AD-8A43-B1B7-C8F787667F52}" dt="2021-06-10T07:53:37.504" v="361" actId="14100"/>
          <ac:spMkLst>
            <pc:docMk/>
            <pc:sldMk cId="1570553839" sldId="2552"/>
            <ac:spMk id="504" creationId="{F34985F7-9847-5E4B-8A74-5E4EB0412119}"/>
          </ac:spMkLst>
        </pc:spChg>
        <pc:grpChg chg="add del mod">
          <ac:chgData name="Miglani, Manisha" userId="dcd8ae44-efb6-4afd-b817-410b43c02073" providerId="ADAL" clId="{FF858129-72AD-8A43-B1B7-C8F787667F52}" dt="2021-06-09T12:25:50.068" v="67" actId="165"/>
          <ac:grpSpMkLst>
            <pc:docMk/>
            <pc:sldMk cId="1570553839" sldId="2552"/>
            <ac:grpSpMk id="2" creationId="{0BC586E8-5CEC-5046-905A-25FDE66B2FE8}"/>
          </ac:grpSpMkLst>
        </pc:grpChg>
        <pc:grpChg chg="add del mod">
          <ac:chgData name="Miglani, Manisha" userId="dcd8ae44-efb6-4afd-b817-410b43c02073" providerId="ADAL" clId="{FF858129-72AD-8A43-B1B7-C8F787667F52}" dt="2021-06-10T07:41:46.036" v="235" actId="165"/>
          <ac:grpSpMkLst>
            <pc:docMk/>
            <pc:sldMk cId="1570553839" sldId="2552"/>
            <ac:grpSpMk id="2" creationId="{6CC677D6-7D95-E746-A06C-4734DA48AC62}"/>
          </ac:grpSpMkLst>
        </pc:grpChg>
        <pc:grpChg chg="add mod">
          <ac:chgData name="Miglani, Manisha" userId="dcd8ae44-efb6-4afd-b817-410b43c02073" providerId="ADAL" clId="{FF858129-72AD-8A43-B1B7-C8F787667F52}" dt="2021-06-10T07:53:56.481" v="367" actId="1076"/>
          <ac:grpSpMkLst>
            <pc:docMk/>
            <pc:sldMk cId="1570553839" sldId="2552"/>
            <ac:grpSpMk id="4" creationId="{CC272F91-749D-DE41-9CA2-E1FF0B186C69}"/>
          </ac:grpSpMkLst>
        </pc:grpChg>
        <pc:grpChg chg="add del">
          <ac:chgData name="Miglani, Manisha" userId="dcd8ae44-efb6-4afd-b817-410b43c02073" providerId="ADAL" clId="{FF858129-72AD-8A43-B1B7-C8F787667F52}" dt="2021-06-09T12:25:59.111" v="69" actId="165"/>
          <ac:grpSpMkLst>
            <pc:docMk/>
            <pc:sldMk cId="1570553839" sldId="2552"/>
            <ac:grpSpMk id="4" creationId="{D62B510A-5003-7A4D-A834-F3D2D6C68D92}"/>
          </ac:grpSpMkLst>
        </pc:grpChg>
        <pc:grpChg chg="add del">
          <ac:chgData name="Miglani, Manisha" userId="dcd8ae44-efb6-4afd-b817-410b43c02073" providerId="ADAL" clId="{FF858129-72AD-8A43-B1B7-C8F787667F52}" dt="2021-06-09T12:26:57.328" v="83" actId="164"/>
          <ac:grpSpMkLst>
            <pc:docMk/>
            <pc:sldMk cId="1570553839" sldId="2552"/>
            <ac:grpSpMk id="7" creationId="{B7E140B8-4DFD-1E4C-B21E-5165CA2DCA1A}"/>
          </ac:grpSpMkLst>
        </pc:grpChg>
        <pc:grpChg chg="add del mod">
          <ac:chgData name="Miglani, Manisha" userId="dcd8ae44-efb6-4afd-b817-410b43c02073" providerId="ADAL" clId="{FF858129-72AD-8A43-B1B7-C8F787667F52}" dt="2021-06-09T12:24:03.757" v="40" actId="165"/>
          <ac:grpSpMkLst>
            <pc:docMk/>
            <pc:sldMk cId="1570553839" sldId="2552"/>
            <ac:grpSpMk id="8" creationId="{CA7E5BE2-3B35-B141-8267-B02E4BB3F073}"/>
          </ac:grpSpMkLst>
        </pc:grpChg>
        <pc:grpChg chg="del mod topLvl">
          <ac:chgData name="Miglani, Manisha" userId="dcd8ae44-efb6-4afd-b817-410b43c02073" providerId="ADAL" clId="{FF858129-72AD-8A43-B1B7-C8F787667F52}" dt="2021-06-10T07:05:51.271" v="188" actId="478"/>
          <ac:grpSpMkLst>
            <pc:docMk/>
            <pc:sldMk cId="1570553839" sldId="2552"/>
            <ac:grpSpMk id="9" creationId="{76A046F4-D4D1-A245-A337-06918461C5EE}"/>
          </ac:grpSpMkLst>
        </pc:grpChg>
        <pc:grpChg chg="del mod topLvl">
          <ac:chgData name="Miglani, Manisha" userId="dcd8ae44-efb6-4afd-b817-410b43c02073" providerId="ADAL" clId="{FF858129-72AD-8A43-B1B7-C8F787667F52}" dt="2021-06-10T07:05:51.271" v="188" actId="478"/>
          <ac:grpSpMkLst>
            <pc:docMk/>
            <pc:sldMk cId="1570553839" sldId="2552"/>
            <ac:grpSpMk id="10" creationId="{076F6104-2F3C-FA4C-B47E-AE6498DDFD31}"/>
          </ac:grpSpMkLst>
        </pc:grpChg>
        <pc:grpChg chg="mod">
          <ac:chgData name="Miglani, Manisha" userId="dcd8ae44-efb6-4afd-b817-410b43c02073" providerId="ADAL" clId="{FF858129-72AD-8A43-B1B7-C8F787667F52}" dt="2021-06-09T12:23:58.200" v="38"/>
          <ac:grpSpMkLst>
            <pc:docMk/>
            <pc:sldMk cId="1570553839" sldId="2552"/>
            <ac:grpSpMk id="11" creationId="{39A40A84-6797-1D4B-8C96-35026DFBCE33}"/>
          </ac:grpSpMkLst>
        </pc:grpChg>
        <pc:grpChg chg="mod">
          <ac:chgData name="Miglani, Manisha" userId="dcd8ae44-efb6-4afd-b817-410b43c02073" providerId="ADAL" clId="{FF858129-72AD-8A43-B1B7-C8F787667F52}" dt="2021-06-09T12:23:58.200" v="38"/>
          <ac:grpSpMkLst>
            <pc:docMk/>
            <pc:sldMk cId="1570553839" sldId="2552"/>
            <ac:grpSpMk id="16" creationId="{32AF0C5D-8170-A348-BC7D-7B1B5BB69D15}"/>
          </ac:grpSpMkLst>
        </pc:grpChg>
        <pc:grpChg chg="add mod topLvl">
          <ac:chgData name="Miglani, Manisha" userId="dcd8ae44-efb6-4afd-b817-410b43c02073" providerId="ADAL" clId="{FF858129-72AD-8A43-B1B7-C8F787667F52}" dt="2021-06-10T07:40:01.558" v="221" actId="207"/>
          <ac:grpSpMkLst>
            <pc:docMk/>
            <pc:sldMk cId="1570553839" sldId="2552"/>
            <ac:grpSpMk id="40" creationId="{5158A260-D528-844B-86CA-7962F5F28F03}"/>
          </ac:grpSpMkLst>
        </pc:grpChg>
        <pc:grpChg chg="add mod topLvl">
          <ac:chgData name="Miglani, Manisha" userId="dcd8ae44-efb6-4afd-b817-410b43c02073" providerId="ADAL" clId="{FF858129-72AD-8A43-B1B7-C8F787667F52}" dt="2021-06-09T12:28:44.825" v="112" actId="1076"/>
          <ac:grpSpMkLst>
            <pc:docMk/>
            <pc:sldMk cId="1570553839" sldId="2552"/>
            <ac:grpSpMk id="59" creationId="{8D14AE00-2842-1449-B1C3-523D15F2386E}"/>
          </ac:grpSpMkLst>
        </pc:grpChg>
        <pc:grpChg chg="add mod topLvl">
          <ac:chgData name="Miglani, Manisha" userId="dcd8ae44-efb6-4afd-b817-410b43c02073" providerId="ADAL" clId="{FF858129-72AD-8A43-B1B7-C8F787667F52}" dt="2021-06-10T07:40:10.306" v="223" actId="207"/>
          <ac:grpSpMkLst>
            <pc:docMk/>
            <pc:sldMk cId="1570553839" sldId="2552"/>
            <ac:grpSpMk id="64" creationId="{C128F121-4DE9-CD42-93DD-0D530AC241A3}"/>
          </ac:grpSpMkLst>
        </pc:grpChg>
        <pc:grpChg chg="add del">
          <ac:chgData name="Miglani, Manisha" userId="dcd8ae44-efb6-4afd-b817-410b43c02073" providerId="ADAL" clId="{FF858129-72AD-8A43-B1B7-C8F787667F52}" dt="2021-06-09T12:26:55.990" v="82" actId="164"/>
          <ac:grpSpMkLst>
            <pc:docMk/>
            <pc:sldMk cId="1570553839" sldId="2552"/>
            <ac:grpSpMk id="72" creationId="{521AB86C-D916-F84B-99CC-EAF0526545EA}"/>
          </ac:grpSpMkLst>
        </pc:grpChg>
        <pc:grpChg chg="add del mod">
          <ac:chgData name="Miglani, Manisha" userId="dcd8ae44-efb6-4afd-b817-410b43c02073" providerId="ADAL" clId="{FF858129-72AD-8A43-B1B7-C8F787667F52}" dt="2021-06-10T07:38:12.278" v="200" actId="1076"/>
          <ac:grpSpMkLst>
            <pc:docMk/>
            <pc:sldMk cId="1570553839" sldId="2552"/>
            <ac:grpSpMk id="72" creationId="{B59D86B2-092B-9548-8E2B-4DAB09E91055}"/>
          </ac:grpSpMkLst>
        </pc:grpChg>
        <pc:grpChg chg="mod topLvl">
          <ac:chgData name="Miglani, Manisha" userId="dcd8ae44-efb6-4afd-b817-410b43c02073" providerId="ADAL" clId="{FF858129-72AD-8A43-B1B7-C8F787667F52}" dt="2021-06-10T06:44:30.680" v="147" actId="478"/>
          <ac:grpSpMkLst>
            <pc:docMk/>
            <pc:sldMk cId="1570553839" sldId="2552"/>
            <ac:grpSpMk id="74" creationId="{0A268673-24ED-E841-B2AF-A43A9094D7E1}"/>
          </ac:grpSpMkLst>
        </pc:grpChg>
        <pc:grpChg chg="mod">
          <ac:chgData name="Miglani, Manisha" userId="dcd8ae44-efb6-4afd-b817-410b43c02073" providerId="ADAL" clId="{FF858129-72AD-8A43-B1B7-C8F787667F52}" dt="2021-06-10T06:43:21.433" v="129"/>
          <ac:grpSpMkLst>
            <pc:docMk/>
            <pc:sldMk cId="1570553839" sldId="2552"/>
            <ac:grpSpMk id="75" creationId="{796DCA03-67A4-6842-B15C-CB1778DF3DFF}"/>
          </ac:grpSpMkLst>
        </pc:grpChg>
        <pc:grpChg chg="mod">
          <ac:chgData name="Miglani, Manisha" userId="dcd8ae44-efb6-4afd-b817-410b43c02073" providerId="ADAL" clId="{FF858129-72AD-8A43-B1B7-C8F787667F52}" dt="2021-06-10T06:43:21.433" v="129"/>
          <ac:grpSpMkLst>
            <pc:docMk/>
            <pc:sldMk cId="1570553839" sldId="2552"/>
            <ac:grpSpMk id="76" creationId="{520D0DC3-C0A6-2147-88FF-E5DAE115F7FF}"/>
          </ac:grpSpMkLst>
        </pc:grpChg>
        <pc:grpChg chg="mod">
          <ac:chgData name="Miglani, Manisha" userId="dcd8ae44-efb6-4afd-b817-410b43c02073" providerId="ADAL" clId="{FF858129-72AD-8A43-B1B7-C8F787667F52}" dt="2021-06-10T06:43:21.433" v="129"/>
          <ac:grpSpMkLst>
            <pc:docMk/>
            <pc:sldMk cId="1570553839" sldId="2552"/>
            <ac:grpSpMk id="77" creationId="{13C1D14C-D761-BD45-B0C9-1DD9F8A497B4}"/>
          </ac:grpSpMkLst>
        </pc:grpChg>
        <pc:grpChg chg="mod">
          <ac:chgData name="Miglani, Manisha" userId="dcd8ae44-efb6-4afd-b817-410b43c02073" providerId="ADAL" clId="{FF858129-72AD-8A43-B1B7-C8F787667F52}" dt="2021-06-10T06:43:21.433" v="129"/>
          <ac:grpSpMkLst>
            <pc:docMk/>
            <pc:sldMk cId="1570553839" sldId="2552"/>
            <ac:grpSpMk id="78" creationId="{BF2F4F57-0A4A-F04C-8DA3-4402A6F59DCE}"/>
          </ac:grpSpMkLst>
        </pc:grpChg>
        <pc:grpChg chg="mod">
          <ac:chgData name="Miglani, Manisha" userId="dcd8ae44-efb6-4afd-b817-410b43c02073" providerId="ADAL" clId="{FF858129-72AD-8A43-B1B7-C8F787667F52}" dt="2021-06-10T06:43:21.433" v="129"/>
          <ac:grpSpMkLst>
            <pc:docMk/>
            <pc:sldMk cId="1570553839" sldId="2552"/>
            <ac:grpSpMk id="146" creationId="{6021E3A9-2D8F-EF41-BF90-4D34288FE7FD}"/>
          </ac:grpSpMkLst>
        </pc:grpChg>
        <pc:grpChg chg="mod">
          <ac:chgData name="Miglani, Manisha" userId="dcd8ae44-efb6-4afd-b817-410b43c02073" providerId="ADAL" clId="{FF858129-72AD-8A43-B1B7-C8F787667F52}" dt="2021-06-10T06:43:21.433" v="129"/>
          <ac:grpSpMkLst>
            <pc:docMk/>
            <pc:sldMk cId="1570553839" sldId="2552"/>
            <ac:grpSpMk id="147" creationId="{5DF16EC8-F6DA-7F42-9067-0258ECD3B66E}"/>
          </ac:grpSpMkLst>
        </pc:grpChg>
        <pc:grpChg chg="mod">
          <ac:chgData name="Miglani, Manisha" userId="dcd8ae44-efb6-4afd-b817-410b43c02073" providerId="ADAL" clId="{FF858129-72AD-8A43-B1B7-C8F787667F52}" dt="2021-06-10T06:43:21.433" v="129"/>
          <ac:grpSpMkLst>
            <pc:docMk/>
            <pc:sldMk cId="1570553839" sldId="2552"/>
            <ac:grpSpMk id="148" creationId="{4A83BBB2-B769-B247-820F-F8B0B86E45B5}"/>
          </ac:grpSpMkLst>
        </pc:grpChg>
        <pc:grpChg chg="mod">
          <ac:chgData name="Miglani, Manisha" userId="dcd8ae44-efb6-4afd-b817-410b43c02073" providerId="ADAL" clId="{FF858129-72AD-8A43-B1B7-C8F787667F52}" dt="2021-06-10T06:43:21.433" v="129"/>
          <ac:grpSpMkLst>
            <pc:docMk/>
            <pc:sldMk cId="1570553839" sldId="2552"/>
            <ac:grpSpMk id="149" creationId="{51C5248C-3CE4-BB40-A2EE-3B4B0016B96F}"/>
          </ac:grpSpMkLst>
        </pc:grpChg>
        <pc:grpChg chg="mod">
          <ac:chgData name="Miglani, Manisha" userId="dcd8ae44-efb6-4afd-b817-410b43c02073" providerId="ADAL" clId="{FF858129-72AD-8A43-B1B7-C8F787667F52}" dt="2021-06-10T06:43:21.433" v="129"/>
          <ac:grpSpMkLst>
            <pc:docMk/>
            <pc:sldMk cId="1570553839" sldId="2552"/>
            <ac:grpSpMk id="150" creationId="{4C0975E4-E4DF-534C-B1E5-F4365570B49E}"/>
          </ac:grpSpMkLst>
        </pc:grpChg>
        <pc:grpChg chg="mod">
          <ac:chgData name="Miglani, Manisha" userId="dcd8ae44-efb6-4afd-b817-410b43c02073" providerId="ADAL" clId="{FF858129-72AD-8A43-B1B7-C8F787667F52}" dt="2021-06-10T06:43:21.433" v="129"/>
          <ac:grpSpMkLst>
            <pc:docMk/>
            <pc:sldMk cId="1570553839" sldId="2552"/>
            <ac:grpSpMk id="152" creationId="{D8395411-B6D1-FF45-8A37-04E447F154AC}"/>
          </ac:grpSpMkLst>
        </pc:grpChg>
        <pc:grpChg chg="mod">
          <ac:chgData name="Miglani, Manisha" userId="dcd8ae44-efb6-4afd-b817-410b43c02073" providerId="ADAL" clId="{FF858129-72AD-8A43-B1B7-C8F787667F52}" dt="2021-06-10T06:43:21.433" v="129"/>
          <ac:grpSpMkLst>
            <pc:docMk/>
            <pc:sldMk cId="1570553839" sldId="2552"/>
            <ac:grpSpMk id="153" creationId="{AF0A2EAF-4D32-8149-A305-9AB5DB35CD50}"/>
          </ac:grpSpMkLst>
        </pc:grpChg>
        <pc:grpChg chg="mod">
          <ac:chgData name="Miglani, Manisha" userId="dcd8ae44-efb6-4afd-b817-410b43c02073" providerId="ADAL" clId="{FF858129-72AD-8A43-B1B7-C8F787667F52}" dt="2021-06-10T06:43:21.433" v="129"/>
          <ac:grpSpMkLst>
            <pc:docMk/>
            <pc:sldMk cId="1570553839" sldId="2552"/>
            <ac:grpSpMk id="154" creationId="{66883F14-701E-2A4D-82A2-7B82A9EED41D}"/>
          </ac:grpSpMkLst>
        </pc:grpChg>
        <pc:grpChg chg="mod">
          <ac:chgData name="Miglani, Manisha" userId="dcd8ae44-efb6-4afd-b817-410b43c02073" providerId="ADAL" clId="{FF858129-72AD-8A43-B1B7-C8F787667F52}" dt="2021-06-10T06:43:21.433" v="129"/>
          <ac:grpSpMkLst>
            <pc:docMk/>
            <pc:sldMk cId="1570553839" sldId="2552"/>
            <ac:grpSpMk id="156" creationId="{53577599-4AEC-7249-901F-6E7C3C674E25}"/>
          </ac:grpSpMkLst>
        </pc:grpChg>
        <pc:grpChg chg="mod">
          <ac:chgData name="Miglani, Manisha" userId="dcd8ae44-efb6-4afd-b817-410b43c02073" providerId="ADAL" clId="{FF858129-72AD-8A43-B1B7-C8F787667F52}" dt="2021-06-10T06:43:21.433" v="129"/>
          <ac:grpSpMkLst>
            <pc:docMk/>
            <pc:sldMk cId="1570553839" sldId="2552"/>
            <ac:grpSpMk id="157" creationId="{C1B7CD79-4838-5641-B4F2-3F1A9B88977D}"/>
          </ac:grpSpMkLst>
        </pc:grpChg>
        <pc:grpChg chg="mod">
          <ac:chgData name="Miglani, Manisha" userId="dcd8ae44-efb6-4afd-b817-410b43c02073" providerId="ADAL" clId="{FF858129-72AD-8A43-B1B7-C8F787667F52}" dt="2021-06-10T06:43:21.433" v="129"/>
          <ac:grpSpMkLst>
            <pc:docMk/>
            <pc:sldMk cId="1570553839" sldId="2552"/>
            <ac:grpSpMk id="158" creationId="{1977E8C0-EE2E-4046-807A-24125C485A82}"/>
          </ac:grpSpMkLst>
        </pc:grpChg>
        <pc:grpChg chg="mod">
          <ac:chgData name="Miglani, Manisha" userId="dcd8ae44-efb6-4afd-b817-410b43c02073" providerId="ADAL" clId="{FF858129-72AD-8A43-B1B7-C8F787667F52}" dt="2021-06-10T06:43:21.433" v="129"/>
          <ac:grpSpMkLst>
            <pc:docMk/>
            <pc:sldMk cId="1570553839" sldId="2552"/>
            <ac:grpSpMk id="182" creationId="{930CF161-9AEC-5644-9DCF-DCF6AEA7FD22}"/>
          </ac:grpSpMkLst>
        </pc:grpChg>
        <pc:grpChg chg="mod">
          <ac:chgData name="Miglani, Manisha" userId="dcd8ae44-efb6-4afd-b817-410b43c02073" providerId="ADAL" clId="{FF858129-72AD-8A43-B1B7-C8F787667F52}" dt="2021-06-10T06:43:21.433" v="129"/>
          <ac:grpSpMkLst>
            <pc:docMk/>
            <pc:sldMk cId="1570553839" sldId="2552"/>
            <ac:grpSpMk id="183" creationId="{A5EB49B2-5827-924F-BF83-0CEAA7001601}"/>
          </ac:grpSpMkLst>
        </pc:grpChg>
        <pc:grpChg chg="mod">
          <ac:chgData name="Miglani, Manisha" userId="dcd8ae44-efb6-4afd-b817-410b43c02073" providerId="ADAL" clId="{FF858129-72AD-8A43-B1B7-C8F787667F52}" dt="2021-06-10T06:43:21.433" v="129"/>
          <ac:grpSpMkLst>
            <pc:docMk/>
            <pc:sldMk cId="1570553839" sldId="2552"/>
            <ac:grpSpMk id="184" creationId="{30ADD162-B2F2-F74B-BBC5-9681FA362016}"/>
          </ac:grpSpMkLst>
        </pc:grpChg>
        <pc:grpChg chg="mod">
          <ac:chgData name="Miglani, Manisha" userId="dcd8ae44-efb6-4afd-b817-410b43c02073" providerId="ADAL" clId="{FF858129-72AD-8A43-B1B7-C8F787667F52}" dt="2021-06-10T06:43:21.433" v="129"/>
          <ac:grpSpMkLst>
            <pc:docMk/>
            <pc:sldMk cId="1570553839" sldId="2552"/>
            <ac:grpSpMk id="189" creationId="{5A3DFB25-8092-FE42-8529-720C90F3DAC3}"/>
          </ac:grpSpMkLst>
        </pc:grpChg>
        <pc:grpChg chg="mod">
          <ac:chgData name="Miglani, Manisha" userId="dcd8ae44-efb6-4afd-b817-410b43c02073" providerId="ADAL" clId="{FF858129-72AD-8A43-B1B7-C8F787667F52}" dt="2021-06-10T06:43:21.433" v="129"/>
          <ac:grpSpMkLst>
            <pc:docMk/>
            <pc:sldMk cId="1570553839" sldId="2552"/>
            <ac:grpSpMk id="203" creationId="{B98B466B-D90D-DE43-9152-0A820D4ED144}"/>
          </ac:grpSpMkLst>
        </pc:grpChg>
        <pc:grpChg chg="mod">
          <ac:chgData name="Miglani, Manisha" userId="dcd8ae44-efb6-4afd-b817-410b43c02073" providerId="ADAL" clId="{FF858129-72AD-8A43-B1B7-C8F787667F52}" dt="2021-06-10T06:43:21.433" v="129"/>
          <ac:grpSpMkLst>
            <pc:docMk/>
            <pc:sldMk cId="1570553839" sldId="2552"/>
            <ac:grpSpMk id="233" creationId="{CE137465-DB17-184A-A0B1-2805FC12D97B}"/>
          </ac:grpSpMkLst>
        </pc:grpChg>
        <pc:grpChg chg="mod">
          <ac:chgData name="Miglani, Manisha" userId="dcd8ae44-efb6-4afd-b817-410b43c02073" providerId="ADAL" clId="{FF858129-72AD-8A43-B1B7-C8F787667F52}" dt="2021-06-10T06:43:21.433" v="129"/>
          <ac:grpSpMkLst>
            <pc:docMk/>
            <pc:sldMk cId="1570553839" sldId="2552"/>
            <ac:grpSpMk id="234" creationId="{50EF91F8-51F4-684F-B958-EAD689558879}"/>
          </ac:grpSpMkLst>
        </pc:grpChg>
        <pc:grpChg chg="mod">
          <ac:chgData name="Miglani, Manisha" userId="dcd8ae44-efb6-4afd-b817-410b43c02073" providerId="ADAL" clId="{FF858129-72AD-8A43-B1B7-C8F787667F52}" dt="2021-06-10T06:43:21.433" v="129"/>
          <ac:grpSpMkLst>
            <pc:docMk/>
            <pc:sldMk cId="1570553839" sldId="2552"/>
            <ac:grpSpMk id="311" creationId="{70BEB794-CB91-804B-92D0-38DA72C4B665}"/>
          </ac:grpSpMkLst>
        </pc:grpChg>
        <pc:grpChg chg="add mod">
          <ac:chgData name="Miglani, Manisha" userId="dcd8ae44-efb6-4afd-b817-410b43c02073" providerId="ADAL" clId="{FF858129-72AD-8A43-B1B7-C8F787667F52}" dt="2021-06-10T07:39:37.695" v="219" actId="1076"/>
          <ac:grpSpMkLst>
            <pc:docMk/>
            <pc:sldMk cId="1570553839" sldId="2552"/>
            <ac:grpSpMk id="344" creationId="{6172A576-8366-BA48-873E-44DA56EEE84C}"/>
          </ac:grpSpMkLst>
        </pc:grpChg>
        <pc:grpChg chg="add mod">
          <ac:chgData name="Miglani, Manisha" userId="dcd8ae44-efb6-4afd-b817-410b43c02073" providerId="ADAL" clId="{FF858129-72AD-8A43-B1B7-C8F787667F52}" dt="2021-06-10T07:39:37.695" v="219" actId="1076"/>
          <ac:grpSpMkLst>
            <pc:docMk/>
            <pc:sldMk cId="1570553839" sldId="2552"/>
            <ac:grpSpMk id="363" creationId="{7C778771-53D9-6440-A4D5-FFAE9CC62EE0}"/>
          </ac:grpSpMkLst>
        </pc:grpChg>
        <pc:grpChg chg="add mod">
          <ac:chgData name="Miglani, Manisha" userId="dcd8ae44-efb6-4afd-b817-410b43c02073" providerId="ADAL" clId="{FF858129-72AD-8A43-B1B7-C8F787667F52}" dt="2021-06-10T07:39:37.695" v="219" actId="1076"/>
          <ac:grpSpMkLst>
            <pc:docMk/>
            <pc:sldMk cId="1570553839" sldId="2552"/>
            <ac:grpSpMk id="381" creationId="{E3323B5C-0259-ED4C-BD73-CB5DE8FCD2EE}"/>
          </ac:grpSpMkLst>
        </pc:grpChg>
        <pc:grpChg chg="add mod topLvl">
          <ac:chgData name="Miglani, Manisha" userId="dcd8ae44-efb6-4afd-b817-410b43c02073" providerId="ADAL" clId="{FF858129-72AD-8A43-B1B7-C8F787667F52}" dt="2021-06-10T07:51:48.637" v="347" actId="1076"/>
          <ac:grpSpMkLst>
            <pc:docMk/>
            <pc:sldMk cId="1570553839" sldId="2552"/>
            <ac:grpSpMk id="399" creationId="{FB1B5B92-3DC7-DB48-B4C2-9FB142592DA8}"/>
          </ac:grpSpMkLst>
        </pc:grpChg>
        <pc:grpChg chg="mod">
          <ac:chgData name="Miglani, Manisha" userId="dcd8ae44-efb6-4afd-b817-410b43c02073" providerId="ADAL" clId="{FF858129-72AD-8A43-B1B7-C8F787667F52}" dt="2021-06-10T07:41:01.544" v="224"/>
          <ac:grpSpMkLst>
            <pc:docMk/>
            <pc:sldMk cId="1570553839" sldId="2552"/>
            <ac:grpSpMk id="400" creationId="{CB35E66F-EB1C-9340-A50A-EF0AEBEC3FA0}"/>
          </ac:grpSpMkLst>
        </pc:grpChg>
        <pc:grpChg chg="mod">
          <ac:chgData name="Miglani, Manisha" userId="dcd8ae44-efb6-4afd-b817-410b43c02073" providerId="ADAL" clId="{FF858129-72AD-8A43-B1B7-C8F787667F52}" dt="2021-06-10T07:41:01.544" v="224"/>
          <ac:grpSpMkLst>
            <pc:docMk/>
            <pc:sldMk cId="1570553839" sldId="2552"/>
            <ac:grpSpMk id="406" creationId="{68F5F311-E0C6-8D44-A436-316891E7B21C}"/>
          </ac:grpSpMkLst>
        </pc:grpChg>
        <pc:grpChg chg="mod">
          <ac:chgData name="Miglani, Manisha" userId="dcd8ae44-efb6-4afd-b817-410b43c02073" providerId="ADAL" clId="{FF858129-72AD-8A43-B1B7-C8F787667F52}" dt="2021-06-10T07:41:01.544" v="224"/>
          <ac:grpSpMkLst>
            <pc:docMk/>
            <pc:sldMk cId="1570553839" sldId="2552"/>
            <ac:grpSpMk id="407" creationId="{EA469206-4959-CA43-A259-F1050286A204}"/>
          </ac:grpSpMkLst>
        </pc:grpChg>
        <pc:grpChg chg="mod">
          <ac:chgData name="Miglani, Manisha" userId="dcd8ae44-efb6-4afd-b817-410b43c02073" providerId="ADAL" clId="{FF858129-72AD-8A43-B1B7-C8F787667F52}" dt="2021-06-10T07:41:01.544" v="224"/>
          <ac:grpSpMkLst>
            <pc:docMk/>
            <pc:sldMk cId="1570553839" sldId="2552"/>
            <ac:grpSpMk id="408" creationId="{75995C05-3F1C-5647-86E3-576B3839C92E}"/>
          </ac:grpSpMkLst>
        </pc:grpChg>
        <pc:grpChg chg="mod">
          <ac:chgData name="Miglani, Manisha" userId="dcd8ae44-efb6-4afd-b817-410b43c02073" providerId="ADAL" clId="{FF858129-72AD-8A43-B1B7-C8F787667F52}" dt="2021-06-10T07:41:01.544" v="224"/>
          <ac:grpSpMkLst>
            <pc:docMk/>
            <pc:sldMk cId="1570553839" sldId="2552"/>
            <ac:grpSpMk id="409" creationId="{73B5C697-6BEC-714E-AFDF-C8F58D2D7207}"/>
          </ac:grpSpMkLst>
        </pc:grpChg>
        <pc:grpChg chg="mod">
          <ac:chgData name="Miglani, Manisha" userId="dcd8ae44-efb6-4afd-b817-410b43c02073" providerId="ADAL" clId="{FF858129-72AD-8A43-B1B7-C8F787667F52}" dt="2021-06-10T07:41:01.544" v="224"/>
          <ac:grpSpMkLst>
            <pc:docMk/>
            <pc:sldMk cId="1570553839" sldId="2552"/>
            <ac:grpSpMk id="410" creationId="{B0D37479-272C-634A-BA07-1216F7D583DD}"/>
          </ac:grpSpMkLst>
        </pc:grpChg>
        <pc:grpChg chg="mod">
          <ac:chgData name="Miglani, Manisha" userId="dcd8ae44-efb6-4afd-b817-410b43c02073" providerId="ADAL" clId="{FF858129-72AD-8A43-B1B7-C8F787667F52}" dt="2021-06-10T07:41:01.544" v="224"/>
          <ac:grpSpMkLst>
            <pc:docMk/>
            <pc:sldMk cId="1570553839" sldId="2552"/>
            <ac:grpSpMk id="411" creationId="{D41BD093-B78F-FE4A-9B16-F8F91AB28929}"/>
          </ac:grpSpMkLst>
        </pc:grpChg>
        <pc:grpChg chg="mod">
          <ac:chgData name="Miglani, Manisha" userId="dcd8ae44-efb6-4afd-b817-410b43c02073" providerId="ADAL" clId="{FF858129-72AD-8A43-B1B7-C8F787667F52}" dt="2021-06-10T07:41:01.544" v="224"/>
          <ac:grpSpMkLst>
            <pc:docMk/>
            <pc:sldMk cId="1570553839" sldId="2552"/>
            <ac:grpSpMk id="412" creationId="{A63C8167-AB3D-CB43-B731-2BAE3547D16F}"/>
          </ac:grpSpMkLst>
        </pc:grpChg>
        <pc:grpChg chg="mod">
          <ac:chgData name="Miglani, Manisha" userId="dcd8ae44-efb6-4afd-b817-410b43c02073" providerId="ADAL" clId="{FF858129-72AD-8A43-B1B7-C8F787667F52}" dt="2021-06-10T07:41:01.544" v="224"/>
          <ac:grpSpMkLst>
            <pc:docMk/>
            <pc:sldMk cId="1570553839" sldId="2552"/>
            <ac:grpSpMk id="413" creationId="{75672C1A-0BC9-AE4B-AF52-747CB724599D}"/>
          </ac:grpSpMkLst>
        </pc:grpChg>
        <pc:grpChg chg="mod">
          <ac:chgData name="Miglani, Manisha" userId="dcd8ae44-efb6-4afd-b817-410b43c02073" providerId="ADAL" clId="{FF858129-72AD-8A43-B1B7-C8F787667F52}" dt="2021-06-10T07:41:01.544" v="224"/>
          <ac:grpSpMkLst>
            <pc:docMk/>
            <pc:sldMk cId="1570553839" sldId="2552"/>
            <ac:grpSpMk id="414" creationId="{E2014FAB-4ED2-904E-B402-398D9A970C5D}"/>
          </ac:grpSpMkLst>
        </pc:grpChg>
        <pc:grpChg chg="mod">
          <ac:chgData name="Miglani, Manisha" userId="dcd8ae44-efb6-4afd-b817-410b43c02073" providerId="ADAL" clId="{FF858129-72AD-8A43-B1B7-C8F787667F52}" dt="2021-06-10T07:41:01.544" v="224"/>
          <ac:grpSpMkLst>
            <pc:docMk/>
            <pc:sldMk cId="1570553839" sldId="2552"/>
            <ac:grpSpMk id="415" creationId="{E2996C73-DD5B-564A-B6A9-07E4C826AC1E}"/>
          </ac:grpSpMkLst>
        </pc:grpChg>
        <pc:grpChg chg="add mod topLvl">
          <ac:chgData name="Miglani, Manisha" userId="dcd8ae44-efb6-4afd-b817-410b43c02073" providerId="ADAL" clId="{FF858129-72AD-8A43-B1B7-C8F787667F52}" dt="2021-06-10T07:51:53.486" v="348" actId="1076"/>
          <ac:grpSpMkLst>
            <pc:docMk/>
            <pc:sldMk cId="1570553839" sldId="2552"/>
            <ac:grpSpMk id="492" creationId="{E28EF670-8CBE-0B4A-BC80-553B16F5CCA6}"/>
          </ac:grpSpMkLst>
        </pc:grpChg>
        <pc:grpChg chg="add del mod">
          <ac:chgData name="Miglani, Manisha" userId="dcd8ae44-efb6-4afd-b817-410b43c02073" providerId="ADAL" clId="{FF858129-72AD-8A43-B1B7-C8F787667F52}" dt="2021-06-10T07:53:28.188" v="358" actId="165"/>
          <ac:grpSpMkLst>
            <pc:docMk/>
            <pc:sldMk cId="1570553839" sldId="2552"/>
            <ac:grpSpMk id="498" creationId="{2737B560-3875-A14E-8605-51FECA8710E0}"/>
          </ac:grpSpMkLst>
        </pc:grpChg>
        <pc:grpChg chg="mod topLvl">
          <ac:chgData name="Miglani, Manisha" userId="dcd8ae44-efb6-4afd-b817-410b43c02073" providerId="ADAL" clId="{FF858129-72AD-8A43-B1B7-C8F787667F52}" dt="2021-06-10T07:53:28.188" v="358" actId="165"/>
          <ac:grpSpMkLst>
            <pc:docMk/>
            <pc:sldMk cId="1570553839" sldId="2552"/>
            <ac:grpSpMk id="499" creationId="{122DE5B9-7C31-5B4A-A2FF-CBE512993C49}"/>
          </ac:grpSpMkLst>
        </pc:grpChg>
        <pc:grpChg chg="mod topLvl">
          <ac:chgData name="Miglani, Manisha" userId="dcd8ae44-efb6-4afd-b817-410b43c02073" providerId="ADAL" clId="{FF858129-72AD-8A43-B1B7-C8F787667F52}" dt="2021-06-10T07:53:28.188" v="358" actId="165"/>
          <ac:grpSpMkLst>
            <pc:docMk/>
            <pc:sldMk cId="1570553839" sldId="2552"/>
            <ac:grpSpMk id="500" creationId="{F2C073CB-D7A6-8244-9E9B-85DCC58D523F}"/>
          </ac:grpSpMkLst>
        </pc:grpChg>
        <pc:graphicFrameChg chg="mod">
          <ac:chgData name="Miglani, Manisha" userId="dcd8ae44-efb6-4afd-b817-410b43c02073" providerId="ADAL" clId="{FF858129-72AD-8A43-B1B7-C8F787667F52}" dt="2021-06-09T12:24:58.157" v="54" actId="255"/>
          <ac:graphicFrameMkLst>
            <pc:docMk/>
            <pc:sldMk cId="1570553839" sldId="2552"/>
            <ac:graphicFrameMk id="25" creationId="{4BE57035-27B5-584F-8640-A1C7711B4D95}"/>
          </ac:graphicFrameMkLst>
        </pc:graphicFrameChg>
        <pc:graphicFrameChg chg="mod">
          <ac:chgData name="Miglani, Manisha" userId="dcd8ae44-efb6-4afd-b817-410b43c02073" providerId="ADAL" clId="{FF858129-72AD-8A43-B1B7-C8F787667F52}" dt="2021-06-10T07:45:07.367" v="284"/>
          <ac:graphicFrameMkLst>
            <pc:docMk/>
            <pc:sldMk cId="1570553839" sldId="2552"/>
            <ac:graphicFrameMk id="27" creationId="{1D6C8B76-4277-4DBD-9D74-124E6BA7800C}"/>
          </ac:graphicFrameMkLst>
        </pc:graphicFrameChg>
        <pc:graphicFrameChg chg="add mod modGraphic">
          <ac:chgData name="Miglani, Manisha" userId="dcd8ae44-efb6-4afd-b817-410b43c02073" providerId="ADAL" clId="{FF858129-72AD-8A43-B1B7-C8F787667F52}" dt="2021-06-10T07:39:37.695" v="219" actId="1076"/>
          <ac:graphicFrameMkLst>
            <pc:docMk/>
            <pc:sldMk cId="1570553839" sldId="2552"/>
            <ac:graphicFrameMk id="362" creationId="{EB804FB4-E1F6-024F-A758-58AAB890A474}"/>
          </ac:graphicFrameMkLst>
        </pc:graphicFrameChg>
        <pc:picChg chg="mod">
          <ac:chgData name="Miglani, Manisha" userId="dcd8ae44-efb6-4afd-b817-410b43c02073" providerId="ADAL" clId="{FF858129-72AD-8A43-B1B7-C8F787667F52}" dt="2021-06-10T07:39:56.752" v="220" actId="207"/>
          <ac:picMkLst>
            <pc:docMk/>
            <pc:sldMk cId="1570553839" sldId="2552"/>
            <ac:picMk id="60" creationId="{2A5D1128-8D57-AB4B-8D24-8474EC3206BC}"/>
          </ac:picMkLst>
        </pc:picChg>
        <pc:picChg chg="mod">
          <ac:chgData name="Miglani, Manisha" userId="dcd8ae44-efb6-4afd-b817-410b43c02073" providerId="ADAL" clId="{FF858129-72AD-8A43-B1B7-C8F787667F52}" dt="2021-06-10T07:39:56.752" v="220" actId="207"/>
          <ac:picMkLst>
            <pc:docMk/>
            <pc:sldMk cId="1570553839" sldId="2552"/>
            <ac:picMk id="61" creationId="{F763A103-34ED-1D40-92F6-0887468E1976}"/>
          </ac:picMkLst>
        </pc:picChg>
        <pc:cxnChg chg="mod">
          <ac:chgData name="Miglani, Manisha" userId="dcd8ae44-efb6-4afd-b817-410b43c02073" providerId="ADAL" clId="{FF858129-72AD-8A43-B1B7-C8F787667F52}" dt="2021-06-10T07:05:51.271" v="188" actId="478"/>
          <ac:cxnSpMkLst>
            <pc:docMk/>
            <pc:sldMk cId="1570553839" sldId="2552"/>
            <ac:cxnSpMk id="23" creationId="{3A07062F-DCE1-2148-A87C-2C3F3FEC189C}"/>
          </ac:cxnSpMkLst>
        </pc:cxnChg>
        <pc:cxnChg chg="mod">
          <ac:chgData name="Miglani, Manisha" userId="dcd8ae44-efb6-4afd-b817-410b43c02073" providerId="ADAL" clId="{FF858129-72AD-8A43-B1B7-C8F787667F52}" dt="2021-06-09T12:23:58.200" v="38"/>
          <ac:cxnSpMkLst>
            <pc:docMk/>
            <pc:sldMk cId="1570553839" sldId="2552"/>
            <ac:cxnSpMk id="28" creationId="{39384B28-2B88-944C-821E-306F0C91E0CB}"/>
          </ac:cxnSpMkLst>
        </pc:cxnChg>
        <pc:cxnChg chg="mod">
          <ac:chgData name="Miglani, Manisha" userId="dcd8ae44-efb6-4afd-b817-410b43c02073" providerId="ADAL" clId="{FF858129-72AD-8A43-B1B7-C8F787667F52}" dt="2021-06-09T12:23:58.200" v="38"/>
          <ac:cxnSpMkLst>
            <pc:docMk/>
            <pc:sldMk cId="1570553839" sldId="2552"/>
            <ac:cxnSpMk id="29" creationId="{BDE35A73-BB09-B34B-8BBA-4729341617D4}"/>
          </ac:cxnSpMkLst>
        </pc:cxnChg>
        <pc:cxnChg chg="mod">
          <ac:chgData name="Miglani, Manisha" userId="dcd8ae44-efb6-4afd-b817-410b43c02073" providerId="ADAL" clId="{FF858129-72AD-8A43-B1B7-C8F787667F52}" dt="2021-06-09T12:23:58.200" v="38"/>
          <ac:cxnSpMkLst>
            <pc:docMk/>
            <pc:sldMk cId="1570553839" sldId="2552"/>
            <ac:cxnSpMk id="30" creationId="{24C06539-AE91-FA43-B82A-D38FDF11C7D9}"/>
          </ac:cxnSpMkLst>
        </pc:cxnChg>
        <pc:cxnChg chg="mod">
          <ac:chgData name="Miglani, Manisha" userId="dcd8ae44-efb6-4afd-b817-410b43c02073" providerId="ADAL" clId="{FF858129-72AD-8A43-B1B7-C8F787667F52}" dt="2021-06-09T12:23:58.200" v="38"/>
          <ac:cxnSpMkLst>
            <pc:docMk/>
            <pc:sldMk cId="1570553839" sldId="2552"/>
            <ac:cxnSpMk id="31" creationId="{F5BE9595-4238-9D48-9488-472210B75C56}"/>
          </ac:cxnSpMkLst>
        </pc:cxnChg>
        <pc:cxnChg chg="mod">
          <ac:chgData name="Miglani, Manisha" userId="dcd8ae44-efb6-4afd-b817-410b43c02073" providerId="ADAL" clId="{FF858129-72AD-8A43-B1B7-C8F787667F52}" dt="2021-06-10T07:41:01.544" v="224"/>
          <ac:cxnSpMkLst>
            <pc:docMk/>
            <pc:sldMk cId="1570553839" sldId="2552"/>
            <ac:cxnSpMk id="487" creationId="{F2367463-A83C-6F44-98F2-FD194B5BB36F}"/>
          </ac:cxnSpMkLst>
        </pc:cxnChg>
        <pc:cxnChg chg="mod">
          <ac:chgData name="Miglani, Manisha" userId="dcd8ae44-efb6-4afd-b817-410b43c02073" providerId="ADAL" clId="{FF858129-72AD-8A43-B1B7-C8F787667F52}" dt="2021-06-10T07:41:01.544" v="224"/>
          <ac:cxnSpMkLst>
            <pc:docMk/>
            <pc:sldMk cId="1570553839" sldId="2552"/>
            <ac:cxnSpMk id="488" creationId="{2A8593FB-C141-D441-84BE-B3DCA7B4CDE6}"/>
          </ac:cxnSpMkLst>
        </pc:cxnChg>
        <pc:cxnChg chg="mod">
          <ac:chgData name="Miglani, Manisha" userId="dcd8ae44-efb6-4afd-b817-410b43c02073" providerId="ADAL" clId="{FF858129-72AD-8A43-B1B7-C8F787667F52}" dt="2021-06-10T07:41:01.544" v="224"/>
          <ac:cxnSpMkLst>
            <pc:docMk/>
            <pc:sldMk cId="1570553839" sldId="2552"/>
            <ac:cxnSpMk id="489" creationId="{1FF76666-6874-5D47-AEA9-DB0A595FD78F}"/>
          </ac:cxnSpMkLst>
        </pc:cxnChg>
        <pc:cxnChg chg="mod">
          <ac:chgData name="Miglani, Manisha" userId="dcd8ae44-efb6-4afd-b817-410b43c02073" providerId="ADAL" clId="{FF858129-72AD-8A43-B1B7-C8F787667F52}" dt="2021-06-10T07:41:01.544" v="224"/>
          <ac:cxnSpMkLst>
            <pc:docMk/>
            <pc:sldMk cId="1570553839" sldId="2552"/>
            <ac:cxnSpMk id="490" creationId="{2FABE3AA-0FC5-4946-8821-C9E79C6C580E}"/>
          </ac:cxnSpMkLst>
        </pc:cxnChg>
        <pc:cxnChg chg="mod">
          <ac:chgData name="Miglani, Manisha" userId="dcd8ae44-efb6-4afd-b817-410b43c02073" providerId="ADAL" clId="{FF858129-72AD-8A43-B1B7-C8F787667F52}" dt="2021-06-10T07:41:01.544" v="224"/>
          <ac:cxnSpMkLst>
            <pc:docMk/>
            <pc:sldMk cId="1570553839" sldId="2552"/>
            <ac:cxnSpMk id="491" creationId="{B171F1E5-7DF5-FB43-B54D-0C451234D9F8}"/>
          </ac:cxnSpMkLst>
        </pc:cxnChg>
      </pc:sldChg>
      <pc:sldChg chg="addSp delSp modSp mod">
        <pc:chgData name="Miglani, Manisha" userId="dcd8ae44-efb6-4afd-b817-410b43c02073" providerId="ADAL" clId="{FF858129-72AD-8A43-B1B7-C8F787667F52}" dt="2021-06-10T07:47:23.234" v="299" actId="20577"/>
        <pc:sldMkLst>
          <pc:docMk/>
          <pc:sldMk cId="2982312614" sldId="2556"/>
        </pc:sldMkLst>
        <pc:spChg chg="add del mod">
          <ac:chgData name="Miglani, Manisha" userId="dcd8ae44-efb6-4afd-b817-410b43c02073" providerId="ADAL" clId="{FF858129-72AD-8A43-B1B7-C8F787667F52}" dt="2021-06-10T07:47:07.334" v="293"/>
          <ac:spMkLst>
            <pc:docMk/>
            <pc:sldMk cId="2982312614" sldId="2556"/>
            <ac:spMk id="3" creationId="{61DA1414-54FB-134F-887A-F5624C1116CA}"/>
          </ac:spMkLst>
        </pc:spChg>
        <pc:spChg chg="mod">
          <ac:chgData name="Miglani, Manisha" userId="dcd8ae44-efb6-4afd-b817-410b43c02073" providerId="ADAL" clId="{FF858129-72AD-8A43-B1B7-C8F787667F52}" dt="2021-06-10T07:47:23.234" v="299" actId="20577"/>
          <ac:spMkLst>
            <pc:docMk/>
            <pc:sldMk cId="2982312614" sldId="2556"/>
            <ac:spMk id="4" creationId="{FED086C9-3B41-4B62-9689-885C02D351A8}"/>
          </ac:spMkLst>
        </pc:spChg>
        <pc:spChg chg="add del mod">
          <ac:chgData name="Miglani, Manisha" userId="dcd8ae44-efb6-4afd-b817-410b43c02073" providerId="ADAL" clId="{FF858129-72AD-8A43-B1B7-C8F787667F52}" dt="2021-06-10T07:47:20.966" v="298" actId="478"/>
          <ac:spMkLst>
            <pc:docMk/>
            <pc:sldMk cId="2982312614" sldId="2556"/>
            <ac:spMk id="5" creationId="{65746007-5D55-7745-BBAA-6BAB992B5180}"/>
          </ac:spMkLst>
        </pc:spChg>
      </pc:sldChg>
      <pc:sldChg chg="addSp delSp modSp mod">
        <pc:chgData name="Miglani, Manisha" userId="dcd8ae44-efb6-4afd-b817-410b43c02073" providerId="ADAL" clId="{FF858129-72AD-8A43-B1B7-C8F787667F52}" dt="2021-06-10T07:55:20.155" v="382"/>
        <pc:sldMkLst>
          <pc:docMk/>
          <pc:sldMk cId="3466712604" sldId="3216"/>
        </pc:sldMkLst>
        <pc:spChg chg="del">
          <ac:chgData name="Miglani, Manisha" userId="dcd8ae44-efb6-4afd-b817-410b43c02073" providerId="ADAL" clId="{FF858129-72AD-8A43-B1B7-C8F787667F52}" dt="2021-06-10T07:55:19.497" v="381" actId="478"/>
          <ac:spMkLst>
            <pc:docMk/>
            <pc:sldMk cId="3466712604" sldId="3216"/>
            <ac:spMk id="10" creationId="{289CA143-F1F3-E540-A41B-5021F927E02D}"/>
          </ac:spMkLst>
        </pc:spChg>
        <pc:spChg chg="add mod">
          <ac:chgData name="Miglani, Manisha" userId="dcd8ae44-efb6-4afd-b817-410b43c02073" providerId="ADAL" clId="{FF858129-72AD-8A43-B1B7-C8F787667F52}" dt="2021-06-10T07:55:20.155" v="382"/>
          <ac:spMkLst>
            <pc:docMk/>
            <pc:sldMk cId="3466712604" sldId="3216"/>
            <ac:spMk id="12" creationId="{41F0AAFF-08BD-914C-9740-CE66BBB4A916}"/>
          </ac:spMkLst>
        </pc:spChg>
        <pc:spChg chg="del">
          <ac:chgData name="Miglani, Manisha" userId="dcd8ae44-efb6-4afd-b817-410b43c02073" providerId="ADAL" clId="{FF858129-72AD-8A43-B1B7-C8F787667F52}" dt="2021-06-10T07:55:19.497" v="381" actId="478"/>
          <ac:spMkLst>
            <pc:docMk/>
            <pc:sldMk cId="3466712604" sldId="3216"/>
            <ac:spMk id="14" creationId="{F18F5AAE-A348-C641-82BB-44CC5B672D05}"/>
          </ac:spMkLst>
        </pc:spChg>
        <pc:spChg chg="add mod">
          <ac:chgData name="Miglani, Manisha" userId="dcd8ae44-efb6-4afd-b817-410b43c02073" providerId="ADAL" clId="{FF858129-72AD-8A43-B1B7-C8F787667F52}" dt="2021-06-10T07:55:20.155" v="382"/>
          <ac:spMkLst>
            <pc:docMk/>
            <pc:sldMk cId="3466712604" sldId="3216"/>
            <ac:spMk id="15" creationId="{E66B9AFD-7FA1-1244-91B1-A7450D2B5FA6}"/>
          </ac:spMkLst>
        </pc:spChg>
        <pc:spChg chg="del">
          <ac:chgData name="Miglani, Manisha" userId="dcd8ae44-efb6-4afd-b817-410b43c02073" providerId="ADAL" clId="{FF858129-72AD-8A43-B1B7-C8F787667F52}" dt="2021-06-10T07:55:19.497" v="381" actId="478"/>
          <ac:spMkLst>
            <pc:docMk/>
            <pc:sldMk cId="3466712604" sldId="3216"/>
            <ac:spMk id="17" creationId="{6A6750A5-E9A9-034E-8A72-E85F13951767}"/>
          </ac:spMkLst>
        </pc:spChg>
        <pc:graphicFrameChg chg="add mod">
          <ac:chgData name="Miglani, Manisha" userId="dcd8ae44-efb6-4afd-b817-410b43c02073" providerId="ADAL" clId="{FF858129-72AD-8A43-B1B7-C8F787667F52}" dt="2021-06-10T07:55:20.155" v="382"/>
          <ac:graphicFrameMkLst>
            <pc:docMk/>
            <pc:sldMk cId="3466712604" sldId="3216"/>
            <ac:graphicFrameMk id="8" creationId="{E7EA1307-7D5E-5649-AE4E-3C9DAFF4883F}"/>
          </ac:graphicFrameMkLst>
        </pc:graphicFrameChg>
        <pc:graphicFrameChg chg="add mod">
          <ac:chgData name="Miglani, Manisha" userId="dcd8ae44-efb6-4afd-b817-410b43c02073" providerId="ADAL" clId="{FF858129-72AD-8A43-B1B7-C8F787667F52}" dt="2021-06-10T07:55:20.155" v="382"/>
          <ac:graphicFrameMkLst>
            <pc:docMk/>
            <pc:sldMk cId="3466712604" sldId="3216"/>
            <ac:graphicFrameMk id="9" creationId="{0A84EB00-805A-4744-8DFA-F023C4EB1860}"/>
          </ac:graphicFrameMkLst>
        </pc:graphicFrameChg>
        <pc:graphicFrameChg chg="del">
          <ac:chgData name="Miglani, Manisha" userId="dcd8ae44-efb6-4afd-b817-410b43c02073" providerId="ADAL" clId="{FF858129-72AD-8A43-B1B7-C8F787667F52}" dt="2021-06-10T07:55:19.497" v="381" actId="478"/>
          <ac:graphicFrameMkLst>
            <pc:docMk/>
            <pc:sldMk cId="3466712604" sldId="3216"/>
            <ac:graphicFrameMk id="11" creationId="{345379B9-4CEA-471E-B515-131A0DB7C800}"/>
          </ac:graphicFrameMkLst>
        </pc:graphicFrameChg>
        <pc:graphicFrameChg chg="add mod">
          <ac:chgData name="Miglani, Manisha" userId="dcd8ae44-efb6-4afd-b817-410b43c02073" providerId="ADAL" clId="{FF858129-72AD-8A43-B1B7-C8F787667F52}" dt="2021-06-10T07:55:20.155" v="382"/>
          <ac:graphicFrameMkLst>
            <pc:docMk/>
            <pc:sldMk cId="3466712604" sldId="3216"/>
            <ac:graphicFrameMk id="13" creationId="{4616961D-9AC8-564A-A58A-1A45B60C7FE8}"/>
          </ac:graphicFrameMkLst>
        </pc:graphicFrameChg>
        <pc:graphicFrameChg chg="del">
          <ac:chgData name="Miglani, Manisha" userId="dcd8ae44-efb6-4afd-b817-410b43c02073" providerId="ADAL" clId="{FF858129-72AD-8A43-B1B7-C8F787667F52}" dt="2021-06-10T07:55:19.497" v="381" actId="478"/>
          <ac:graphicFrameMkLst>
            <pc:docMk/>
            <pc:sldMk cId="3466712604" sldId="3216"/>
            <ac:graphicFrameMk id="16" creationId="{1BCC724D-2B11-6749-9A74-6513D62F59CD}"/>
          </ac:graphicFrameMkLst>
        </pc:graphicFrameChg>
      </pc:sldChg>
      <pc:sldChg chg="addSp delSp modSp mod">
        <pc:chgData name="Miglani, Manisha" userId="dcd8ae44-efb6-4afd-b817-410b43c02073" providerId="ADAL" clId="{FF858129-72AD-8A43-B1B7-C8F787667F52}" dt="2021-06-10T07:49:33.045" v="303" actId="20577"/>
        <pc:sldMkLst>
          <pc:docMk/>
          <pc:sldMk cId="3546494222" sldId="11554"/>
        </pc:sldMkLst>
        <pc:spChg chg="del">
          <ac:chgData name="Miglani, Manisha" userId="dcd8ae44-efb6-4afd-b817-410b43c02073" providerId="ADAL" clId="{FF858129-72AD-8A43-B1B7-C8F787667F52}" dt="2021-06-09T12:23:33.163" v="36" actId="478"/>
          <ac:spMkLst>
            <pc:docMk/>
            <pc:sldMk cId="3546494222" sldId="11554"/>
            <ac:spMk id="2" creationId="{9C63963B-38E9-467B-8C59-220B863419EB}"/>
          </ac:spMkLst>
        </pc:spChg>
        <pc:spChg chg="add mod">
          <ac:chgData name="Miglani, Manisha" userId="dcd8ae44-efb6-4afd-b817-410b43c02073" providerId="ADAL" clId="{FF858129-72AD-8A43-B1B7-C8F787667F52}" dt="2021-06-09T12:23:31.187" v="35"/>
          <ac:spMkLst>
            <pc:docMk/>
            <pc:sldMk cId="3546494222" sldId="11554"/>
            <ac:spMk id="29" creationId="{4539E760-B30D-2C4E-9346-62E0275950C5}"/>
          </ac:spMkLst>
        </pc:spChg>
        <pc:spChg chg="mod">
          <ac:chgData name="Miglani, Manisha" userId="dcd8ae44-efb6-4afd-b817-410b43c02073" providerId="ADAL" clId="{FF858129-72AD-8A43-B1B7-C8F787667F52}" dt="2021-06-09T12:23:31.187" v="35"/>
          <ac:spMkLst>
            <pc:docMk/>
            <pc:sldMk cId="3546494222" sldId="11554"/>
            <ac:spMk id="33" creationId="{B18DE0DC-52EF-2640-A508-CDE661BBC24D}"/>
          </ac:spMkLst>
        </pc:spChg>
        <pc:spChg chg="mod">
          <ac:chgData name="Miglani, Manisha" userId="dcd8ae44-efb6-4afd-b817-410b43c02073" providerId="ADAL" clId="{FF858129-72AD-8A43-B1B7-C8F787667F52}" dt="2021-06-09T12:23:31.187" v="35"/>
          <ac:spMkLst>
            <pc:docMk/>
            <pc:sldMk cId="3546494222" sldId="11554"/>
            <ac:spMk id="34" creationId="{40CA4E35-A952-A34E-8929-9B2EE1AAD372}"/>
          </ac:spMkLst>
        </pc:spChg>
        <pc:spChg chg="mod">
          <ac:chgData name="Miglani, Manisha" userId="dcd8ae44-efb6-4afd-b817-410b43c02073" providerId="ADAL" clId="{FF858129-72AD-8A43-B1B7-C8F787667F52}" dt="2021-06-09T12:23:31.187" v="35"/>
          <ac:spMkLst>
            <pc:docMk/>
            <pc:sldMk cId="3546494222" sldId="11554"/>
            <ac:spMk id="35" creationId="{1419511B-8E9A-2B4A-AEC3-9CCA41294EE6}"/>
          </ac:spMkLst>
        </pc:spChg>
        <pc:spChg chg="mod">
          <ac:chgData name="Miglani, Manisha" userId="dcd8ae44-efb6-4afd-b817-410b43c02073" providerId="ADAL" clId="{FF858129-72AD-8A43-B1B7-C8F787667F52}" dt="2021-06-09T12:23:31.187" v="35"/>
          <ac:spMkLst>
            <pc:docMk/>
            <pc:sldMk cId="3546494222" sldId="11554"/>
            <ac:spMk id="36" creationId="{47F6869B-3355-3B44-8A29-6E0A9EBC7390}"/>
          </ac:spMkLst>
        </pc:spChg>
        <pc:spChg chg="mod">
          <ac:chgData name="Miglani, Manisha" userId="dcd8ae44-efb6-4afd-b817-410b43c02073" providerId="ADAL" clId="{FF858129-72AD-8A43-B1B7-C8F787667F52}" dt="2021-06-09T12:23:31.187" v="35"/>
          <ac:spMkLst>
            <pc:docMk/>
            <pc:sldMk cId="3546494222" sldId="11554"/>
            <ac:spMk id="37" creationId="{BB950FDA-B794-6D46-AB61-1F1EDF0FE660}"/>
          </ac:spMkLst>
        </pc:spChg>
        <pc:spChg chg="mod">
          <ac:chgData name="Miglani, Manisha" userId="dcd8ae44-efb6-4afd-b817-410b43c02073" providerId="ADAL" clId="{FF858129-72AD-8A43-B1B7-C8F787667F52}" dt="2021-06-09T12:23:31.187" v="35"/>
          <ac:spMkLst>
            <pc:docMk/>
            <pc:sldMk cId="3546494222" sldId="11554"/>
            <ac:spMk id="38" creationId="{4CBB3D5C-A0D9-3746-B8EC-A852C46419E6}"/>
          </ac:spMkLst>
        </pc:spChg>
        <pc:spChg chg="del">
          <ac:chgData name="Miglani, Manisha" userId="dcd8ae44-efb6-4afd-b817-410b43c02073" providerId="ADAL" clId="{FF858129-72AD-8A43-B1B7-C8F787667F52}" dt="2021-06-09T12:23:30.634" v="34" actId="478"/>
          <ac:spMkLst>
            <pc:docMk/>
            <pc:sldMk cId="3546494222" sldId="11554"/>
            <ac:spMk id="54" creationId="{297F75C8-028D-47BE-BB1D-8057C246A167}"/>
          </ac:spMkLst>
        </pc:spChg>
        <pc:grpChg chg="del">
          <ac:chgData name="Miglani, Manisha" userId="dcd8ae44-efb6-4afd-b817-410b43c02073" providerId="ADAL" clId="{FF858129-72AD-8A43-B1B7-C8F787667F52}" dt="2021-06-09T12:23:30.634" v="34" actId="478"/>
          <ac:grpSpMkLst>
            <pc:docMk/>
            <pc:sldMk cId="3546494222" sldId="11554"/>
            <ac:grpSpMk id="20" creationId="{E4FA0B5D-DC56-4D83-ABB6-9457F0EB2530}"/>
          </ac:grpSpMkLst>
        </pc:grpChg>
        <pc:grpChg chg="add mod">
          <ac:chgData name="Miglani, Manisha" userId="dcd8ae44-efb6-4afd-b817-410b43c02073" providerId="ADAL" clId="{FF858129-72AD-8A43-B1B7-C8F787667F52}" dt="2021-06-09T12:23:31.187" v="35"/>
          <ac:grpSpMkLst>
            <pc:docMk/>
            <pc:sldMk cId="3546494222" sldId="11554"/>
            <ac:grpSpMk id="30" creationId="{2E14913F-2BF1-9D47-8281-EF4E6573198B}"/>
          </ac:grpSpMkLst>
        </pc:grpChg>
        <pc:grpChg chg="mod">
          <ac:chgData name="Miglani, Manisha" userId="dcd8ae44-efb6-4afd-b817-410b43c02073" providerId="ADAL" clId="{FF858129-72AD-8A43-B1B7-C8F787667F52}" dt="2021-06-09T12:23:31.187" v="35"/>
          <ac:grpSpMkLst>
            <pc:docMk/>
            <pc:sldMk cId="3546494222" sldId="11554"/>
            <ac:grpSpMk id="31" creationId="{77B34ACC-C6DF-3245-B86A-F6A8A03D9C64}"/>
          </ac:grpSpMkLst>
        </pc:grpChg>
        <pc:grpChg chg="mod">
          <ac:chgData name="Miglani, Manisha" userId="dcd8ae44-efb6-4afd-b817-410b43c02073" providerId="ADAL" clId="{FF858129-72AD-8A43-B1B7-C8F787667F52}" dt="2021-06-09T12:23:31.187" v="35"/>
          <ac:grpSpMkLst>
            <pc:docMk/>
            <pc:sldMk cId="3546494222" sldId="11554"/>
            <ac:grpSpMk id="32" creationId="{E664655D-DB42-0D42-99A7-DA50FEDFD938}"/>
          </ac:grpSpMkLst>
        </pc:grpChg>
        <pc:graphicFrameChg chg="add mod modGraphic">
          <ac:chgData name="Miglani, Manisha" userId="dcd8ae44-efb6-4afd-b817-410b43c02073" providerId="ADAL" clId="{FF858129-72AD-8A43-B1B7-C8F787667F52}" dt="2021-06-10T07:49:33.045" v="303" actId="20577"/>
          <ac:graphicFrameMkLst>
            <pc:docMk/>
            <pc:sldMk cId="3546494222" sldId="11554"/>
            <ac:graphicFrameMk id="18" creationId="{83DB199F-0BE3-964A-965B-F7E9A126CF93}"/>
          </ac:graphicFrameMkLst>
        </pc:graphicFrameChg>
        <pc:graphicFrameChg chg="del">
          <ac:chgData name="Miglani, Manisha" userId="dcd8ae44-efb6-4afd-b817-410b43c02073" providerId="ADAL" clId="{FF858129-72AD-8A43-B1B7-C8F787667F52}" dt="2021-06-09T12:23:30.634" v="34" actId="478"/>
          <ac:graphicFrameMkLst>
            <pc:docMk/>
            <pc:sldMk cId="3546494222" sldId="11554"/>
            <ac:graphicFrameMk id="19" creationId="{E87C9A98-66CC-4C67-B439-7772C8FF375E}"/>
          </ac:graphicFrameMkLst>
        </pc:graphicFrameChg>
        <pc:graphicFrameChg chg="add mod">
          <ac:chgData name="Miglani, Manisha" userId="dcd8ae44-efb6-4afd-b817-410b43c02073" providerId="ADAL" clId="{FF858129-72AD-8A43-B1B7-C8F787667F52}" dt="2021-06-09T12:23:31.187" v="35"/>
          <ac:graphicFrameMkLst>
            <pc:docMk/>
            <pc:sldMk cId="3546494222" sldId="11554"/>
            <ac:graphicFrameMk id="39" creationId="{6AE50B53-6965-1F43-9BCC-4E79484DE822}"/>
          </ac:graphicFrameMkLst>
        </pc:graphicFrameChg>
        <pc:graphicFrameChg chg="del">
          <ac:chgData name="Miglani, Manisha" userId="dcd8ae44-efb6-4afd-b817-410b43c02073" providerId="ADAL" clId="{FF858129-72AD-8A43-B1B7-C8F787667F52}" dt="2021-06-09T12:23:30.634" v="34" actId="478"/>
          <ac:graphicFrameMkLst>
            <pc:docMk/>
            <pc:sldMk cId="3546494222" sldId="11554"/>
            <ac:graphicFrameMk id="52" creationId="{D3DDC5BE-81B4-42A1-90A2-8677A0E56CCE}"/>
          </ac:graphicFrameMkLst>
        </pc:graphicFrameChg>
      </pc:sldChg>
      <pc:sldMasterChg chg="modSp mod modSldLayout">
        <pc:chgData name="Miglani, Manisha" userId="dcd8ae44-efb6-4afd-b817-410b43c02073" providerId="ADAL" clId="{FF858129-72AD-8A43-B1B7-C8F787667F52}" dt="2021-06-10T07:54:57.280" v="380"/>
        <pc:sldMasterMkLst>
          <pc:docMk/>
          <pc:sldMasterMk cId="1230176099" sldId="2147483922"/>
        </pc:sldMasterMkLst>
        <pc:spChg chg="mod">
          <ac:chgData name="Miglani, Manisha" userId="dcd8ae44-efb6-4afd-b817-410b43c02073" providerId="ADAL" clId="{FF858129-72AD-8A43-B1B7-C8F787667F52}" dt="2021-06-10T07:54:42.548" v="374" actId="20577"/>
          <ac:spMkLst>
            <pc:docMk/>
            <pc:sldMasterMk cId="1230176099" sldId="2147483922"/>
            <ac:spMk id="18" creationId="{1D16FCDF-3375-46BB-91AD-1FE9E1A5D591}"/>
          </ac:spMkLst>
        </pc:spChg>
        <pc:spChg chg="mod">
          <ac:chgData name="Miglani, Manisha" userId="dcd8ae44-efb6-4afd-b817-410b43c02073" providerId="ADAL" clId="{FF858129-72AD-8A43-B1B7-C8F787667F52}" dt="2021-06-10T07:45:50.672" v="291" actId="20577"/>
          <ac:spMkLst>
            <pc:docMk/>
            <pc:sldMasterMk cId="1230176099" sldId="2147483922"/>
            <ac:spMk id="27" creationId="{2DDEC6A6-5FD2-46B6-BDBD-88ED631CB867}"/>
          </ac:spMkLst>
        </pc:spChg>
        <pc:sldLayoutChg chg="addSp delSp modSp mod">
          <pc:chgData name="Miglani, Manisha" userId="dcd8ae44-efb6-4afd-b817-410b43c02073" providerId="ADAL" clId="{FF858129-72AD-8A43-B1B7-C8F787667F52}" dt="2021-06-10T07:54:57.280" v="380"/>
          <pc:sldLayoutMkLst>
            <pc:docMk/>
            <pc:sldMasterMk cId="1230176099" sldId="2147483922"/>
            <pc:sldLayoutMk cId="3993003759" sldId="2147483932"/>
          </pc:sldLayoutMkLst>
          <pc:spChg chg="add mod">
            <ac:chgData name="Miglani, Manisha" userId="dcd8ae44-efb6-4afd-b817-410b43c02073" providerId="ADAL" clId="{FF858129-72AD-8A43-B1B7-C8F787667F52}" dt="2021-06-10T07:54:57.280" v="380"/>
            <ac:spMkLst>
              <pc:docMk/>
              <pc:sldMasterMk cId="1230176099" sldId="2147483922"/>
              <pc:sldLayoutMk cId="3993003759" sldId="2147483932"/>
              <ac:spMk id="8" creationId="{8D658493-64A4-344A-AC18-4CACCE7047C0}"/>
            </ac:spMkLst>
          </pc:spChg>
          <pc:spChg chg="del">
            <ac:chgData name="Miglani, Manisha" userId="dcd8ae44-efb6-4afd-b817-410b43c02073" providerId="ADAL" clId="{FF858129-72AD-8A43-B1B7-C8F787667F52}" dt="2021-06-10T07:54:56.813" v="379" actId="478"/>
            <ac:spMkLst>
              <pc:docMk/>
              <pc:sldMasterMk cId="1230176099" sldId="2147483922"/>
              <pc:sldLayoutMk cId="3993003759" sldId="2147483932"/>
              <ac:spMk id="10" creationId="{C24CAE84-458C-4A32-8808-B6BAE4C64345}"/>
            </ac:spMkLst>
          </pc:spChg>
        </pc:sldLayoutChg>
        <pc:sldLayoutChg chg="addSp delSp modSp mod">
          <pc:chgData name="Miglani, Manisha" userId="dcd8ae44-efb6-4afd-b817-410b43c02073" providerId="ADAL" clId="{FF858129-72AD-8A43-B1B7-C8F787667F52}" dt="2021-06-10T07:54:47.474" v="376"/>
          <pc:sldLayoutMkLst>
            <pc:docMk/>
            <pc:sldMasterMk cId="1230176099" sldId="2147483922"/>
            <pc:sldLayoutMk cId="4243662971" sldId="2147483960"/>
          </pc:sldLayoutMkLst>
          <pc:spChg chg="add mod">
            <ac:chgData name="Miglani, Manisha" userId="dcd8ae44-efb6-4afd-b817-410b43c02073" providerId="ADAL" clId="{FF858129-72AD-8A43-B1B7-C8F787667F52}" dt="2021-06-10T07:54:47.474" v="376"/>
            <ac:spMkLst>
              <pc:docMk/>
              <pc:sldMasterMk cId="1230176099" sldId="2147483922"/>
              <pc:sldLayoutMk cId="4243662971" sldId="2147483960"/>
              <ac:spMk id="9" creationId="{53896995-403B-6C46-98C4-9A4B2C268A4D}"/>
            </ac:spMkLst>
          </pc:spChg>
          <pc:spChg chg="del">
            <ac:chgData name="Miglani, Manisha" userId="dcd8ae44-efb6-4afd-b817-410b43c02073" providerId="ADAL" clId="{FF858129-72AD-8A43-B1B7-C8F787667F52}" dt="2021-06-10T07:54:47.029" v="375" actId="478"/>
            <ac:spMkLst>
              <pc:docMk/>
              <pc:sldMasterMk cId="1230176099" sldId="2147483922"/>
              <pc:sldLayoutMk cId="4243662971" sldId="2147483960"/>
              <ac:spMk id="10" creationId="{ED4F85C4-2535-4BDA-96BE-2E4A9FAE5ABA}"/>
            </ac:spMkLst>
          </pc:spChg>
        </pc:sldLayoutChg>
        <pc:sldLayoutChg chg="addSp delSp modSp mod">
          <pc:chgData name="Miglani, Manisha" userId="dcd8ae44-efb6-4afd-b817-410b43c02073" providerId="ADAL" clId="{FF858129-72AD-8A43-B1B7-C8F787667F52}" dt="2021-06-10T07:54:50.715" v="378"/>
          <pc:sldLayoutMkLst>
            <pc:docMk/>
            <pc:sldMasterMk cId="1230176099" sldId="2147483922"/>
            <pc:sldLayoutMk cId="170347070" sldId="2147483961"/>
          </pc:sldLayoutMkLst>
          <pc:spChg chg="del">
            <ac:chgData name="Miglani, Manisha" userId="dcd8ae44-efb6-4afd-b817-410b43c02073" providerId="ADAL" clId="{FF858129-72AD-8A43-B1B7-C8F787667F52}" dt="2021-06-10T07:54:50.280" v="377" actId="478"/>
            <ac:spMkLst>
              <pc:docMk/>
              <pc:sldMasterMk cId="1230176099" sldId="2147483922"/>
              <pc:sldLayoutMk cId="170347070" sldId="2147483961"/>
              <ac:spMk id="7" creationId="{6F0E423B-B734-4BF7-9271-4FA6731B773E}"/>
            </ac:spMkLst>
          </pc:spChg>
          <pc:spChg chg="add mod">
            <ac:chgData name="Miglani, Manisha" userId="dcd8ae44-efb6-4afd-b817-410b43c02073" providerId="ADAL" clId="{FF858129-72AD-8A43-B1B7-C8F787667F52}" dt="2021-06-10T07:54:50.715" v="378"/>
            <ac:spMkLst>
              <pc:docMk/>
              <pc:sldMasterMk cId="1230176099" sldId="2147483922"/>
              <pc:sldLayoutMk cId="170347070" sldId="2147483961"/>
              <ac:spMk id="9" creationId="{0171B772-E6A4-6748-8599-8EA6CC23C803}"/>
            </ac:spMkLst>
          </pc:spChg>
        </pc:sldLayoutChg>
        <pc:sldLayoutChg chg="modSp mod">
          <pc:chgData name="Miglani, Manisha" userId="dcd8ae44-efb6-4afd-b817-410b43c02073" providerId="ADAL" clId="{FF858129-72AD-8A43-B1B7-C8F787667F52}" dt="2021-06-10T07:54:33.168" v="371" actId="20577"/>
          <pc:sldLayoutMkLst>
            <pc:docMk/>
            <pc:sldMasterMk cId="1230176099" sldId="2147483922"/>
            <pc:sldLayoutMk cId="3512377394" sldId="2147483975"/>
          </pc:sldLayoutMkLst>
          <pc:spChg chg="mod">
            <ac:chgData name="Miglani, Manisha" userId="dcd8ae44-efb6-4afd-b817-410b43c02073" providerId="ADAL" clId="{FF858129-72AD-8A43-B1B7-C8F787667F52}" dt="2021-06-10T07:54:33.168" v="371" actId="20577"/>
            <ac:spMkLst>
              <pc:docMk/>
              <pc:sldMasterMk cId="1230176099" sldId="2147483922"/>
              <pc:sldLayoutMk cId="3512377394" sldId="2147483975"/>
              <ac:spMk id="16" creationId="{41749CDC-7165-4600-B762-218836453CD0}"/>
            </ac:spMkLst>
          </pc:spChg>
        </pc:sldLayoutChg>
      </pc:sldMasterChg>
    </pc:docChg>
  </pc:docChgLst>
  <pc:docChgLst>
    <pc:chgData name="Kumar, Sathish" userId="1d190e4f-7f91-4e76-b027-e1df0c971924" providerId="ADAL" clId="{D76F08C2-4ED7-9543-AE8F-9535F0527F40}"/>
    <pc:docChg chg="undo custSel modSld">
      <pc:chgData name="Kumar, Sathish" userId="1d190e4f-7f91-4e76-b027-e1df0c971924" providerId="ADAL" clId="{D76F08C2-4ED7-9543-AE8F-9535F0527F40}" dt="2021-06-10T08:41:48.173" v="23" actId="5900"/>
      <pc:docMkLst>
        <pc:docMk/>
      </pc:docMkLst>
      <pc:sldChg chg="addCm modCm">
        <pc:chgData name="Kumar, Sathish" userId="1d190e4f-7f91-4e76-b027-e1df0c971924" providerId="ADAL" clId="{D76F08C2-4ED7-9543-AE8F-9535F0527F40}" dt="2021-06-10T08:41:48.173" v="23" actId="5900"/>
        <pc:sldMkLst>
          <pc:docMk/>
          <pc:sldMk cId="1570553839" sldId="2552"/>
        </pc:sldMkLst>
      </pc:sldChg>
      <pc:sldChg chg="addCm modCm">
        <pc:chgData name="Kumar, Sathish" userId="1d190e4f-7f91-4e76-b027-e1df0c971924" providerId="ADAL" clId="{D76F08C2-4ED7-9543-AE8F-9535F0527F40}" dt="2021-06-10T08:38:18.087" v="2" actId="5900"/>
        <pc:sldMkLst>
          <pc:docMk/>
          <pc:sldMk cId="2982312614" sldId="2556"/>
        </pc:sldMkLst>
      </pc:sldChg>
      <pc:sldChg chg="addCm modCm">
        <pc:chgData name="Kumar, Sathish" userId="1d190e4f-7f91-4e76-b027-e1df0c971924" providerId="ADAL" clId="{D76F08C2-4ED7-9543-AE8F-9535F0527F40}" dt="2021-06-10T08:41:31.341" v="18"/>
        <pc:sldMkLst>
          <pc:docMk/>
          <pc:sldMk cId="0" sldId="3217"/>
        </pc:sldMkLst>
      </pc:sldChg>
      <pc:sldChg chg="addSp delSp modSp mod addCm delCm modCm">
        <pc:chgData name="Kumar, Sathish" userId="1d190e4f-7f91-4e76-b027-e1df0c971924" providerId="ADAL" clId="{D76F08C2-4ED7-9543-AE8F-9535F0527F40}" dt="2021-06-10T08:41:35.225" v="20" actId="1592"/>
        <pc:sldMkLst>
          <pc:docMk/>
          <pc:sldMk cId="3546494222" sldId="11554"/>
        </pc:sldMkLst>
        <pc:spChg chg="add mod">
          <ac:chgData name="Kumar, Sathish" userId="1d190e4f-7f91-4e76-b027-e1df0c971924" providerId="ADAL" clId="{D76F08C2-4ED7-9543-AE8F-9535F0527F40}" dt="2021-06-10T08:39:17.334" v="11"/>
          <ac:spMkLst>
            <pc:docMk/>
            <pc:sldMk cId="3546494222" sldId="11554"/>
            <ac:spMk id="17" creationId="{6D96B35A-9F18-5343-892B-ECFA46BD77C3}"/>
          </ac:spMkLst>
        </pc:spChg>
        <pc:spChg chg="del mod">
          <ac:chgData name="Kumar, Sathish" userId="1d190e4f-7f91-4e76-b027-e1df0c971924" providerId="ADAL" clId="{D76F08C2-4ED7-9543-AE8F-9535F0527F40}" dt="2021-06-10T08:39:16.573" v="10" actId="478"/>
          <ac:spMkLst>
            <pc:docMk/>
            <pc:sldMk cId="3546494222" sldId="11554"/>
            <ac:spMk id="29" creationId="{4539E760-B30D-2C4E-9346-62E0275950C5}"/>
          </ac:spMkLst>
        </pc:spChg>
      </pc:sldChg>
    </pc:docChg>
  </pc:docChgLst>
  <pc:docChgLst>
    <pc:chgData name="Mehrishi, Rachita" userId="fa158cc3-2086-4465-af0d-33748a7cba3e" providerId="ADAL" clId="{25F40B30-07D8-473A-9522-D2446F831A16}"/>
    <pc:docChg chg="modSld">
      <pc:chgData name="Mehrishi, Rachita" userId="fa158cc3-2086-4465-af0d-33748a7cba3e" providerId="ADAL" clId="{25F40B30-07D8-473A-9522-D2446F831A16}" dt="2021-05-27T11:17:38.213" v="5" actId="20577"/>
      <pc:docMkLst>
        <pc:docMk/>
      </pc:docMkLst>
      <pc:sldChg chg="modSp mod">
        <pc:chgData name="Mehrishi, Rachita" userId="fa158cc3-2086-4465-af0d-33748a7cba3e" providerId="ADAL" clId="{25F40B30-07D8-473A-9522-D2446F831A16}" dt="2021-05-27T11:17:38.213" v="5" actId="20577"/>
        <pc:sldMkLst>
          <pc:docMk/>
          <pc:sldMk cId="1570553839" sldId="2552"/>
        </pc:sldMkLst>
        <pc:spChg chg="mod">
          <ac:chgData name="Mehrishi, Rachita" userId="fa158cc3-2086-4465-af0d-33748a7cba3e" providerId="ADAL" clId="{25F40B30-07D8-473A-9522-D2446F831A16}" dt="2021-05-27T11:17:38.213" v="5" actId="20577"/>
          <ac:spMkLst>
            <pc:docMk/>
            <pc:sldMk cId="1570553839" sldId="2552"/>
            <ac:spMk id="205" creationId="{0D61221F-8FF4-44D5-9ED3-810E5B608119}"/>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3036888" cy="465138"/>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lvl1pPr defTabSz="931863">
              <a:buClrTx/>
              <a:buSzTx/>
              <a:buFontTx/>
              <a:buNone/>
              <a:defRPr sz="1200">
                <a:latin typeface="Times New Roman" pitchFamily="18" charset="0"/>
                <a:cs typeface="+mn-cs"/>
              </a:defRPr>
            </a:lvl1pPr>
          </a:lstStyle>
          <a:p>
            <a:pPr>
              <a:defRPr/>
            </a:pPr>
            <a:endParaRPr lang="en-US" altLang="en-US"/>
          </a:p>
        </p:txBody>
      </p:sp>
      <p:sp>
        <p:nvSpPr>
          <p:cNvPr id="10243" name="Rectangle 3"/>
          <p:cNvSpPr>
            <a:spLocks noGrp="1" noChangeArrowheads="1"/>
          </p:cNvSpPr>
          <p:nvPr>
            <p:ph type="dt" sz="quarter" idx="1"/>
          </p:nvPr>
        </p:nvSpPr>
        <p:spPr bwMode="auto">
          <a:xfrm>
            <a:off x="3973513" y="0"/>
            <a:ext cx="3036887" cy="465138"/>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lvl1pPr algn="r" defTabSz="931863">
              <a:buClrTx/>
              <a:buSzTx/>
              <a:buFontTx/>
              <a:buNone/>
              <a:defRPr sz="1200">
                <a:latin typeface="Times New Roman" pitchFamily="18" charset="0"/>
                <a:cs typeface="+mn-cs"/>
              </a:defRPr>
            </a:lvl1pPr>
          </a:lstStyle>
          <a:p>
            <a:pPr>
              <a:defRPr/>
            </a:pPr>
            <a:fld id="{50407464-4171-4BF8-BD2C-8BDAC8194E7E}" type="datetime1">
              <a:rPr lang="en-US" altLang="en-US"/>
              <a:pPr>
                <a:defRPr/>
              </a:pPr>
              <a:t>6/11/21</a:t>
            </a:fld>
            <a:endParaRPr lang="en-US" altLang="en-US"/>
          </a:p>
        </p:txBody>
      </p:sp>
      <p:sp>
        <p:nvSpPr>
          <p:cNvPr id="10244" name="Rectangle 4"/>
          <p:cNvSpPr>
            <a:spLocks noGrp="1" noChangeArrowheads="1"/>
          </p:cNvSpPr>
          <p:nvPr>
            <p:ph type="ftr" sz="quarter" idx="2"/>
          </p:nvPr>
        </p:nvSpPr>
        <p:spPr bwMode="auto">
          <a:xfrm>
            <a:off x="0" y="8831263"/>
            <a:ext cx="3036888" cy="465137"/>
          </a:xfrm>
          <a:prstGeom prst="rect">
            <a:avLst/>
          </a:prstGeom>
          <a:noFill/>
          <a:ln w="9525">
            <a:noFill/>
            <a:miter lim="800000"/>
            <a:headEnd/>
            <a:tailEnd/>
          </a:ln>
          <a:effectLst/>
        </p:spPr>
        <p:txBody>
          <a:bodyPr vert="horz" wrap="square" lIns="93133" tIns="46568" rIns="93133" bIns="46568" numCol="1" anchor="b" anchorCtr="0" compatLnSpc="1">
            <a:prstTxWarp prst="textNoShape">
              <a:avLst/>
            </a:prstTxWarp>
          </a:bodyPr>
          <a:lstStyle>
            <a:lvl1pPr defTabSz="931863">
              <a:buClrTx/>
              <a:buSzTx/>
              <a:buFontTx/>
              <a:buNone/>
              <a:defRPr sz="1200">
                <a:latin typeface="Times New Roman" pitchFamily="18" charset="0"/>
                <a:cs typeface="+mn-cs"/>
              </a:defRPr>
            </a:lvl1pPr>
          </a:lstStyle>
          <a:p>
            <a:pPr>
              <a:defRPr/>
            </a:pPr>
            <a:endParaRPr lang="en-US" altLang="en-US"/>
          </a:p>
        </p:txBody>
      </p:sp>
      <p:sp>
        <p:nvSpPr>
          <p:cNvPr id="10245" name="Rectangle 5"/>
          <p:cNvSpPr>
            <a:spLocks noGrp="1" noChangeArrowheads="1"/>
          </p:cNvSpPr>
          <p:nvPr>
            <p:ph type="sldNum" sz="quarter" idx="3"/>
          </p:nvPr>
        </p:nvSpPr>
        <p:spPr bwMode="auto">
          <a:xfrm>
            <a:off x="3973513" y="8831263"/>
            <a:ext cx="3036887" cy="465137"/>
          </a:xfrm>
          <a:prstGeom prst="rect">
            <a:avLst/>
          </a:prstGeom>
          <a:noFill/>
          <a:ln w="9525">
            <a:noFill/>
            <a:miter lim="800000"/>
            <a:headEnd/>
            <a:tailEnd/>
          </a:ln>
          <a:effectLst/>
        </p:spPr>
        <p:txBody>
          <a:bodyPr vert="horz" wrap="square" lIns="93133" tIns="46568" rIns="93133" bIns="46568" numCol="1" anchor="b" anchorCtr="0" compatLnSpc="1">
            <a:prstTxWarp prst="textNoShape">
              <a:avLst/>
            </a:prstTxWarp>
          </a:bodyPr>
          <a:lstStyle>
            <a:lvl1pPr algn="r" defTabSz="931863">
              <a:buClrTx/>
              <a:buSzTx/>
              <a:buFontTx/>
              <a:buNone/>
              <a:defRPr sz="1200">
                <a:latin typeface="Times New Roman" pitchFamily="18" charset="0"/>
                <a:cs typeface="+mn-cs"/>
              </a:defRPr>
            </a:lvl1pPr>
          </a:lstStyle>
          <a:p>
            <a:pPr>
              <a:defRPr/>
            </a:pPr>
            <a:fld id="{1C4CF220-916D-4E8E-BB9E-26A92054228B}" type="slidenum">
              <a:rPr lang="en-US" altLang="en-US"/>
              <a:pPr>
                <a:defRPr/>
              </a:pPr>
              <a:t>‹#›</a:t>
            </a:fld>
            <a:endParaRPr lang="en-US" altLang="en-US"/>
          </a:p>
        </p:txBody>
      </p:sp>
    </p:spTree>
    <p:extLst>
      <p:ext uri="{BB962C8B-B14F-4D97-AF65-F5344CB8AC3E}">
        <p14:creationId xmlns:p14="http://schemas.microsoft.com/office/powerpoint/2010/main" val="21616484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6888" cy="465138"/>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lvl1pPr defTabSz="931863">
              <a:buClrTx/>
              <a:buSzTx/>
              <a:buFontTx/>
              <a:buNone/>
              <a:defRPr sz="1200">
                <a:latin typeface="Times New Roman" pitchFamily="18" charset="0"/>
                <a:cs typeface="+mn-cs"/>
              </a:defRPr>
            </a:lvl1pPr>
          </a:lstStyle>
          <a:p>
            <a:pPr>
              <a:defRPr/>
            </a:pPr>
            <a:endParaRPr lang="en-US" altLang="en-US"/>
          </a:p>
        </p:txBody>
      </p:sp>
      <p:sp>
        <p:nvSpPr>
          <p:cNvPr id="4099" name="Rectangle 3"/>
          <p:cNvSpPr>
            <a:spLocks noGrp="1" noChangeArrowheads="1"/>
          </p:cNvSpPr>
          <p:nvPr>
            <p:ph type="dt" idx="1"/>
          </p:nvPr>
        </p:nvSpPr>
        <p:spPr bwMode="auto">
          <a:xfrm>
            <a:off x="3973513" y="0"/>
            <a:ext cx="3036887" cy="465138"/>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lvl1pPr algn="r" defTabSz="931863">
              <a:buClrTx/>
              <a:buSzTx/>
              <a:buFontTx/>
              <a:buNone/>
              <a:defRPr sz="1200">
                <a:latin typeface="Times New Roman" pitchFamily="18" charset="0"/>
                <a:cs typeface="+mn-cs"/>
              </a:defRPr>
            </a:lvl1pPr>
          </a:lstStyle>
          <a:p>
            <a:pPr>
              <a:defRPr/>
            </a:pPr>
            <a:fld id="{1E169CEB-7241-42C5-BD57-015FB497C1C3}" type="datetime1">
              <a:rPr lang="en-US" altLang="en-US"/>
              <a:pPr>
                <a:defRPr/>
              </a:pPr>
              <a:t>6/11/21</a:t>
            </a:fld>
            <a:endParaRPr lang="en-US" altLang="en-US"/>
          </a:p>
        </p:txBody>
      </p:sp>
      <p:sp>
        <p:nvSpPr>
          <p:cNvPr id="45060" name="Rectangle 4"/>
          <p:cNvSpPr>
            <a:spLocks noGrp="1" noRot="1" noChangeAspect="1" noChangeArrowheads="1" noTextEdit="1"/>
          </p:cNvSpPr>
          <p:nvPr>
            <p:ph type="sldImg" idx="2"/>
          </p:nvPr>
        </p:nvSpPr>
        <p:spPr bwMode="auto">
          <a:xfrm>
            <a:off x="407988" y="696913"/>
            <a:ext cx="6197600" cy="348615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33450" y="4414838"/>
            <a:ext cx="5143500" cy="4184650"/>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4102" name="Rectangle 6"/>
          <p:cNvSpPr>
            <a:spLocks noGrp="1" noChangeArrowheads="1"/>
          </p:cNvSpPr>
          <p:nvPr>
            <p:ph type="ftr" sz="quarter" idx="4"/>
          </p:nvPr>
        </p:nvSpPr>
        <p:spPr bwMode="auto">
          <a:xfrm>
            <a:off x="0" y="8831263"/>
            <a:ext cx="3036888" cy="465137"/>
          </a:xfrm>
          <a:prstGeom prst="rect">
            <a:avLst/>
          </a:prstGeom>
          <a:noFill/>
          <a:ln w="9525">
            <a:noFill/>
            <a:miter lim="800000"/>
            <a:headEnd/>
            <a:tailEnd/>
          </a:ln>
          <a:effectLst/>
        </p:spPr>
        <p:txBody>
          <a:bodyPr vert="horz" wrap="square" lIns="93133" tIns="46568" rIns="93133" bIns="46568" numCol="1" anchor="b" anchorCtr="0" compatLnSpc="1">
            <a:prstTxWarp prst="textNoShape">
              <a:avLst/>
            </a:prstTxWarp>
          </a:bodyPr>
          <a:lstStyle>
            <a:lvl1pPr defTabSz="931863">
              <a:buClrTx/>
              <a:buSzTx/>
              <a:buFontTx/>
              <a:buNone/>
              <a:defRPr sz="1200">
                <a:latin typeface="Times New Roman" pitchFamily="18" charset="0"/>
                <a:cs typeface="+mn-cs"/>
              </a:defRPr>
            </a:lvl1pPr>
          </a:lstStyle>
          <a:p>
            <a:pPr>
              <a:defRPr/>
            </a:pPr>
            <a:endParaRPr lang="en-US" altLang="en-US"/>
          </a:p>
        </p:txBody>
      </p:sp>
      <p:sp>
        <p:nvSpPr>
          <p:cNvPr id="4103" name="Rectangle 7"/>
          <p:cNvSpPr>
            <a:spLocks noGrp="1" noChangeArrowheads="1"/>
          </p:cNvSpPr>
          <p:nvPr>
            <p:ph type="sldNum" sz="quarter" idx="5"/>
          </p:nvPr>
        </p:nvSpPr>
        <p:spPr bwMode="auto">
          <a:xfrm>
            <a:off x="3973513" y="8831263"/>
            <a:ext cx="3036887" cy="465137"/>
          </a:xfrm>
          <a:prstGeom prst="rect">
            <a:avLst/>
          </a:prstGeom>
          <a:noFill/>
          <a:ln w="9525">
            <a:noFill/>
            <a:miter lim="800000"/>
            <a:headEnd/>
            <a:tailEnd/>
          </a:ln>
          <a:effectLst/>
        </p:spPr>
        <p:txBody>
          <a:bodyPr vert="horz" wrap="square" lIns="93133" tIns="46568" rIns="93133" bIns="46568" numCol="1" anchor="b" anchorCtr="0" compatLnSpc="1">
            <a:prstTxWarp prst="textNoShape">
              <a:avLst/>
            </a:prstTxWarp>
          </a:bodyPr>
          <a:lstStyle>
            <a:lvl1pPr algn="r" defTabSz="931863">
              <a:buClrTx/>
              <a:buSzTx/>
              <a:buFontTx/>
              <a:buNone/>
              <a:defRPr sz="1200">
                <a:latin typeface="Times New Roman" pitchFamily="18" charset="0"/>
                <a:cs typeface="+mn-cs"/>
              </a:defRPr>
            </a:lvl1pPr>
          </a:lstStyle>
          <a:p>
            <a:pPr>
              <a:defRPr/>
            </a:pPr>
            <a:fld id="{9B02FACB-859A-4BF5-A3BF-807104680974}" type="slidenum">
              <a:rPr lang="en-US" altLang="en-US"/>
              <a:pPr>
                <a:defRPr/>
              </a:pPr>
              <a:t>‹#›</a:t>
            </a:fld>
            <a:endParaRPr lang="en-US" altLang="en-US"/>
          </a:p>
        </p:txBody>
      </p:sp>
    </p:spTree>
    <p:extLst>
      <p:ext uri="{BB962C8B-B14F-4D97-AF65-F5344CB8AC3E}">
        <p14:creationId xmlns:p14="http://schemas.microsoft.com/office/powerpoint/2010/main" val="3394289828"/>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7600" cy="34861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a:defRPr/>
            </a:pPr>
            <a:fld id="{2CBF953E-0C94-4B8C-8A02-E9255644BE97}" type="datetime1">
              <a:rPr lang="en-US" altLang="en-US" smtClean="0"/>
              <a:pPr>
                <a:defRPr/>
              </a:pPr>
              <a:t>6/11/21</a:t>
            </a:fld>
            <a:endParaRPr lang="en-US" altLang="en-US"/>
          </a:p>
        </p:txBody>
      </p:sp>
      <p:sp>
        <p:nvSpPr>
          <p:cNvPr id="5" name="Slide Number Placeholder 4"/>
          <p:cNvSpPr>
            <a:spLocks noGrp="1"/>
          </p:cNvSpPr>
          <p:nvPr>
            <p:ph type="sldNum" sz="quarter" idx="11"/>
          </p:nvPr>
        </p:nvSpPr>
        <p:spPr/>
        <p:txBody>
          <a:bodyPr/>
          <a:lstStyle/>
          <a:p>
            <a:pPr>
              <a:defRPr/>
            </a:pPr>
            <a:fld id="{F14ED6DD-8C02-41CD-992D-DB8C64603FEF}" type="slidenum">
              <a:rPr lang="en-US" altLang="en-US" smtClean="0"/>
              <a:pPr>
                <a:defRPr/>
              </a:pPr>
              <a:t>1</a:t>
            </a:fld>
            <a:endParaRPr lang="en-US" altLang="en-US"/>
          </a:p>
        </p:txBody>
      </p:sp>
    </p:spTree>
    <p:extLst>
      <p:ext uri="{BB962C8B-B14F-4D97-AF65-F5344CB8AC3E}">
        <p14:creationId xmlns:p14="http://schemas.microsoft.com/office/powerpoint/2010/main" val="3069093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a:defRPr/>
            </a:pPr>
            <a:fld id="{1E169CEB-7241-42C5-BD57-015FB497C1C3}" type="datetime1">
              <a:rPr lang="en-US" altLang="en-US" smtClean="0"/>
              <a:pPr>
                <a:defRPr/>
              </a:pPr>
              <a:t>6/11/21</a:t>
            </a:fld>
            <a:endParaRPr lang="en-US" altLang="en-US"/>
          </a:p>
        </p:txBody>
      </p:sp>
      <p:sp>
        <p:nvSpPr>
          <p:cNvPr id="5" name="Slide Number Placeholder 4"/>
          <p:cNvSpPr>
            <a:spLocks noGrp="1"/>
          </p:cNvSpPr>
          <p:nvPr>
            <p:ph type="sldNum" sz="quarter" idx="5"/>
          </p:nvPr>
        </p:nvSpPr>
        <p:spPr/>
        <p:txBody>
          <a:bodyPr/>
          <a:lstStyle/>
          <a:p>
            <a:pPr>
              <a:defRPr/>
            </a:pPr>
            <a:fld id="{9B02FACB-859A-4BF5-A3BF-807104680974}" type="slidenum">
              <a:rPr lang="en-US" altLang="en-US" smtClean="0"/>
              <a:pPr>
                <a:defRPr/>
              </a:pPr>
              <a:t>2</a:t>
            </a:fld>
            <a:endParaRPr lang="en-US" altLang="en-US"/>
          </a:p>
        </p:txBody>
      </p:sp>
    </p:spTree>
    <p:extLst>
      <p:ext uri="{BB962C8B-B14F-4D97-AF65-F5344CB8AC3E}">
        <p14:creationId xmlns:p14="http://schemas.microsoft.com/office/powerpoint/2010/main" val="2317559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dt" sz="quarter" idx="1"/>
          </p:nvPr>
        </p:nvSpPr>
        <p:spPr/>
        <p:txBody>
          <a:bodyPr/>
          <a:lstStyle/>
          <a:p>
            <a:pPr marL="0" marR="0" lvl="0" indent="0" algn="r" defTabSz="931863" rtl="0" eaLnBrk="1" fontAlgn="base" latinLnBrk="0" hangingPunct="1">
              <a:lnSpc>
                <a:spcPct val="100000"/>
              </a:lnSpc>
              <a:spcBef>
                <a:spcPct val="0"/>
              </a:spcBef>
              <a:spcAft>
                <a:spcPct val="0"/>
              </a:spcAft>
              <a:buClr>
                <a:srgbClr val="4F81BD"/>
              </a:buClr>
              <a:buSzTx/>
              <a:buFontTx/>
              <a:buNone/>
              <a:tabLst/>
              <a:defRPr/>
            </a:pPr>
            <a:fld id="{E0AD1FF3-D553-4921-954A-494738CA64E8}" type="datetime1">
              <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rPr>
              <a:pPr marL="0" marR="0" lvl="0" indent="0" algn="r" defTabSz="931863" rtl="0" eaLnBrk="1" fontAlgn="base" latinLnBrk="0" hangingPunct="1">
                <a:lnSpc>
                  <a:spcPct val="100000"/>
                </a:lnSpc>
                <a:spcBef>
                  <a:spcPct val="0"/>
                </a:spcBef>
                <a:spcAft>
                  <a:spcPct val="0"/>
                </a:spcAft>
                <a:buClr>
                  <a:srgbClr val="4F81BD"/>
                </a:buClr>
                <a:buSzTx/>
                <a:buFontTx/>
                <a:buNone/>
                <a:tabLst/>
                <a:defRPr/>
              </a:pPr>
              <a:t>6/11/21</a:t>
            </a:fld>
            <a:endPar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46083" name="Rectangle 7"/>
          <p:cNvSpPr>
            <a:spLocks noGrp="1" noChangeArrowheads="1"/>
          </p:cNvSpPr>
          <p:nvPr>
            <p:ph type="sldNum" sz="quarter" idx="5"/>
          </p:nvPr>
        </p:nvSpPr>
        <p:spPr/>
        <p:txBody>
          <a:bodyPr/>
          <a:lstStyle/>
          <a:p>
            <a:pPr marL="0" marR="0" lvl="0" indent="0" algn="r" defTabSz="931863" rtl="0" eaLnBrk="1" fontAlgn="base" latinLnBrk="0" hangingPunct="1">
              <a:lnSpc>
                <a:spcPct val="100000"/>
              </a:lnSpc>
              <a:spcBef>
                <a:spcPct val="0"/>
              </a:spcBef>
              <a:spcAft>
                <a:spcPct val="0"/>
              </a:spcAft>
              <a:buClr>
                <a:srgbClr val="4F81BD"/>
              </a:buClr>
              <a:buSzTx/>
              <a:buFontTx/>
              <a:buNone/>
              <a:tabLst/>
              <a:defRPr/>
            </a:pPr>
            <a:fld id="{5F981E48-85CE-400C-8ED8-73993DD504EF}" type="slidenum">
              <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rPr>
              <a:pPr marL="0" marR="0" lvl="0" indent="0" algn="r" defTabSz="931863" rtl="0" eaLnBrk="1" fontAlgn="base" latinLnBrk="0" hangingPunct="1">
                <a:lnSpc>
                  <a:spcPct val="100000"/>
                </a:lnSpc>
                <a:spcBef>
                  <a:spcPct val="0"/>
                </a:spcBef>
                <a:spcAft>
                  <a:spcPct val="0"/>
                </a:spcAft>
                <a:buClr>
                  <a:srgbClr val="4F81BD"/>
                </a:buClr>
                <a:buSzTx/>
                <a:buFontTx/>
                <a:buNone/>
                <a:tabLst/>
                <a:defRPr/>
              </a:pPr>
              <a:t>3</a:t>
            </a:fld>
            <a:endPar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48132" name="Rectangle 2"/>
          <p:cNvSpPr>
            <a:spLocks noGrp="1" noRot="1" noChangeAspect="1" noChangeArrowheads="1" noTextEdit="1"/>
          </p:cNvSpPr>
          <p:nvPr>
            <p:ph type="sldImg"/>
          </p:nvPr>
        </p:nvSpPr>
        <p:spPr>
          <a:xfrm>
            <a:off x="409575" y="696913"/>
            <a:ext cx="6197600" cy="3487737"/>
          </a:xfrm>
          <a:ln/>
        </p:spPr>
      </p:sp>
      <p:sp>
        <p:nvSpPr>
          <p:cNvPr id="48133" name="Rectangle 3"/>
          <p:cNvSpPr>
            <a:spLocks noGrp="1" noChangeArrowheads="1"/>
          </p:cNvSpPr>
          <p:nvPr>
            <p:ph type="body" idx="1"/>
          </p:nvPr>
        </p:nvSpPr>
        <p:spPr>
          <a:xfrm>
            <a:off x="931863" y="4416425"/>
            <a:ext cx="5146675" cy="4183063"/>
          </a:xfrm>
          <a:noFill/>
          <a:ln/>
        </p:spPr>
        <p:txBody>
          <a:bodyPr/>
          <a:lstStyle/>
          <a:p>
            <a:pPr eaLnBrk="1" hangingPunct="1"/>
            <a:endParaRPr lang="en-CA"/>
          </a:p>
        </p:txBody>
      </p:sp>
    </p:spTree>
    <p:extLst>
      <p:ext uri="{BB962C8B-B14F-4D97-AF65-F5344CB8AC3E}">
        <p14:creationId xmlns:p14="http://schemas.microsoft.com/office/powerpoint/2010/main" val="27744757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dt" sz="quarter" idx="1"/>
          </p:nvPr>
        </p:nvSpPr>
        <p:spPr/>
        <p:txBody>
          <a:bodyPr/>
          <a:lstStyle/>
          <a:p>
            <a:pPr marL="0" marR="0" lvl="0" indent="0" algn="r" defTabSz="931863" rtl="0" eaLnBrk="1" fontAlgn="base" latinLnBrk="0" hangingPunct="1">
              <a:lnSpc>
                <a:spcPct val="100000"/>
              </a:lnSpc>
              <a:spcBef>
                <a:spcPct val="0"/>
              </a:spcBef>
              <a:spcAft>
                <a:spcPct val="0"/>
              </a:spcAft>
              <a:buClr>
                <a:srgbClr val="4F81BD"/>
              </a:buClr>
              <a:buSzTx/>
              <a:buFontTx/>
              <a:buNone/>
              <a:tabLst/>
              <a:defRPr/>
            </a:pPr>
            <a:fld id="{E0AD1FF3-D553-4921-954A-494738CA64E8}" type="datetime1">
              <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rPr>
              <a:pPr marL="0" marR="0" lvl="0" indent="0" algn="r" defTabSz="931863" rtl="0" eaLnBrk="1" fontAlgn="base" latinLnBrk="0" hangingPunct="1">
                <a:lnSpc>
                  <a:spcPct val="100000"/>
                </a:lnSpc>
                <a:spcBef>
                  <a:spcPct val="0"/>
                </a:spcBef>
                <a:spcAft>
                  <a:spcPct val="0"/>
                </a:spcAft>
                <a:buClr>
                  <a:srgbClr val="4F81BD"/>
                </a:buClr>
                <a:buSzTx/>
                <a:buFontTx/>
                <a:buNone/>
                <a:tabLst/>
                <a:defRPr/>
              </a:pPr>
              <a:t>6/11/21</a:t>
            </a:fld>
            <a:endPar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46083" name="Rectangle 7"/>
          <p:cNvSpPr>
            <a:spLocks noGrp="1" noChangeArrowheads="1"/>
          </p:cNvSpPr>
          <p:nvPr>
            <p:ph type="sldNum" sz="quarter" idx="5"/>
          </p:nvPr>
        </p:nvSpPr>
        <p:spPr/>
        <p:txBody>
          <a:bodyPr/>
          <a:lstStyle/>
          <a:p>
            <a:pPr marL="0" marR="0" lvl="0" indent="0" algn="r" defTabSz="931863" rtl="0" eaLnBrk="1" fontAlgn="base" latinLnBrk="0" hangingPunct="1">
              <a:lnSpc>
                <a:spcPct val="100000"/>
              </a:lnSpc>
              <a:spcBef>
                <a:spcPct val="0"/>
              </a:spcBef>
              <a:spcAft>
                <a:spcPct val="0"/>
              </a:spcAft>
              <a:buClr>
                <a:srgbClr val="4F81BD"/>
              </a:buClr>
              <a:buSzTx/>
              <a:buFontTx/>
              <a:buNone/>
              <a:tabLst/>
              <a:defRPr/>
            </a:pPr>
            <a:fld id="{5F981E48-85CE-400C-8ED8-73993DD504EF}" type="slidenum">
              <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rPr>
              <a:pPr marL="0" marR="0" lvl="0" indent="0" algn="r" defTabSz="931863" rtl="0" eaLnBrk="1" fontAlgn="base" latinLnBrk="0" hangingPunct="1">
                <a:lnSpc>
                  <a:spcPct val="100000"/>
                </a:lnSpc>
                <a:spcBef>
                  <a:spcPct val="0"/>
                </a:spcBef>
                <a:spcAft>
                  <a:spcPct val="0"/>
                </a:spcAft>
                <a:buClr>
                  <a:srgbClr val="4F81BD"/>
                </a:buClr>
                <a:buSzTx/>
                <a:buFontTx/>
                <a:buNone/>
                <a:tabLst/>
                <a:defRPr/>
              </a:pPr>
              <a:t>4</a:t>
            </a:fld>
            <a:endPar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48132" name="Rectangle 2"/>
          <p:cNvSpPr>
            <a:spLocks noGrp="1" noRot="1" noChangeAspect="1" noChangeArrowheads="1" noTextEdit="1"/>
          </p:cNvSpPr>
          <p:nvPr>
            <p:ph type="sldImg"/>
          </p:nvPr>
        </p:nvSpPr>
        <p:spPr>
          <a:xfrm>
            <a:off x="409575" y="696913"/>
            <a:ext cx="6197600" cy="3487737"/>
          </a:xfrm>
          <a:ln/>
        </p:spPr>
      </p:sp>
      <p:sp>
        <p:nvSpPr>
          <p:cNvPr id="48133" name="Rectangle 3"/>
          <p:cNvSpPr>
            <a:spLocks noGrp="1" noChangeArrowheads="1"/>
          </p:cNvSpPr>
          <p:nvPr>
            <p:ph type="body" idx="1"/>
          </p:nvPr>
        </p:nvSpPr>
        <p:spPr>
          <a:xfrm>
            <a:off x="931863" y="4416425"/>
            <a:ext cx="5146675" cy="4183063"/>
          </a:xfrm>
          <a:noFill/>
          <a:ln/>
        </p:spPr>
        <p:txBody>
          <a:bodyPr/>
          <a:lstStyle/>
          <a:p>
            <a:pPr eaLnBrk="1" hangingPunct="1"/>
            <a:endParaRPr lang="en-CA"/>
          </a:p>
        </p:txBody>
      </p:sp>
    </p:spTree>
    <p:extLst>
      <p:ext uri="{BB962C8B-B14F-4D97-AF65-F5344CB8AC3E}">
        <p14:creationId xmlns:p14="http://schemas.microsoft.com/office/powerpoint/2010/main" val="3922964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a:defRPr/>
            </a:pPr>
            <a:fld id="{1E169CEB-7241-42C5-BD57-015FB497C1C3}" type="datetime1">
              <a:rPr lang="en-US" altLang="en-US" smtClean="0"/>
              <a:pPr>
                <a:defRPr/>
              </a:pPr>
              <a:t>6/11/21</a:t>
            </a:fld>
            <a:endParaRPr lang="en-US" altLang="en-US"/>
          </a:p>
        </p:txBody>
      </p:sp>
      <p:sp>
        <p:nvSpPr>
          <p:cNvPr id="5" name="Slide Number Placeholder 4"/>
          <p:cNvSpPr>
            <a:spLocks noGrp="1"/>
          </p:cNvSpPr>
          <p:nvPr>
            <p:ph type="sldNum" sz="quarter" idx="5"/>
          </p:nvPr>
        </p:nvSpPr>
        <p:spPr/>
        <p:txBody>
          <a:bodyPr/>
          <a:lstStyle/>
          <a:p>
            <a:pPr>
              <a:defRPr/>
            </a:pPr>
            <a:fld id="{9B02FACB-859A-4BF5-A3BF-807104680974}" type="slidenum">
              <a:rPr lang="en-US" altLang="en-US" smtClean="0"/>
              <a:pPr>
                <a:defRPr/>
              </a:pPr>
              <a:t>7</a:t>
            </a:fld>
            <a:endParaRPr lang="en-US" altLang="en-US"/>
          </a:p>
        </p:txBody>
      </p:sp>
    </p:spTree>
    <p:extLst>
      <p:ext uri="{BB962C8B-B14F-4D97-AF65-F5344CB8AC3E}">
        <p14:creationId xmlns:p14="http://schemas.microsoft.com/office/powerpoint/2010/main" val="31989379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Date Placeholder 3"/>
          <p:cNvSpPr>
            <a:spLocks noGrp="1"/>
          </p:cNvSpPr>
          <p:nvPr>
            <p:ph type="dt" idx="10"/>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0EA6ED6C-BA13-49B9-B015-616AFA71EA76}" type="datetime1">
              <a:rPr kumimoji="0" lang="en-US" alt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6/11/21</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14F57F0-924F-4D01-AC6B-B637D74E52DF}" type="slidenum">
              <a:rPr kumimoji="0" lang="en-US" alt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9392104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hyperlink" Target="https://www.everestgrp.com/blog" TargetMode="External"/><Relationship Id="rId13" Type="http://schemas.openxmlformats.org/officeDocument/2006/relationships/hyperlink" Target="https://twitter.com/EverestGroup" TargetMode="External"/><Relationship Id="rId18" Type="http://schemas.openxmlformats.org/officeDocument/2006/relationships/hyperlink" Target="https://www.facebook.com/everestgrp/" TargetMode="External"/><Relationship Id="rId3" Type="http://schemas.openxmlformats.org/officeDocument/2006/relationships/hyperlink" Target="mailto:info@everestgrp.com" TargetMode="External"/><Relationship Id="rId21" Type="http://schemas.openxmlformats.org/officeDocument/2006/relationships/image" Target="../media/image14.png"/><Relationship Id="rId7" Type="http://schemas.openxmlformats.org/officeDocument/2006/relationships/hyperlink" Target="https://www.everestgrp.com/" TargetMode="External"/><Relationship Id="rId12" Type="http://schemas.openxmlformats.org/officeDocument/2006/relationships/image" Target="../media/image7.svg"/><Relationship Id="rId17" Type="http://schemas.openxmlformats.org/officeDocument/2006/relationships/image" Target="../media/image11.svg"/><Relationship Id="rId2" Type="http://schemas.openxmlformats.org/officeDocument/2006/relationships/image" Target="../media/image5.jpeg"/><Relationship Id="rId16" Type="http://schemas.openxmlformats.org/officeDocument/2006/relationships/image" Target="../media/image10.png"/><Relationship Id="rId20" Type="http://schemas.openxmlformats.org/officeDocument/2006/relationships/image" Target="../media/image13.svg"/><Relationship Id="rId1" Type="http://schemas.openxmlformats.org/officeDocument/2006/relationships/slideMaster" Target="../slideMasters/slideMaster1.xml"/><Relationship Id="rId6" Type="http://schemas.openxmlformats.org/officeDocument/2006/relationships/hyperlink" Target="mailto:canada@everestgrp.com" TargetMode="External"/><Relationship Id="rId11" Type="http://schemas.openxmlformats.org/officeDocument/2006/relationships/image" Target="../media/image6.png"/><Relationship Id="rId5" Type="http://schemas.openxmlformats.org/officeDocument/2006/relationships/hyperlink" Target="mailto:unitedkingdom@everestgrp.com" TargetMode="External"/><Relationship Id="rId15" Type="http://schemas.openxmlformats.org/officeDocument/2006/relationships/image" Target="../media/image9.svg"/><Relationship Id="rId10" Type="http://schemas.openxmlformats.org/officeDocument/2006/relationships/hyperlink" Target="https://www.linkedin.com/company/everest-group" TargetMode="External"/><Relationship Id="rId19" Type="http://schemas.openxmlformats.org/officeDocument/2006/relationships/image" Target="../media/image12.png"/><Relationship Id="rId4" Type="http://schemas.openxmlformats.org/officeDocument/2006/relationships/hyperlink" Target="mailto:india@everestgrp.com" TargetMode="External"/><Relationship Id="rId9" Type="http://schemas.openxmlformats.org/officeDocument/2006/relationships/hyperlink" Target="https://www.youtube.com/channel/UCbQ1l16kgLcWzLOSIN3cdHg" TargetMode="External"/><Relationship Id="rId14" Type="http://schemas.openxmlformats.org/officeDocument/2006/relationships/image" Target="../media/image8.png"/><Relationship Id="rId22" Type="http://schemas.openxmlformats.org/officeDocument/2006/relationships/image" Target="../media/image15.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Human Resources Outsourcing">
    <p:spTree>
      <p:nvGrpSpPr>
        <p:cNvPr id="1" name=""/>
        <p:cNvGrpSpPr/>
        <p:nvPr/>
      </p:nvGrpSpPr>
      <p:grpSpPr>
        <a:xfrm>
          <a:off x="0" y="0"/>
          <a:ext cx="0" cy="0"/>
          <a:chOff x="0" y="0"/>
          <a:chExt cx="0" cy="0"/>
        </a:xfrm>
      </p:grpSpPr>
      <p:pic>
        <p:nvPicPr>
          <p:cNvPr id="12" name="Picture 11" descr="A picture containing water, small, table, sitting&#10;&#10;Description automatically generated">
            <a:extLst>
              <a:ext uri="{FF2B5EF4-FFF2-40B4-BE49-F238E27FC236}">
                <a16:creationId xmlns:a16="http://schemas.microsoft.com/office/drawing/2014/main" id="{328977DF-A0C1-4FFA-B5CE-678A14BD2D67}"/>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2855502"/>
            <a:ext cx="12192000" cy="3480552"/>
          </a:xfrm>
          <a:prstGeom prst="rect">
            <a:avLst/>
          </a:prstGeom>
        </p:spPr>
      </p:pic>
      <p:sp>
        <p:nvSpPr>
          <p:cNvPr id="15" name="TextBox 14">
            <a:extLst>
              <a:ext uri="{FF2B5EF4-FFF2-40B4-BE49-F238E27FC236}">
                <a16:creationId xmlns:a16="http://schemas.microsoft.com/office/drawing/2014/main" id="{6A813826-6F08-43B2-AA17-E376B83A937F}"/>
              </a:ext>
            </a:extLst>
          </p:cNvPr>
          <p:cNvSpPr txBox="1"/>
          <p:nvPr userDrawn="1"/>
        </p:nvSpPr>
        <p:spPr>
          <a:xfrm>
            <a:off x="0" y="6331702"/>
            <a:ext cx="12192000" cy="526298"/>
          </a:xfrm>
          <a:prstGeom prst="rect">
            <a:avLst/>
          </a:prstGeom>
          <a:solidFill>
            <a:schemeClr val="bg1"/>
          </a:solidFill>
          <a:ln>
            <a:noFill/>
          </a:ln>
        </p:spPr>
        <p:txBody>
          <a:bodyPr wrap="square" lIns="0" tIns="73152" rIns="1371600" bIns="73152" rtlCol="0">
            <a:spAutoFit/>
          </a:bodyPr>
          <a:lstStyle/>
          <a:p>
            <a:pPr marL="228600" algn="l"/>
            <a:r>
              <a:rPr lang="en-US" sz="800" b="1" spc="0" dirty="0">
                <a:solidFill>
                  <a:srgbClr val="FFFFFF">
                    <a:lumMod val="50000"/>
                  </a:srgbClr>
                </a:solidFill>
              </a:rPr>
              <a:t>Copyright © 2021 Everest Global, Inc.</a:t>
            </a:r>
          </a:p>
          <a:p>
            <a:pPr marL="228600" algn="l"/>
            <a:r>
              <a:rPr lang="en-IN" sz="800" i="1" spc="0" dirty="0">
                <a:solidFill>
                  <a:srgbClr val="FFFFFF">
                    <a:lumMod val="50000"/>
                  </a:srgbClr>
                </a:solidFill>
              </a:rPr>
              <a:t>We encourage you to share these materials internally within your company and its affiliates. </a:t>
            </a:r>
            <a:r>
              <a:rPr lang="en-US" sz="800" i="1" spc="-10" baseline="0" dirty="0">
                <a:solidFill>
                  <a:srgbClr val="FFFFFF">
                    <a:lumMod val="50000"/>
                  </a:srgbClr>
                </a:solidFill>
              </a:rPr>
              <a:t>In accordance with the license granted</a:t>
            </a:r>
            <a:r>
              <a:rPr lang="en-US" sz="800" i="1" spc="0" dirty="0">
                <a:solidFill>
                  <a:srgbClr val="FFFFFF">
                    <a:lumMod val="50000"/>
                  </a:srgbClr>
                </a:solidFill>
              </a:rPr>
              <a:t>, however, </a:t>
            </a:r>
            <a:r>
              <a:rPr lang="en-US" sz="800" i="1" spc="0" baseline="0" dirty="0">
                <a:solidFill>
                  <a:srgbClr val="FFFFFF">
                    <a:lumMod val="50000"/>
                  </a:srgbClr>
                </a:solidFill>
              </a:rPr>
              <a:t>sharing these materials outside of your organizatio</a:t>
            </a:r>
            <a:r>
              <a:rPr lang="en-US" sz="800" i="1" spc="0" dirty="0">
                <a:solidFill>
                  <a:srgbClr val="FFFFFF">
                    <a:lumMod val="50000"/>
                  </a:srgbClr>
                </a:solidFill>
              </a:rPr>
              <a:t>n in any form—electronic, written, or verbal—is prohibited unless you obtain the express, prior, and written consent of Everest Global, Inc.</a:t>
            </a:r>
            <a:r>
              <a:rPr lang="en-IN" sz="800" i="1" spc="0" dirty="0">
                <a:solidFill>
                  <a:srgbClr val="FFFFFF">
                    <a:lumMod val="50000"/>
                  </a:srgbClr>
                </a:solidFill>
              </a:rPr>
              <a:t> It is your organization’s responsibility to maintain the confidentiality of these materials in accordance with your license of them.</a:t>
            </a:r>
            <a:endParaRPr lang="en-US" sz="800" spc="0" dirty="0">
              <a:solidFill>
                <a:srgbClr val="FFFFFF">
                  <a:lumMod val="50000"/>
                </a:srgbClr>
              </a:solidFill>
            </a:endParaRPr>
          </a:p>
        </p:txBody>
      </p:sp>
      <p:sp>
        <p:nvSpPr>
          <p:cNvPr id="16" name="Rectangle 15">
            <a:extLst>
              <a:ext uri="{FF2B5EF4-FFF2-40B4-BE49-F238E27FC236}">
                <a16:creationId xmlns:a16="http://schemas.microsoft.com/office/drawing/2014/main" id="{41749CDC-7165-4600-B762-218836453CD0}"/>
              </a:ext>
            </a:extLst>
          </p:cNvPr>
          <p:cNvSpPr/>
          <p:nvPr userDrawn="1"/>
        </p:nvSpPr>
        <p:spPr>
          <a:xfrm>
            <a:off x="10924843" y="6590235"/>
            <a:ext cx="1077218" cy="123111"/>
          </a:xfrm>
          <a:prstGeom prst="rect">
            <a:avLst/>
          </a:prstGeom>
        </p:spPr>
        <p:txBody>
          <a:bodyPr wrap="none" lIns="0" tIns="0" rIns="0" bIns="0">
            <a:spAutoFit/>
          </a:bodyPr>
          <a:lstStyle/>
          <a:p>
            <a:r>
              <a:rPr lang="en-IN" sz="800" kern="0" dirty="0">
                <a:solidFill>
                  <a:schemeClr val="bg1">
                    <a:lumMod val="50000"/>
                  </a:schemeClr>
                </a:solidFill>
              </a:rPr>
              <a:t>EGR-2021-24-CA-4389</a:t>
            </a:r>
            <a:endParaRPr lang="en-US" sz="800" dirty="0">
              <a:solidFill>
                <a:schemeClr val="bg1">
                  <a:lumMod val="50000"/>
                </a:schemeClr>
              </a:solidFill>
            </a:endParaRPr>
          </a:p>
        </p:txBody>
      </p:sp>
      <p:cxnSp>
        <p:nvCxnSpPr>
          <p:cNvPr id="17" name="Straight Connector 16">
            <a:extLst>
              <a:ext uri="{FF2B5EF4-FFF2-40B4-BE49-F238E27FC236}">
                <a16:creationId xmlns:a16="http://schemas.microsoft.com/office/drawing/2014/main" id="{8A7BC70D-142F-4A33-924D-3388495DD12B}"/>
              </a:ext>
            </a:extLst>
          </p:cNvPr>
          <p:cNvCxnSpPr/>
          <p:nvPr userDrawn="1"/>
        </p:nvCxnSpPr>
        <p:spPr bwMode="auto">
          <a:xfrm>
            <a:off x="10737614" y="6563518"/>
            <a:ext cx="0" cy="205575"/>
          </a:xfrm>
          <a:prstGeom prst="line">
            <a:avLst/>
          </a:prstGeom>
          <a:noFill/>
          <a:ln w="9525" cap="flat" cmpd="sng" algn="ctr">
            <a:solidFill>
              <a:schemeClr val="bg1">
                <a:lumMod val="65000"/>
              </a:schemeClr>
            </a:solidFill>
            <a:prstDash val="solid"/>
            <a:round/>
            <a:headEnd type="none" w="med" len="med"/>
            <a:tailEnd type="none" w="med" len="med"/>
          </a:ln>
          <a:effectLst/>
        </p:spPr>
      </p:cxnSp>
      <p:grpSp>
        <p:nvGrpSpPr>
          <p:cNvPr id="22" name="Group 21">
            <a:extLst>
              <a:ext uri="{FF2B5EF4-FFF2-40B4-BE49-F238E27FC236}">
                <a16:creationId xmlns:a16="http://schemas.microsoft.com/office/drawing/2014/main" id="{6855109B-3F1E-4778-97E4-634109E59FAD}"/>
              </a:ext>
            </a:extLst>
          </p:cNvPr>
          <p:cNvGrpSpPr/>
          <p:nvPr userDrawn="1"/>
        </p:nvGrpSpPr>
        <p:grpSpPr>
          <a:xfrm>
            <a:off x="10866317" y="284222"/>
            <a:ext cx="1192333" cy="663456"/>
            <a:chOff x="11289732" y="3380094"/>
            <a:chExt cx="1192333" cy="663456"/>
          </a:xfrm>
        </p:grpSpPr>
        <p:cxnSp>
          <p:nvCxnSpPr>
            <p:cNvPr id="24" name="Straight Connector 23">
              <a:extLst>
                <a:ext uri="{FF2B5EF4-FFF2-40B4-BE49-F238E27FC236}">
                  <a16:creationId xmlns:a16="http://schemas.microsoft.com/office/drawing/2014/main" id="{AB2F332E-353D-4334-B7DC-AE8FE5529CE9}"/>
                </a:ext>
              </a:extLst>
            </p:cNvPr>
            <p:cNvCxnSpPr>
              <a:cxnSpLocks/>
            </p:cNvCxnSpPr>
            <p:nvPr/>
          </p:nvCxnSpPr>
          <p:spPr bwMode="auto">
            <a:xfrm>
              <a:off x="11289732" y="3380094"/>
              <a:ext cx="0" cy="663456"/>
            </a:xfrm>
            <a:prstGeom prst="line">
              <a:avLst/>
            </a:prstGeom>
            <a:noFill/>
            <a:ln w="12700" cap="flat" cmpd="sng" algn="ctr">
              <a:solidFill>
                <a:schemeClr val="accent5"/>
              </a:solidFill>
              <a:prstDash val="solid"/>
              <a:round/>
              <a:headEnd type="none" w="med" len="med"/>
              <a:tailEnd type="none" w="med" len="med"/>
            </a:ln>
            <a:effectLst/>
          </p:spPr>
        </p:cxnSp>
        <p:sp>
          <p:nvSpPr>
            <p:cNvPr id="25" name="Rectangle 24">
              <a:extLst>
                <a:ext uri="{FF2B5EF4-FFF2-40B4-BE49-F238E27FC236}">
                  <a16:creationId xmlns:a16="http://schemas.microsoft.com/office/drawing/2014/main" id="{70E2A129-BB73-49F1-8083-E26933D096F9}"/>
                </a:ext>
              </a:extLst>
            </p:cNvPr>
            <p:cNvSpPr/>
            <p:nvPr/>
          </p:nvSpPr>
          <p:spPr>
            <a:xfrm>
              <a:off x="11390670" y="3414657"/>
              <a:ext cx="1091395" cy="553998"/>
            </a:xfrm>
            <a:prstGeom prst="rect">
              <a:avLst/>
            </a:prstGeom>
          </p:spPr>
          <p:txBody>
            <a:bodyPr wrap="square" lIns="0" tIns="0" rIns="0" bIns="0" anchor="ctr">
              <a:spAutoFit/>
            </a:bodyPr>
            <a:lstStyle/>
            <a:p>
              <a:r>
                <a:rPr lang="en-US" sz="1200" dirty="0">
                  <a:solidFill>
                    <a:schemeClr val="bg1">
                      <a:lumMod val="50000"/>
                    </a:schemeClr>
                  </a:solidFill>
                </a:rPr>
                <a:t>Human Resources</a:t>
              </a:r>
            </a:p>
            <a:p>
              <a:r>
                <a:rPr lang="en-US" sz="1200" dirty="0">
                  <a:solidFill>
                    <a:schemeClr val="bg1">
                      <a:lumMod val="50000"/>
                    </a:schemeClr>
                  </a:solidFill>
                </a:rPr>
                <a:t>Outsourcing</a:t>
              </a:r>
            </a:p>
          </p:txBody>
        </p:sp>
      </p:grpSp>
      <p:sp>
        <p:nvSpPr>
          <p:cNvPr id="13" name="Rectangle 12">
            <a:extLst>
              <a:ext uri="{FF2B5EF4-FFF2-40B4-BE49-F238E27FC236}">
                <a16:creationId xmlns:a16="http://schemas.microsoft.com/office/drawing/2014/main" id="{5F927CF1-6CCE-4BE4-95C3-544E5F800747}"/>
              </a:ext>
            </a:extLst>
          </p:cNvPr>
          <p:cNvSpPr/>
          <p:nvPr userDrawn="1"/>
        </p:nvSpPr>
        <p:spPr bwMode="auto">
          <a:xfrm>
            <a:off x="0" y="1666876"/>
            <a:ext cx="200564" cy="3514724"/>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pic>
        <p:nvPicPr>
          <p:cNvPr id="18" name="Graphic 17">
            <a:extLst>
              <a:ext uri="{FF2B5EF4-FFF2-40B4-BE49-F238E27FC236}">
                <a16:creationId xmlns:a16="http://schemas.microsoft.com/office/drawing/2014/main" id="{0CF79F60-C19D-B54C-A548-E064B5A4F53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33350" y="151498"/>
            <a:ext cx="2356803" cy="1031101"/>
          </a:xfrm>
          <a:prstGeom prst="rect">
            <a:avLst/>
          </a:prstGeom>
        </p:spPr>
      </p:pic>
      <p:sp>
        <p:nvSpPr>
          <p:cNvPr id="14" name="TextBox 13">
            <a:extLst>
              <a:ext uri="{FF2B5EF4-FFF2-40B4-BE49-F238E27FC236}">
                <a16:creationId xmlns:a16="http://schemas.microsoft.com/office/drawing/2014/main" id="{8C4B1763-E2A9-7248-8110-3605CE37AE9C}"/>
              </a:ext>
            </a:extLst>
          </p:cNvPr>
          <p:cNvSpPr txBox="1"/>
          <p:nvPr userDrawn="1"/>
        </p:nvSpPr>
        <p:spPr>
          <a:xfrm>
            <a:off x="9312579" y="322086"/>
            <a:ext cx="1461939" cy="538609"/>
          </a:xfrm>
          <a:prstGeom prst="rect">
            <a:avLst/>
          </a:prstGeom>
          <a:noFill/>
        </p:spPr>
        <p:txBody>
          <a:bodyPr wrap="none" lIns="0" tIns="0" rIns="0" bIns="0" rtlCol="0">
            <a:spAutoFit/>
          </a:bodyPr>
          <a:lstStyle/>
          <a:p>
            <a:pPr algn="r">
              <a:lnSpc>
                <a:spcPts val="2100"/>
              </a:lnSpc>
            </a:pPr>
            <a:r>
              <a:rPr lang="en-IN" sz="1800" dirty="0">
                <a:latin typeface="+mn-lt"/>
              </a:rPr>
              <a:t>State of the</a:t>
            </a:r>
            <a:br>
              <a:rPr lang="en-IN" sz="1800" dirty="0">
                <a:latin typeface="+mn-lt"/>
              </a:rPr>
            </a:br>
            <a:r>
              <a:rPr lang="en-IN" sz="1800" dirty="0">
                <a:latin typeface="+mn-lt"/>
              </a:rPr>
              <a:t>Market Report</a:t>
            </a:r>
          </a:p>
        </p:txBody>
      </p:sp>
    </p:spTree>
    <p:extLst>
      <p:ext uri="{BB962C8B-B14F-4D97-AF65-F5344CB8AC3E}">
        <p14:creationId xmlns:p14="http://schemas.microsoft.com/office/powerpoint/2010/main" val="351237739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s page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9FF65AB-C532-47E5-AD4D-DE5A1D501D08}"/>
              </a:ext>
            </a:extLst>
          </p:cNvPr>
          <p:cNvSpPr/>
          <p:nvPr userDrawn="1"/>
        </p:nvSpPr>
        <p:spPr bwMode="auto">
          <a:xfrm>
            <a:off x="3682680" y="-1"/>
            <a:ext cx="130114" cy="3017520"/>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IN" sz="1600" b="0" i="0" u="none" strike="noStrike" kern="1200" cap="none" spc="0" normalizeH="0" baseline="0" noProof="0">
              <a:ln>
                <a:noFill/>
              </a:ln>
              <a:solidFill>
                <a:srgbClr val="3F3F3F"/>
              </a:solidFill>
              <a:effectLst/>
              <a:uLnTx/>
              <a:uFillTx/>
              <a:latin typeface="Arial" charset="0"/>
              <a:ea typeface="+mn-ea"/>
              <a:cs typeface="Arial" charset="0"/>
            </a:endParaRPr>
          </a:p>
        </p:txBody>
      </p:sp>
      <p:sp>
        <p:nvSpPr>
          <p:cNvPr id="7" name="Rectangle 13">
            <a:extLst>
              <a:ext uri="{FF2B5EF4-FFF2-40B4-BE49-F238E27FC236}">
                <a16:creationId xmlns:a16="http://schemas.microsoft.com/office/drawing/2014/main" id="{DAC150AA-421F-484A-9EB9-2195848FEA8E}"/>
              </a:ext>
            </a:extLst>
          </p:cNvPr>
          <p:cNvSpPr txBox="1">
            <a:spLocks noChangeArrowheads="1"/>
          </p:cNvSpPr>
          <p:nvPr userDrawn="1"/>
        </p:nvSpPr>
        <p:spPr bwMode="gray">
          <a:xfrm>
            <a:off x="287812" y="928154"/>
            <a:ext cx="3456377" cy="92333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ts val="0"/>
              </a:spcBef>
              <a:spcAft>
                <a:spcPts val="0"/>
              </a:spcAft>
              <a:defRPr sz="2000">
                <a:solidFill>
                  <a:schemeClr val="accent2"/>
                </a:solidFill>
                <a:latin typeface="+mj-lt"/>
                <a:ea typeface="+mj-ea"/>
                <a:cs typeface="+mj-cs"/>
              </a:defRPr>
            </a:lvl1pPr>
            <a:lvl2pPr algn="l" rtl="0" eaLnBrk="1" fontAlgn="base" hangingPunct="1">
              <a:spcBef>
                <a:spcPct val="0"/>
              </a:spcBef>
              <a:spcAft>
                <a:spcPct val="0"/>
              </a:spcAft>
              <a:defRPr sz="2000">
                <a:solidFill>
                  <a:srgbClr val="3333FF"/>
                </a:solidFill>
                <a:latin typeface="Arial Black" pitchFamily="34" charset="0"/>
              </a:defRPr>
            </a:lvl2pPr>
            <a:lvl3pPr algn="l" rtl="0" eaLnBrk="1" fontAlgn="base" hangingPunct="1">
              <a:spcBef>
                <a:spcPct val="0"/>
              </a:spcBef>
              <a:spcAft>
                <a:spcPct val="0"/>
              </a:spcAft>
              <a:defRPr sz="2000">
                <a:solidFill>
                  <a:srgbClr val="3333FF"/>
                </a:solidFill>
                <a:latin typeface="Arial Black" pitchFamily="34" charset="0"/>
              </a:defRPr>
            </a:lvl3pPr>
            <a:lvl4pPr algn="l" rtl="0" eaLnBrk="1" fontAlgn="base" hangingPunct="1">
              <a:spcBef>
                <a:spcPct val="0"/>
              </a:spcBef>
              <a:spcAft>
                <a:spcPct val="0"/>
              </a:spcAft>
              <a:defRPr sz="2000">
                <a:solidFill>
                  <a:srgbClr val="3333FF"/>
                </a:solidFill>
                <a:latin typeface="Arial Black" pitchFamily="34" charset="0"/>
              </a:defRPr>
            </a:lvl4pPr>
            <a:lvl5pPr algn="l" rtl="0" eaLnBrk="1" fontAlgn="base" hangingPunct="1">
              <a:spcBef>
                <a:spcPct val="0"/>
              </a:spcBef>
              <a:spcAft>
                <a:spcPct val="0"/>
              </a:spcAft>
              <a:defRPr sz="2000">
                <a:solidFill>
                  <a:srgbClr val="3333FF"/>
                </a:solidFill>
                <a:latin typeface="Arial Black" pitchFamily="34" charset="0"/>
              </a:defRPr>
            </a:lvl5pPr>
            <a:lvl6pPr marL="457200" algn="l" rtl="0" eaLnBrk="1" fontAlgn="base" hangingPunct="1">
              <a:spcBef>
                <a:spcPct val="0"/>
              </a:spcBef>
              <a:spcAft>
                <a:spcPct val="0"/>
              </a:spcAft>
              <a:defRPr sz="2000">
                <a:solidFill>
                  <a:srgbClr val="3333FF"/>
                </a:solidFill>
                <a:latin typeface="Arial Black" pitchFamily="34" charset="0"/>
              </a:defRPr>
            </a:lvl6pPr>
            <a:lvl7pPr marL="914400" algn="l" rtl="0" eaLnBrk="1" fontAlgn="base" hangingPunct="1">
              <a:spcBef>
                <a:spcPct val="0"/>
              </a:spcBef>
              <a:spcAft>
                <a:spcPct val="0"/>
              </a:spcAft>
              <a:defRPr sz="2000">
                <a:solidFill>
                  <a:srgbClr val="3333FF"/>
                </a:solidFill>
                <a:latin typeface="Arial Black" pitchFamily="34" charset="0"/>
              </a:defRPr>
            </a:lvl7pPr>
            <a:lvl8pPr marL="1371600" algn="l" rtl="0" eaLnBrk="1" fontAlgn="base" hangingPunct="1">
              <a:spcBef>
                <a:spcPct val="0"/>
              </a:spcBef>
              <a:spcAft>
                <a:spcPct val="0"/>
              </a:spcAft>
              <a:defRPr sz="2000">
                <a:solidFill>
                  <a:srgbClr val="3333FF"/>
                </a:solidFill>
                <a:latin typeface="Arial Black" pitchFamily="34" charset="0"/>
              </a:defRPr>
            </a:lvl8pPr>
            <a:lvl9pPr marL="1828800" algn="l" rtl="0" eaLnBrk="1" fontAlgn="base" hangingPunct="1">
              <a:spcBef>
                <a:spcPct val="0"/>
              </a:spcBef>
              <a:spcAft>
                <a:spcPct val="0"/>
              </a:spcAft>
              <a:defRPr sz="2000">
                <a:solidFill>
                  <a:srgbClr val="3333FF"/>
                </a:solidFill>
                <a:latin typeface="Arial Black"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0" b="0" i="0" u="none" strike="noStrike" kern="1200" cap="none" spc="0" normalizeH="0" baseline="0" noProof="0">
                <a:ln>
                  <a:noFill/>
                </a:ln>
                <a:solidFill>
                  <a:srgbClr val="005A8C"/>
                </a:solidFill>
                <a:effectLst/>
                <a:uLnTx/>
                <a:uFillTx/>
                <a:latin typeface="Arial" charset="0"/>
                <a:ea typeface="+mj-ea"/>
                <a:cs typeface="Arial" charset="0"/>
              </a:rPr>
              <a:t>Contents</a:t>
            </a:r>
          </a:p>
        </p:txBody>
      </p:sp>
      <p:pic>
        <p:nvPicPr>
          <p:cNvPr id="11" name="Graphic 10">
            <a:extLst>
              <a:ext uri="{FF2B5EF4-FFF2-40B4-BE49-F238E27FC236}">
                <a16:creationId xmlns:a16="http://schemas.microsoft.com/office/drawing/2014/main" id="{C9874F8D-B0FD-467F-9401-918BB91D9BD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
        <p:nvSpPr>
          <p:cNvPr id="12" name="Rectangle 32">
            <a:extLst>
              <a:ext uri="{FF2B5EF4-FFF2-40B4-BE49-F238E27FC236}">
                <a16:creationId xmlns:a16="http://schemas.microsoft.com/office/drawing/2014/main" id="{F52DD063-948F-4400-9875-D7CF596D286D}"/>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dirty="0">
              <a:solidFill>
                <a:schemeClr val="bg1">
                  <a:lumMod val="75000"/>
                </a:schemeClr>
              </a:solidFill>
            </a:endParaRPr>
          </a:p>
        </p:txBody>
      </p:sp>
      <p:graphicFrame>
        <p:nvGraphicFramePr>
          <p:cNvPr id="8" name="Table 7">
            <a:extLst>
              <a:ext uri="{FF2B5EF4-FFF2-40B4-BE49-F238E27FC236}">
                <a16:creationId xmlns:a16="http://schemas.microsoft.com/office/drawing/2014/main" id="{A3ED64ED-D496-4BF6-B379-C4912109E2FC}"/>
              </a:ext>
            </a:extLst>
          </p:cNvPr>
          <p:cNvGraphicFramePr>
            <a:graphicFrameLocks noGrp="1"/>
          </p:cNvGraphicFramePr>
          <p:nvPr userDrawn="1">
            <p:extLst>
              <p:ext uri="{D42A27DB-BD31-4B8C-83A1-F6EECF244321}">
                <p14:modId xmlns:p14="http://schemas.microsoft.com/office/powerpoint/2010/main" val="2117236085"/>
              </p:ext>
            </p:extLst>
          </p:nvPr>
        </p:nvGraphicFramePr>
        <p:xfrm>
          <a:off x="310262" y="4612839"/>
          <a:ext cx="3013387" cy="396240"/>
        </p:xfrm>
        <a:graphic>
          <a:graphicData uri="http://schemas.openxmlformats.org/drawingml/2006/table">
            <a:tbl>
              <a:tblPr firstRow="1" bandRow="1">
                <a:tableStyleId>{5C22544A-7EE6-4342-B048-85BDC9FD1C3A}</a:tableStyleId>
              </a:tblPr>
              <a:tblGrid>
                <a:gridCol w="3013387">
                  <a:extLst>
                    <a:ext uri="{9D8B030D-6E8A-4147-A177-3AD203B41FA5}">
                      <a16:colId xmlns:a16="http://schemas.microsoft.com/office/drawing/2014/main" val="2490264720"/>
                    </a:ext>
                  </a:extLst>
                </a:gridCol>
              </a:tblGrid>
              <a:tr h="0">
                <a:tc>
                  <a:txBody>
                    <a:bodyPr/>
                    <a:lstStyle/>
                    <a:p>
                      <a:pPr algn="l"/>
                      <a:r>
                        <a:rPr lang="en-US" sz="1000" b="0" dirty="0">
                          <a:solidFill>
                            <a:schemeClr val="bg1">
                              <a:lumMod val="50000"/>
                            </a:schemeClr>
                          </a:solidFill>
                        </a:rPr>
                        <a:t>For more information on this and other research published by Everest Group, please contact us:</a:t>
                      </a:r>
                    </a:p>
                  </a:txBody>
                  <a:tcPr marL="0" marR="0" marT="0" marB="9144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3172520"/>
                  </a:ext>
                </a:extLst>
              </a:tr>
            </a:tbl>
          </a:graphicData>
        </a:graphic>
      </p:graphicFrame>
      <p:sp>
        <p:nvSpPr>
          <p:cNvPr id="9" name="Slide Number Placeholder 2">
            <a:extLst>
              <a:ext uri="{FF2B5EF4-FFF2-40B4-BE49-F238E27FC236}">
                <a16:creationId xmlns:a16="http://schemas.microsoft.com/office/drawing/2014/main" id="{53896995-403B-6C46-98C4-9A4B2C268A4D}"/>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700" dirty="0">
                <a:solidFill>
                  <a:schemeClr val="bg1">
                    <a:lumMod val="65000"/>
                  </a:schemeClr>
                </a:solidFill>
              </a:rPr>
              <a:t>Proprietary &amp; Confidential. © 2021, Everest Global, Inc.</a:t>
            </a:r>
            <a:r>
              <a:rPr lang="en-IN" sz="700" dirty="0">
                <a:solidFill>
                  <a:schemeClr val="bg1">
                    <a:lumMod val="65000"/>
                  </a:schemeClr>
                </a:solidFill>
              </a:rPr>
              <a:t> </a:t>
            </a:r>
            <a:r>
              <a:rPr lang="en-IN" sz="700" dirty="0">
                <a:solidFill>
                  <a:schemeClr val="bg1">
                    <a:lumMod val="75000"/>
                  </a:schemeClr>
                </a:solidFill>
              </a:rPr>
              <a:t>| </a:t>
            </a:r>
            <a:r>
              <a:rPr lang="en-IN" sz="700" dirty="0">
                <a:solidFill>
                  <a:schemeClr val="bg1">
                    <a:lumMod val="65000"/>
                  </a:schemeClr>
                </a:solidFill>
              </a:rPr>
              <a:t>EGR-2021-24-CA-4389</a:t>
            </a:r>
          </a:p>
        </p:txBody>
      </p:sp>
    </p:spTree>
    <p:extLst>
      <p:ext uri="{BB962C8B-B14F-4D97-AF65-F5344CB8AC3E}">
        <p14:creationId xmlns:p14="http://schemas.microsoft.com/office/powerpoint/2010/main" val="424366297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s page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174BE1C-ACD4-4C8A-B849-8E8EA6C1F60A}"/>
              </a:ext>
            </a:extLst>
          </p:cNvPr>
          <p:cNvSpPr/>
          <p:nvPr userDrawn="1"/>
        </p:nvSpPr>
        <p:spPr bwMode="auto">
          <a:xfrm>
            <a:off x="3682680" y="-1"/>
            <a:ext cx="130114" cy="3017520"/>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sp>
        <p:nvSpPr>
          <p:cNvPr id="11" name="Rectangle 13">
            <a:extLst>
              <a:ext uri="{FF2B5EF4-FFF2-40B4-BE49-F238E27FC236}">
                <a16:creationId xmlns:a16="http://schemas.microsoft.com/office/drawing/2014/main" id="{A9CB830E-09F3-4112-8429-AEEC36E4B96F}"/>
              </a:ext>
            </a:extLst>
          </p:cNvPr>
          <p:cNvSpPr txBox="1">
            <a:spLocks noChangeArrowheads="1"/>
          </p:cNvSpPr>
          <p:nvPr userDrawn="1"/>
        </p:nvSpPr>
        <p:spPr bwMode="gray">
          <a:xfrm>
            <a:off x="287812" y="928154"/>
            <a:ext cx="3456377" cy="92333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ts val="0"/>
              </a:spcBef>
              <a:spcAft>
                <a:spcPts val="0"/>
              </a:spcAft>
              <a:defRPr sz="2000">
                <a:solidFill>
                  <a:schemeClr val="accent2"/>
                </a:solidFill>
                <a:latin typeface="+mj-lt"/>
                <a:ea typeface="+mj-ea"/>
                <a:cs typeface="+mj-cs"/>
              </a:defRPr>
            </a:lvl1pPr>
            <a:lvl2pPr algn="l" rtl="0" eaLnBrk="1" fontAlgn="base" hangingPunct="1">
              <a:spcBef>
                <a:spcPct val="0"/>
              </a:spcBef>
              <a:spcAft>
                <a:spcPct val="0"/>
              </a:spcAft>
              <a:defRPr sz="2000">
                <a:solidFill>
                  <a:srgbClr val="3333FF"/>
                </a:solidFill>
                <a:latin typeface="Arial Black" pitchFamily="34" charset="0"/>
              </a:defRPr>
            </a:lvl2pPr>
            <a:lvl3pPr algn="l" rtl="0" eaLnBrk="1" fontAlgn="base" hangingPunct="1">
              <a:spcBef>
                <a:spcPct val="0"/>
              </a:spcBef>
              <a:spcAft>
                <a:spcPct val="0"/>
              </a:spcAft>
              <a:defRPr sz="2000">
                <a:solidFill>
                  <a:srgbClr val="3333FF"/>
                </a:solidFill>
                <a:latin typeface="Arial Black" pitchFamily="34" charset="0"/>
              </a:defRPr>
            </a:lvl3pPr>
            <a:lvl4pPr algn="l" rtl="0" eaLnBrk="1" fontAlgn="base" hangingPunct="1">
              <a:spcBef>
                <a:spcPct val="0"/>
              </a:spcBef>
              <a:spcAft>
                <a:spcPct val="0"/>
              </a:spcAft>
              <a:defRPr sz="2000">
                <a:solidFill>
                  <a:srgbClr val="3333FF"/>
                </a:solidFill>
                <a:latin typeface="Arial Black" pitchFamily="34" charset="0"/>
              </a:defRPr>
            </a:lvl4pPr>
            <a:lvl5pPr algn="l" rtl="0" eaLnBrk="1" fontAlgn="base" hangingPunct="1">
              <a:spcBef>
                <a:spcPct val="0"/>
              </a:spcBef>
              <a:spcAft>
                <a:spcPct val="0"/>
              </a:spcAft>
              <a:defRPr sz="2000">
                <a:solidFill>
                  <a:srgbClr val="3333FF"/>
                </a:solidFill>
                <a:latin typeface="Arial Black" pitchFamily="34" charset="0"/>
              </a:defRPr>
            </a:lvl5pPr>
            <a:lvl6pPr marL="457200" algn="l" rtl="0" eaLnBrk="1" fontAlgn="base" hangingPunct="1">
              <a:spcBef>
                <a:spcPct val="0"/>
              </a:spcBef>
              <a:spcAft>
                <a:spcPct val="0"/>
              </a:spcAft>
              <a:defRPr sz="2000">
                <a:solidFill>
                  <a:srgbClr val="3333FF"/>
                </a:solidFill>
                <a:latin typeface="Arial Black" pitchFamily="34" charset="0"/>
              </a:defRPr>
            </a:lvl6pPr>
            <a:lvl7pPr marL="914400" algn="l" rtl="0" eaLnBrk="1" fontAlgn="base" hangingPunct="1">
              <a:spcBef>
                <a:spcPct val="0"/>
              </a:spcBef>
              <a:spcAft>
                <a:spcPct val="0"/>
              </a:spcAft>
              <a:defRPr sz="2000">
                <a:solidFill>
                  <a:srgbClr val="3333FF"/>
                </a:solidFill>
                <a:latin typeface="Arial Black" pitchFamily="34" charset="0"/>
              </a:defRPr>
            </a:lvl7pPr>
            <a:lvl8pPr marL="1371600" algn="l" rtl="0" eaLnBrk="1" fontAlgn="base" hangingPunct="1">
              <a:spcBef>
                <a:spcPct val="0"/>
              </a:spcBef>
              <a:spcAft>
                <a:spcPct val="0"/>
              </a:spcAft>
              <a:defRPr sz="2000">
                <a:solidFill>
                  <a:srgbClr val="3333FF"/>
                </a:solidFill>
                <a:latin typeface="Arial Black" pitchFamily="34" charset="0"/>
              </a:defRPr>
            </a:lvl8pPr>
            <a:lvl9pPr marL="1828800" algn="l" rtl="0" eaLnBrk="1" fontAlgn="base" hangingPunct="1">
              <a:spcBef>
                <a:spcPct val="0"/>
              </a:spcBef>
              <a:spcAft>
                <a:spcPct val="0"/>
              </a:spcAft>
              <a:defRPr sz="2000">
                <a:solidFill>
                  <a:srgbClr val="3333FF"/>
                </a:solidFill>
                <a:latin typeface="Arial Black" pitchFamily="34" charset="0"/>
              </a:defRPr>
            </a:lvl9pPr>
          </a:lstStyle>
          <a:p>
            <a:pPr marL="0" marR="0" lvl="0" indent="0" defTabSz="914400" eaLnBrk="1" latinLnBrk="0" hangingPunct="1">
              <a:lnSpc>
                <a:spcPct val="100000"/>
              </a:lnSpc>
              <a:spcBef>
                <a:spcPct val="0"/>
              </a:spcBef>
              <a:spcAft>
                <a:spcPct val="0"/>
              </a:spcAft>
              <a:buClrTx/>
              <a:buSzTx/>
              <a:buFontTx/>
              <a:buNone/>
              <a:tabLst/>
              <a:defRPr/>
            </a:pPr>
            <a:r>
              <a:rPr lang="en-US" sz="6000">
                <a:solidFill>
                  <a:schemeClr val="bg1">
                    <a:lumMod val="85000"/>
                  </a:schemeClr>
                </a:solidFill>
                <a:latin typeface="Arial" charset="0"/>
                <a:ea typeface="+mn-ea"/>
                <a:cs typeface="Arial" charset="0"/>
              </a:rPr>
              <a:t>Contents</a:t>
            </a:r>
          </a:p>
        </p:txBody>
      </p:sp>
      <p:sp>
        <p:nvSpPr>
          <p:cNvPr id="13" name="Rectangle 32">
            <a:extLst>
              <a:ext uri="{FF2B5EF4-FFF2-40B4-BE49-F238E27FC236}">
                <a16:creationId xmlns:a16="http://schemas.microsoft.com/office/drawing/2014/main" id="{D81DB16D-1A18-4C30-98DC-289C86C5A471}"/>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dirty="0">
              <a:solidFill>
                <a:schemeClr val="bg1">
                  <a:lumMod val="75000"/>
                </a:schemeClr>
              </a:solidFill>
            </a:endParaRPr>
          </a:p>
        </p:txBody>
      </p:sp>
      <p:pic>
        <p:nvPicPr>
          <p:cNvPr id="8" name="Graphic 7">
            <a:extLst>
              <a:ext uri="{FF2B5EF4-FFF2-40B4-BE49-F238E27FC236}">
                <a16:creationId xmlns:a16="http://schemas.microsoft.com/office/drawing/2014/main" id="{354C4EDA-712C-B44C-9FF3-69FD81EB21F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
        <p:nvSpPr>
          <p:cNvPr id="9" name="Slide Number Placeholder 2">
            <a:extLst>
              <a:ext uri="{FF2B5EF4-FFF2-40B4-BE49-F238E27FC236}">
                <a16:creationId xmlns:a16="http://schemas.microsoft.com/office/drawing/2014/main" id="{0171B772-E6A4-6748-8599-8EA6CC23C803}"/>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700" dirty="0">
                <a:solidFill>
                  <a:schemeClr val="bg1">
                    <a:lumMod val="65000"/>
                  </a:schemeClr>
                </a:solidFill>
              </a:rPr>
              <a:t>Proprietary &amp; Confidential. © 2021, Everest Global, Inc.</a:t>
            </a:r>
            <a:r>
              <a:rPr lang="en-IN" sz="700" dirty="0">
                <a:solidFill>
                  <a:schemeClr val="bg1">
                    <a:lumMod val="65000"/>
                  </a:schemeClr>
                </a:solidFill>
              </a:rPr>
              <a:t> </a:t>
            </a:r>
            <a:r>
              <a:rPr lang="en-IN" sz="700" dirty="0">
                <a:solidFill>
                  <a:schemeClr val="bg1">
                    <a:lumMod val="75000"/>
                  </a:schemeClr>
                </a:solidFill>
              </a:rPr>
              <a:t>| </a:t>
            </a:r>
            <a:r>
              <a:rPr lang="en-IN" sz="700" dirty="0">
                <a:solidFill>
                  <a:schemeClr val="bg1">
                    <a:lumMod val="65000"/>
                  </a:schemeClr>
                </a:solidFill>
              </a:rPr>
              <a:t>EGR-2021-24-CA-4389</a:t>
            </a:r>
          </a:p>
        </p:txBody>
      </p:sp>
    </p:spTree>
    <p:extLst>
      <p:ext uri="{BB962C8B-B14F-4D97-AF65-F5344CB8AC3E}">
        <p14:creationId xmlns:p14="http://schemas.microsoft.com/office/powerpoint/2010/main" val="17034707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30A3CC38-9E37-4178-BA9D-CA015776015C}"/>
              </a:ext>
            </a:extLst>
          </p:cNvPr>
          <p:cNvSpPr>
            <a:spLocks noGrp="1"/>
          </p:cNvSpPr>
          <p:nvPr>
            <p:ph idx="1"/>
          </p:nvPr>
        </p:nvSpPr>
        <p:spPr>
          <a:xfrm>
            <a:off x="310896" y="1664208"/>
            <a:ext cx="11595354" cy="4736592"/>
          </a:xfrm>
          <a:prstGeom prst="rect">
            <a:avLst/>
          </a:prstGeom>
        </p:spPr>
        <p:txBody>
          <a:bodyPr/>
          <a:lstStyle>
            <a:lvl1pPr marL="639191" indent="-342900">
              <a:spcBef>
                <a:spcPts val="0"/>
              </a:spcBef>
              <a:spcAft>
                <a:spcPts val="0"/>
              </a:spcAft>
              <a:defRPr lang="en-US" sz="1800" dirty="0" smtClean="0">
                <a:solidFill>
                  <a:schemeClr val="tx1"/>
                </a:solidFill>
                <a:latin typeface="+mn-lt"/>
                <a:ea typeface="+mn-ea"/>
                <a:cs typeface="+mn-cs"/>
              </a:defRPr>
            </a:lvl1pPr>
            <a:lvl2pPr marL="639191" indent="-342900">
              <a:spcBef>
                <a:spcPts val="0"/>
              </a:spcBef>
              <a:spcAft>
                <a:spcPts val="0"/>
              </a:spcAft>
              <a:defRPr lang="en-US" sz="1800" dirty="0" smtClean="0">
                <a:solidFill>
                  <a:schemeClr val="tx1"/>
                </a:solidFill>
                <a:latin typeface="+mn-lt"/>
              </a:defRPr>
            </a:lvl2pPr>
            <a:lvl3pPr marL="639191" indent="-342900">
              <a:spcBef>
                <a:spcPts val="0"/>
              </a:spcBef>
              <a:spcAft>
                <a:spcPts val="0"/>
              </a:spcAft>
              <a:defRPr lang="en-US" sz="1800" dirty="0" smtClean="0">
                <a:solidFill>
                  <a:schemeClr val="tx1"/>
                </a:solidFill>
                <a:latin typeface="+mn-lt"/>
              </a:defRPr>
            </a:lvl3pPr>
            <a:lvl4pPr marL="1222819" indent="-342900">
              <a:spcBef>
                <a:spcPts val="0"/>
              </a:spcBef>
              <a:spcAft>
                <a:spcPts val="0"/>
              </a:spcAft>
              <a:defRPr lang="en-US" sz="1800" dirty="0">
                <a:solidFill>
                  <a:schemeClr val="tx1"/>
                </a:solidFill>
                <a:latin typeface="+mn-lt"/>
              </a:defRPr>
            </a:lvl4pPr>
            <a:lvl5pPr>
              <a:spcBef>
                <a:spcPts val="0"/>
              </a:spcBef>
              <a:spcAft>
                <a:spcPts val="0"/>
              </a:spcAft>
              <a:defRPr/>
            </a:lvl5pPr>
          </a:lstStyle>
          <a:p>
            <a:pPr marL="292608" lvl="0" indent="-292608" algn="l" rtl="0" eaLnBrk="1" fontAlgn="base" hangingPunct="1">
              <a:spcBef>
                <a:spcPts val="0"/>
              </a:spcBef>
              <a:spcAft>
                <a:spcPts val="0"/>
              </a:spcAft>
              <a:buClr>
                <a:schemeClr val="accent2"/>
              </a:buClr>
              <a:buSzPct val="70000"/>
              <a:buFont typeface="Wingdings" panose="05000000000000000000" pitchFamily="2" charset="2"/>
              <a:buChar char="l"/>
            </a:pPr>
            <a:r>
              <a:rPr lang="en-US"/>
              <a:t>Click to edit Master text styles</a:t>
            </a:r>
          </a:p>
          <a:p>
            <a:pPr marL="292608" lvl="1" indent="-292608" algn="l" rtl="0" eaLnBrk="1" fontAlgn="base" hangingPunct="1">
              <a:spcBef>
                <a:spcPts val="0"/>
              </a:spcBef>
              <a:spcAft>
                <a:spcPts val="0"/>
              </a:spcAft>
              <a:buClr>
                <a:schemeClr val="accent2"/>
              </a:buClr>
              <a:buSzPct val="70000"/>
              <a:buFont typeface="Wingdings" panose="05000000000000000000" pitchFamily="2" charset="2"/>
              <a:buChar char="l"/>
            </a:pPr>
            <a:r>
              <a:rPr lang="en-US"/>
              <a:t>Second level</a:t>
            </a:r>
          </a:p>
          <a:p>
            <a:pPr marL="292608" lvl="2" indent="-292608" algn="l" rtl="0" eaLnBrk="1" fontAlgn="base" hangingPunct="1">
              <a:spcBef>
                <a:spcPts val="0"/>
              </a:spcBef>
              <a:spcAft>
                <a:spcPts val="0"/>
              </a:spcAft>
              <a:buClr>
                <a:schemeClr val="accent2"/>
              </a:buClr>
              <a:buSzPct val="70000"/>
              <a:buFont typeface="Wingdings" panose="05000000000000000000" pitchFamily="2" charset="2"/>
              <a:buChar char="l"/>
            </a:pPr>
            <a:r>
              <a:rPr lang="en-US"/>
              <a:t>Third level</a:t>
            </a:r>
          </a:p>
          <a:p>
            <a:pPr marL="292608" lvl="3" indent="-292608" algn="l" rtl="0" eaLnBrk="1" fontAlgn="base" hangingPunct="1">
              <a:spcBef>
                <a:spcPts val="0"/>
              </a:spcBef>
              <a:spcAft>
                <a:spcPts val="0"/>
              </a:spcAft>
              <a:buClr>
                <a:schemeClr val="accent2"/>
              </a:buClr>
              <a:buSzPct val="70000"/>
              <a:buFont typeface="Wingdings" panose="05000000000000000000" pitchFamily="2" charset="2"/>
              <a:buChar char="l"/>
            </a:pPr>
            <a:r>
              <a:rPr lang="en-US"/>
              <a:t>Fourth level</a:t>
            </a:r>
          </a:p>
        </p:txBody>
      </p:sp>
      <p:sp>
        <p:nvSpPr>
          <p:cNvPr id="5" name="Rectangle 21">
            <a:extLst>
              <a:ext uri="{FF2B5EF4-FFF2-40B4-BE49-F238E27FC236}">
                <a16:creationId xmlns:a16="http://schemas.microsoft.com/office/drawing/2014/main" id="{02B89643-FD35-4903-9EC2-633DF01323A5}"/>
              </a:ext>
            </a:extLst>
          </p:cNvPr>
          <p:cNvSpPr>
            <a:spLocks noGrp="1" noChangeArrowheads="1"/>
          </p:cNvSpPr>
          <p:nvPr>
            <p:ph type="title"/>
          </p:nvPr>
        </p:nvSpPr>
        <p:spPr bwMode="auto">
          <a:xfrm>
            <a:off x="307975" y="622777"/>
            <a:ext cx="11594592"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endParaRPr lang="en-US" dirty="0"/>
          </a:p>
        </p:txBody>
      </p:sp>
    </p:spTree>
    <p:extLst>
      <p:ext uri="{BB962C8B-B14F-4D97-AF65-F5344CB8AC3E}">
        <p14:creationId xmlns:p14="http://schemas.microsoft.com/office/powerpoint/2010/main" val="10688364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nly Footer and Title">
    <p:spTree>
      <p:nvGrpSpPr>
        <p:cNvPr id="1" name=""/>
        <p:cNvGrpSpPr/>
        <p:nvPr/>
      </p:nvGrpSpPr>
      <p:grpSpPr>
        <a:xfrm>
          <a:off x="0" y="0"/>
          <a:ext cx="0" cy="0"/>
          <a:chOff x="0" y="0"/>
          <a:chExt cx="0" cy="0"/>
        </a:xfrm>
      </p:grpSpPr>
      <p:sp>
        <p:nvSpPr>
          <p:cNvPr id="5" name="Rectangle 21">
            <a:extLst>
              <a:ext uri="{FF2B5EF4-FFF2-40B4-BE49-F238E27FC236}">
                <a16:creationId xmlns:a16="http://schemas.microsoft.com/office/drawing/2014/main" id="{3F4B1E3E-A1FB-459D-9A2B-3267BC9FFBDB}"/>
              </a:ext>
            </a:extLst>
          </p:cNvPr>
          <p:cNvSpPr>
            <a:spLocks noGrp="1" noChangeArrowheads="1"/>
          </p:cNvSpPr>
          <p:nvPr>
            <p:ph type="title" hasCustomPrompt="1"/>
          </p:nvPr>
        </p:nvSpPr>
        <p:spPr bwMode="auto">
          <a:xfrm>
            <a:off x="307975" y="622777"/>
            <a:ext cx="11598275"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b="0">
                <a:latin typeface="+mj-lt"/>
              </a:defRPr>
            </a:lvl1pPr>
          </a:lstStyle>
          <a:p>
            <a:pPr lvl="0"/>
            <a:r>
              <a:rPr lang="en-US" dirty="0"/>
              <a:t>Master title style is 18pt, “Arial Black” font</a:t>
            </a:r>
          </a:p>
        </p:txBody>
      </p:sp>
      <p:sp>
        <p:nvSpPr>
          <p:cNvPr id="6" name="Rectangle 5">
            <a:extLst>
              <a:ext uri="{FF2B5EF4-FFF2-40B4-BE49-F238E27FC236}">
                <a16:creationId xmlns:a16="http://schemas.microsoft.com/office/drawing/2014/main" id="{1B0F89B3-7FF7-40B9-A0AE-6771692D1081}"/>
              </a:ext>
            </a:extLst>
          </p:cNvPr>
          <p:cNvSpPr/>
          <p:nvPr userDrawn="1"/>
        </p:nvSpPr>
        <p:spPr bwMode="auto">
          <a:xfrm>
            <a:off x="-321" y="1746"/>
            <a:ext cx="161395" cy="1412621"/>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sp>
        <p:nvSpPr>
          <p:cNvPr id="12" name="Rectangle 32">
            <a:extLst>
              <a:ext uri="{FF2B5EF4-FFF2-40B4-BE49-F238E27FC236}">
                <a16:creationId xmlns:a16="http://schemas.microsoft.com/office/drawing/2014/main" id="{703B4A43-4A6D-41EE-9EFB-71967C2BCF3F}"/>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dirty="0">
              <a:solidFill>
                <a:schemeClr val="bg1">
                  <a:lumMod val="75000"/>
                </a:schemeClr>
              </a:solidFill>
            </a:endParaRPr>
          </a:p>
        </p:txBody>
      </p:sp>
      <p:pic>
        <p:nvPicPr>
          <p:cNvPr id="7" name="Graphic 6">
            <a:extLst>
              <a:ext uri="{FF2B5EF4-FFF2-40B4-BE49-F238E27FC236}">
                <a16:creationId xmlns:a16="http://schemas.microsoft.com/office/drawing/2014/main" id="{89132D8C-3517-3F42-9743-E4889DEDB5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
        <p:nvSpPr>
          <p:cNvPr id="8" name="Slide Number Placeholder 2">
            <a:extLst>
              <a:ext uri="{FF2B5EF4-FFF2-40B4-BE49-F238E27FC236}">
                <a16:creationId xmlns:a16="http://schemas.microsoft.com/office/drawing/2014/main" id="{8D658493-64A4-344A-AC18-4CACCE7047C0}"/>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700" dirty="0">
                <a:solidFill>
                  <a:schemeClr val="bg1">
                    <a:lumMod val="65000"/>
                  </a:schemeClr>
                </a:solidFill>
              </a:rPr>
              <a:t>Proprietary &amp; Confidential. © 2021, Everest Global, Inc.</a:t>
            </a:r>
            <a:r>
              <a:rPr lang="en-IN" sz="700" dirty="0">
                <a:solidFill>
                  <a:schemeClr val="bg1">
                    <a:lumMod val="65000"/>
                  </a:schemeClr>
                </a:solidFill>
              </a:rPr>
              <a:t> </a:t>
            </a:r>
            <a:r>
              <a:rPr lang="en-IN" sz="700" dirty="0">
                <a:solidFill>
                  <a:schemeClr val="bg1">
                    <a:lumMod val="75000"/>
                  </a:schemeClr>
                </a:solidFill>
              </a:rPr>
              <a:t>| </a:t>
            </a:r>
            <a:r>
              <a:rPr lang="en-IN" sz="700" dirty="0">
                <a:solidFill>
                  <a:schemeClr val="bg1">
                    <a:lumMod val="65000"/>
                  </a:schemeClr>
                </a:solidFill>
              </a:rPr>
              <a:t>EGR-2021-24-CA-4389</a:t>
            </a:r>
          </a:p>
        </p:txBody>
      </p:sp>
    </p:spTree>
    <p:extLst>
      <p:ext uri="{BB962C8B-B14F-4D97-AF65-F5344CB8AC3E}">
        <p14:creationId xmlns:p14="http://schemas.microsoft.com/office/powerpoint/2010/main" val="39930037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ffice Slide">
    <p:spTree>
      <p:nvGrpSpPr>
        <p:cNvPr id="1" name=""/>
        <p:cNvGrpSpPr/>
        <p:nvPr/>
      </p:nvGrpSpPr>
      <p:grpSpPr>
        <a:xfrm>
          <a:off x="0" y="0"/>
          <a:ext cx="0" cy="0"/>
          <a:chOff x="0" y="0"/>
          <a:chExt cx="0" cy="0"/>
        </a:xfrm>
      </p:grpSpPr>
      <p:pic>
        <p:nvPicPr>
          <p:cNvPr id="29" name="Picture 28" descr="A person walking down a sidewalk next to a body of water&#10;&#10;Description automatically generated">
            <a:extLst>
              <a:ext uri="{FF2B5EF4-FFF2-40B4-BE49-F238E27FC236}">
                <a16:creationId xmlns:a16="http://schemas.microsoft.com/office/drawing/2014/main" id="{04C2465D-9E60-8B4E-B2A3-A31825E99B7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2" y="0"/>
            <a:ext cx="3621609" cy="6858000"/>
          </a:xfrm>
          <a:prstGeom prst="rect">
            <a:avLst/>
          </a:prstGeom>
        </p:spPr>
      </p:pic>
      <p:sp>
        <p:nvSpPr>
          <p:cNvPr id="30" name="Rectangle 29">
            <a:extLst>
              <a:ext uri="{FF2B5EF4-FFF2-40B4-BE49-F238E27FC236}">
                <a16:creationId xmlns:a16="http://schemas.microsoft.com/office/drawing/2014/main" id="{B108BAB2-3D22-E844-9C3A-BE1DB8958B7C}"/>
              </a:ext>
            </a:extLst>
          </p:cNvPr>
          <p:cNvSpPr/>
          <p:nvPr userDrawn="1"/>
        </p:nvSpPr>
        <p:spPr bwMode="auto">
          <a:xfrm>
            <a:off x="3496734" y="0"/>
            <a:ext cx="8695266" cy="6858000"/>
          </a:xfrm>
          <a:prstGeom prst="rect">
            <a:avLst/>
          </a:prstGeom>
          <a:solidFill>
            <a:srgbClr val="003A69"/>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IN"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31" name="Rectangle 30">
            <a:extLst>
              <a:ext uri="{FF2B5EF4-FFF2-40B4-BE49-F238E27FC236}">
                <a16:creationId xmlns:a16="http://schemas.microsoft.com/office/drawing/2014/main" id="{FB2972F5-34B6-AD46-8204-E582C2B4CDEC}"/>
              </a:ext>
            </a:extLst>
          </p:cNvPr>
          <p:cNvSpPr/>
          <p:nvPr userDrawn="1"/>
        </p:nvSpPr>
        <p:spPr>
          <a:xfrm>
            <a:off x="4004897" y="6054923"/>
            <a:ext cx="7809738" cy="307777"/>
          </a:xfrm>
          <a:prstGeom prst="rect">
            <a:avLst/>
          </a:prstGeom>
        </p:spPr>
        <p:txBody>
          <a:bodyPr wrap="square" lIns="0" tIns="0" rIns="0" bIns="0">
            <a:spAutoFit/>
          </a:bodyPr>
          <a:lstStyle/>
          <a:p>
            <a:pPr marL="0" lvl="1" indent="0" algn="l">
              <a:lnSpc>
                <a:spcPts val="751"/>
              </a:lnSpc>
              <a:spcAft>
                <a:spcPts val="0"/>
              </a:spcAft>
              <a:buNone/>
              <a:defRPr/>
            </a:pPr>
            <a:r>
              <a:rPr lang="en-US" sz="701" i="1" dirty="0">
                <a:solidFill>
                  <a:schemeClr val="accent4"/>
                </a:solidFill>
              </a:rPr>
              <a:t>This document is for informational purposes only, and it is being provided “as is” and “as available” without any warranty of any kind, including any warranties of completeness, adequacy, or fitness for a particular purpose. Everest Group is not a legal or investment adviser; the contents of this document should not be construed as legal, tax, or investment advice. This document should not be used as a substitute for consultation with professional advisors, and Everest Group disclaims liability for any actions or decisions not to act that are taken as a result of any material in this publication.</a:t>
            </a:r>
          </a:p>
        </p:txBody>
      </p:sp>
      <p:sp>
        <p:nvSpPr>
          <p:cNvPr id="32" name="Rectangle 31">
            <a:extLst>
              <a:ext uri="{FF2B5EF4-FFF2-40B4-BE49-F238E27FC236}">
                <a16:creationId xmlns:a16="http://schemas.microsoft.com/office/drawing/2014/main" id="{9BB84828-113B-CB4B-A88C-C2B33509AC5E}"/>
              </a:ext>
            </a:extLst>
          </p:cNvPr>
          <p:cNvSpPr/>
          <p:nvPr userDrawn="1"/>
        </p:nvSpPr>
        <p:spPr>
          <a:xfrm>
            <a:off x="7118343" y="3062978"/>
            <a:ext cx="2473806" cy="195438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GB"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Dallas (Headquarters)</a:t>
            </a:r>
            <a:endParaRPr kumimoji="0" lang="en-GB" sz="1100" b="0"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GB" sz="1100" b="0" i="0" u="none" strike="noStrike" kern="1200" cap="none" spc="0" normalizeH="0" baseline="0" noProof="0" dirty="0">
                <a:ln>
                  <a:noFill/>
                </a:ln>
                <a:solidFill>
                  <a:srgbClr val="FFFFFF"/>
                </a:solidFill>
                <a:effectLst/>
                <a:uLnTx/>
                <a:uFillTx/>
                <a:latin typeface="Arial" charset="0"/>
                <a:ea typeface="+mn-ea"/>
                <a:cs typeface="Arial" charset="0"/>
              </a:rPr>
              <a:t>info@everestgrp.com</a:t>
            </a:r>
          </a:p>
          <a:p>
            <a:pPr marL="0" marR="0" lvl="0" indent="0" algn="l"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GB" sz="1100" b="0" i="0" u="none" strike="noStrike" kern="1200" cap="none" spc="0" normalizeH="0" baseline="0" noProof="0" dirty="0">
                <a:ln>
                  <a:noFill/>
                </a:ln>
                <a:solidFill>
                  <a:srgbClr val="FFFFFF"/>
                </a:solidFill>
                <a:effectLst/>
                <a:uLnTx/>
                <a:uFillTx/>
                <a:latin typeface="Arial" charset="0"/>
                <a:ea typeface="+mn-ea"/>
                <a:cs typeface="Arial" charset="0"/>
              </a:rPr>
              <a:t>+1-214-451-3000</a:t>
            </a:r>
          </a:p>
          <a:p>
            <a:pPr marL="0" marR="0" lvl="0" indent="0" algn="l"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	</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Bangalore</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india@everestgrp.com</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91-80-61463500 </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endPar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Delhi</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india@everestgrp.com</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91-124-496-1000</a:t>
            </a:r>
          </a:p>
        </p:txBody>
      </p:sp>
      <p:cxnSp>
        <p:nvCxnSpPr>
          <p:cNvPr id="35" name="Straight Connector 34">
            <a:extLst>
              <a:ext uri="{FF2B5EF4-FFF2-40B4-BE49-F238E27FC236}">
                <a16:creationId xmlns:a16="http://schemas.microsoft.com/office/drawing/2014/main" id="{8AE8C42B-90E0-354D-AB1E-706AB70A64F3}"/>
              </a:ext>
            </a:extLst>
          </p:cNvPr>
          <p:cNvCxnSpPr>
            <a:cxnSpLocks/>
          </p:cNvCxnSpPr>
          <p:nvPr userDrawn="1"/>
        </p:nvCxnSpPr>
        <p:spPr bwMode="auto">
          <a:xfrm>
            <a:off x="6553578" y="3062978"/>
            <a:ext cx="0" cy="2118603"/>
          </a:xfrm>
          <a:prstGeom prst="line">
            <a:avLst/>
          </a:prstGeom>
          <a:noFill/>
          <a:ln w="9525" cap="flat" cmpd="sng" algn="ctr">
            <a:solidFill>
              <a:schemeClr val="accent5"/>
            </a:solidFill>
            <a:prstDash val="solid"/>
            <a:round/>
            <a:headEnd type="none" w="med" len="med"/>
            <a:tailEnd type="none" w="med" len="med"/>
          </a:ln>
          <a:effectLst/>
        </p:spPr>
      </p:cxnSp>
      <p:sp>
        <p:nvSpPr>
          <p:cNvPr id="36" name="Rectangle 35">
            <a:extLst>
              <a:ext uri="{FF2B5EF4-FFF2-40B4-BE49-F238E27FC236}">
                <a16:creationId xmlns:a16="http://schemas.microsoft.com/office/drawing/2014/main" id="{9344DBAE-F66D-4D45-8B78-88B515661F15}"/>
              </a:ext>
            </a:extLst>
          </p:cNvPr>
          <p:cNvSpPr/>
          <p:nvPr userDrawn="1"/>
        </p:nvSpPr>
        <p:spPr>
          <a:xfrm>
            <a:off x="9362298" y="3062978"/>
            <a:ext cx="2239530" cy="195438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London</a:t>
            </a:r>
            <a:endParaRPr kumimoji="0" lang="en-US" sz="1100" b="0"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unitedkingdom@everestgrp.com</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44-207-129-1318</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endPar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New York</a:t>
            </a:r>
            <a:endParaRPr kumimoji="0" lang="en-US" sz="1100" b="0" i="1"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info@everestgrp.com</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1-646-805-4000</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endParaRPr kumimoji="0" lang="en-US" sz="1100" b="1" i="0" u="none" strike="noStrike" kern="1200" cap="none" spc="0" normalizeH="0" baseline="0" noProof="0" dirty="0">
              <a:ln>
                <a:noFill/>
              </a:ln>
              <a:solidFill>
                <a:srgbClr val="FFFFFF"/>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Toronto</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canada@everestgrp.com</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1-647-557-3475</a:t>
            </a:r>
          </a:p>
        </p:txBody>
      </p:sp>
      <p:sp>
        <p:nvSpPr>
          <p:cNvPr id="37" name="Rectangle 36">
            <a:hlinkClick r:id="rId3"/>
            <a:extLst>
              <a:ext uri="{FF2B5EF4-FFF2-40B4-BE49-F238E27FC236}">
                <a16:creationId xmlns:a16="http://schemas.microsoft.com/office/drawing/2014/main" id="{6D231527-5C88-2144-9B06-AB8754383253}"/>
              </a:ext>
            </a:extLst>
          </p:cNvPr>
          <p:cNvSpPr/>
          <p:nvPr userDrawn="1"/>
        </p:nvSpPr>
        <p:spPr bwMode="auto">
          <a:xfrm>
            <a:off x="7161898" y="3104712"/>
            <a:ext cx="1525280"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38" name="Rectangle 37">
            <a:hlinkClick r:id="rId4"/>
            <a:extLst>
              <a:ext uri="{FF2B5EF4-FFF2-40B4-BE49-F238E27FC236}">
                <a16:creationId xmlns:a16="http://schemas.microsoft.com/office/drawing/2014/main" id="{620CA404-00B9-C642-B6C1-6488B8ACF140}"/>
              </a:ext>
            </a:extLst>
          </p:cNvPr>
          <p:cNvSpPr/>
          <p:nvPr userDrawn="1"/>
        </p:nvSpPr>
        <p:spPr bwMode="auto">
          <a:xfrm>
            <a:off x="7161898" y="3782980"/>
            <a:ext cx="1527048"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40" name="Rectangle 39">
            <a:hlinkClick r:id="rId4"/>
            <a:extLst>
              <a:ext uri="{FF2B5EF4-FFF2-40B4-BE49-F238E27FC236}">
                <a16:creationId xmlns:a16="http://schemas.microsoft.com/office/drawing/2014/main" id="{1DD93BCB-A828-7148-AD24-4704D03D47BC}"/>
              </a:ext>
            </a:extLst>
          </p:cNvPr>
          <p:cNvSpPr/>
          <p:nvPr userDrawn="1"/>
        </p:nvSpPr>
        <p:spPr bwMode="auto">
          <a:xfrm>
            <a:off x="7161898" y="4445000"/>
            <a:ext cx="1527048"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41" name="Rectangle 40">
            <a:hlinkClick r:id="rId5"/>
            <a:extLst>
              <a:ext uri="{FF2B5EF4-FFF2-40B4-BE49-F238E27FC236}">
                <a16:creationId xmlns:a16="http://schemas.microsoft.com/office/drawing/2014/main" id="{C0C76D48-8135-CD47-913D-12546B676E56}"/>
              </a:ext>
            </a:extLst>
          </p:cNvPr>
          <p:cNvSpPr/>
          <p:nvPr userDrawn="1"/>
        </p:nvSpPr>
        <p:spPr bwMode="auto">
          <a:xfrm>
            <a:off x="9413780" y="3104712"/>
            <a:ext cx="2066926"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43" name="Rectangle 42">
            <a:hlinkClick r:id="rId3"/>
            <a:extLst>
              <a:ext uri="{FF2B5EF4-FFF2-40B4-BE49-F238E27FC236}">
                <a16:creationId xmlns:a16="http://schemas.microsoft.com/office/drawing/2014/main" id="{01C30C41-455C-4E44-A9EB-08D9E09394D8}"/>
              </a:ext>
            </a:extLst>
          </p:cNvPr>
          <p:cNvSpPr/>
          <p:nvPr userDrawn="1"/>
        </p:nvSpPr>
        <p:spPr bwMode="auto">
          <a:xfrm>
            <a:off x="9413780" y="3782980"/>
            <a:ext cx="1405552"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44" name="Rectangle 43">
            <a:hlinkClick r:id="rId6"/>
            <a:extLst>
              <a:ext uri="{FF2B5EF4-FFF2-40B4-BE49-F238E27FC236}">
                <a16:creationId xmlns:a16="http://schemas.microsoft.com/office/drawing/2014/main" id="{B8B71E37-6D4C-734F-B687-89EB65566219}"/>
              </a:ext>
            </a:extLst>
          </p:cNvPr>
          <p:cNvSpPr/>
          <p:nvPr userDrawn="1"/>
        </p:nvSpPr>
        <p:spPr bwMode="auto">
          <a:xfrm>
            <a:off x="9413780" y="4445000"/>
            <a:ext cx="1649996"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45" name="Rectangle 44">
            <a:extLst>
              <a:ext uri="{FF2B5EF4-FFF2-40B4-BE49-F238E27FC236}">
                <a16:creationId xmlns:a16="http://schemas.microsoft.com/office/drawing/2014/main" id="{3EBD896B-0C3A-AE47-8F2D-34C148419A41}"/>
              </a:ext>
            </a:extLst>
          </p:cNvPr>
          <p:cNvSpPr/>
          <p:nvPr userDrawn="1"/>
        </p:nvSpPr>
        <p:spPr>
          <a:xfrm>
            <a:off x="4004897" y="1549827"/>
            <a:ext cx="7891828" cy="769441"/>
          </a:xfrm>
          <a:prstGeom prst="rect">
            <a:avLst/>
          </a:prstGeom>
        </p:spPr>
        <p:txBody>
          <a:bodyPr wrap="square" lIns="0" rIns="0">
            <a:spAutoFit/>
          </a:bodyPr>
          <a:lstStyle/>
          <a:p>
            <a:pPr marL="0" lvl="0" indent="0">
              <a:buNone/>
            </a:pPr>
            <a:r>
              <a:rPr lang="en-US" sz="1100" dirty="0">
                <a:solidFill>
                  <a:schemeClr val="bg1"/>
                </a:solidFill>
              </a:rPr>
              <a:t>Everest Group is a research firm focused on strategic IT, business services, engineering services, and sourcing. Our clients include leading global companies, service providers, and investors. Clients use our services to guide their journeys to achieve heightened operational and financial performance, accelerated value delivery, and high-impact business outcomes. Details and in-depth content are available at </a:t>
            </a:r>
            <a:r>
              <a:rPr lang="en-US" sz="1100" b="1" dirty="0" err="1">
                <a:solidFill>
                  <a:schemeClr val="bg1"/>
                </a:solidFill>
              </a:rPr>
              <a:t>www.everestgrp.com</a:t>
            </a:r>
            <a:r>
              <a:rPr lang="en-US" sz="1100" dirty="0">
                <a:solidFill>
                  <a:schemeClr val="bg1"/>
                </a:solidFill>
              </a:rPr>
              <a:t>.</a:t>
            </a:r>
            <a:endParaRPr lang="en-US" sz="1100" u="none" dirty="0">
              <a:solidFill>
                <a:schemeClr val="bg1"/>
              </a:solidFill>
            </a:endParaRPr>
          </a:p>
        </p:txBody>
      </p:sp>
      <p:sp>
        <p:nvSpPr>
          <p:cNvPr id="48" name="Rectangle 47">
            <a:extLst>
              <a:ext uri="{FF2B5EF4-FFF2-40B4-BE49-F238E27FC236}">
                <a16:creationId xmlns:a16="http://schemas.microsoft.com/office/drawing/2014/main" id="{1F8C37BA-9A37-EB45-A456-FE59E29CD378}"/>
              </a:ext>
            </a:extLst>
          </p:cNvPr>
          <p:cNvSpPr/>
          <p:nvPr userDrawn="1"/>
        </p:nvSpPr>
        <p:spPr>
          <a:xfrm>
            <a:off x="3919172" y="2608840"/>
            <a:ext cx="1699504" cy="338554"/>
          </a:xfrm>
          <a:prstGeom prst="rect">
            <a:avLst/>
          </a:prstGeom>
        </p:spPr>
        <p:txBody>
          <a:bodyPr wrap="none">
            <a:spAutoFit/>
          </a:bodyPr>
          <a:lstStyle/>
          <a:p>
            <a:r>
              <a:rPr lang="en-GB" b="1" dirty="0">
                <a:solidFill>
                  <a:srgbClr val="FFFFFF"/>
                </a:solidFill>
                <a:latin typeface="Arial" panose="020B0604020202020204" pitchFamily="34" charset="0"/>
                <a:cs typeface="Arial" panose="020B0604020202020204" pitchFamily="34" charset="0"/>
              </a:rPr>
              <a:t>Stay </a:t>
            </a:r>
            <a:r>
              <a:rPr kumimoji="0" lang="en-GB" b="1"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onnected</a:t>
            </a:r>
            <a:endParaRPr lang="en-US" b="1" baseline="0" dirty="0">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FDA35638-D2E2-854F-9680-BDBDA5B296B0}"/>
              </a:ext>
            </a:extLst>
          </p:cNvPr>
          <p:cNvSpPr/>
          <p:nvPr userDrawn="1"/>
        </p:nvSpPr>
        <p:spPr>
          <a:xfrm>
            <a:off x="3919172" y="3066153"/>
            <a:ext cx="2225414" cy="2157514"/>
          </a:xfrm>
          <a:prstGeom prst="rect">
            <a:avLst/>
          </a:prstGeom>
        </p:spPr>
        <p:txBody>
          <a:bodyPr wrap="square">
            <a:spAutoFit/>
          </a:bodyPr>
          <a:lstStyle/>
          <a:p>
            <a:pPr marL="0" marR="0" lvl="0" indent="0"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GB"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Website</a:t>
            </a:r>
            <a:endParaRPr kumimoji="0" lang="en-GB" sz="1100" b="0"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endParaRPr>
          </a:p>
          <a:p>
            <a:pPr marL="0" marR="0" lvl="0" indent="0"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GB" sz="1100" b="0" i="0" u="none" strike="noStrike" kern="1200" cap="none" spc="0" normalizeH="0" baseline="0" noProof="0" dirty="0">
                <a:ln>
                  <a:noFill/>
                </a:ln>
                <a:solidFill>
                  <a:srgbClr val="FFFFFF"/>
                </a:solidFill>
                <a:effectLst/>
                <a:uLnTx/>
                <a:uFillTx/>
                <a:latin typeface="Arial" charset="0"/>
                <a:ea typeface="+mn-ea"/>
                <a:cs typeface="Arial" charset="0"/>
              </a:rPr>
              <a:t>everestgrp.com</a:t>
            </a:r>
          </a:p>
          <a:p>
            <a:pPr marL="0" marR="0" lvl="0" indent="0"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	</a:t>
            </a:r>
            <a:endPar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endParaRPr>
          </a:p>
          <a:p>
            <a:pPr marL="0" marR="0" lvl="0" indent="0"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Social Media</a:t>
            </a:r>
          </a:p>
          <a:p>
            <a:pPr marL="0" marR="0" lvl="0" indent="0" defTabSz="914400" rtl="0" eaLnBrk="1" fontAlgn="base" latinLnBrk="0" hangingPunct="1">
              <a:lnSpc>
                <a:spcPct val="130000"/>
              </a:lnSpc>
              <a:spcBef>
                <a:spcPct val="0"/>
              </a:spcBef>
              <a:spcAft>
                <a:spcPct val="0"/>
              </a:spcAft>
              <a:buClr>
                <a:srgbClr val="3333FF"/>
              </a:buClr>
              <a:buSzPct val="60000"/>
              <a:buFontTx/>
              <a:buNone/>
              <a:tabLst>
                <a:tab pos="227013"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	</a:t>
            </a: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a:t>
            </a:r>
            <a:r>
              <a:rPr lang="en-US" sz="1100" dirty="0">
                <a:solidFill>
                  <a:srgbClr val="FFFFFF"/>
                </a:solidFill>
              </a:rPr>
              <a:t>E</a:t>
            </a:r>
            <a:r>
              <a:rPr kumimoji="0" lang="en-US" sz="1100" b="0" i="0" u="none" strike="noStrike" kern="1200" cap="none" spc="0" normalizeH="0" baseline="0" noProof="0" dirty="0" err="1">
                <a:ln>
                  <a:noFill/>
                </a:ln>
                <a:solidFill>
                  <a:srgbClr val="FFFFFF"/>
                </a:solidFill>
                <a:effectLst/>
                <a:uLnTx/>
                <a:uFillTx/>
                <a:latin typeface="Arial" charset="0"/>
                <a:ea typeface="+mn-ea"/>
                <a:cs typeface="Arial" charset="0"/>
              </a:rPr>
              <a:t>verestGroup</a:t>
            </a:r>
            <a:endParaRPr lang="en-US" sz="1100" dirty="0">
              <a:solidFill>
                <a:srgbClr val="FFFFFF"/>
              </a:solidFill>
            </a:endParaRPr>
          </a:p>
          <a:p>
            <a:pPr lvl="0">
              <a:lnSpc>
                <a:spcPct val="130000"/>
              </a:lnSpc>
              <a:buClr>
                <a:srgbClr val="3333FF"/>
              </a:buClr>
              <a:buSzPct val="60000"/>
              <a:tabLst>
                <a:tab pos="227013"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	@</a:t>
            </a:r>
            <a:r>
              <a:rPr lang="en-US" sz="1100" dirty="0">
                <a:solidFill>
                  <a:srgbClr val="FFFFFF"/>
                </a:solidFill>
              </a:rPr>
              <a:t>Everest Group</a:t>
            </a:r>
          </a:p>
          <a:p>
            <a:pPr lvl="0">
              <a:lnSpc>
                <a:spcPct val="130000"/>
              </a:lnSpc>
              <a:buClr>
                <a:srgbClr val="3333FF"/>
              </a:buClr>
              <a:buSzPct val="60000"/>
              <a:tabLst>
                <a:tab pos="227013"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	@</a:t>
            </a:r>
            <a:r>
              <a:rPr lang="en-US" sz="1100" dirty="0">
                <a:solidFill>
                  <a:srgbClr val="FFFFFF"/>
                </a:solidFill>
              </a:rPr>
              <a:t>Everest Group</a:t>
            </a:r>
          </a:p>
          <a:p>
            <a:pPr>
              <a:lnSpc>
                <a:spcPct val="130000"/>
              </a:lnSpc>
              <a:buClr>
                <a:srgbClr val="3333FF"/>
              </a:buClr>
              <a:buSzPct val="60000"/>
              <a:tabLst>
                <a:tab pos="227013" algn="l"/>
              </a:tabLst>
              <a:defRPr/>
            </a:pPr>
            <a:r>
              <a:rPr lang="en-US" sz="1100" dirty="0">
                <a:solidFill>
                  <a:srgbClr val="FFFFFF"/>
                </a:solidFill>
              </a:rPr>
              <a:t>  	@Everest Group</a:t>
            </a:r>
          </a:p>
          <a:p>
            <a:pPr lvl="0">
              <a:buClr>
                <a:srgbClr val="3333FF"/>
              </a:buClr>
              <a:buSzPct val="60000"/>
              <a:tabLst>
                <a:tab pos="171450" algn="l"/>
              </a:tabLst>
              <a:defRPr/>
            </a:pPr>
            <a:endParaRPr kumimoji="0" lang="en-US" sz="1100" b="0" i="0" u="none" strike="noStrike" kern="1200" cap="none" spc="0" normalizeH="0" baseline="0" noProof="0" dirty="0">
              <a:ln>
                <a:noFill/>
              </a:ln>
              <a:solidFill>
                <a:srgbClr val="FFFFFF"/>
              </a:solidFill>
              <a:effectLst/>
              <a:uLnTx/>
              <a:uFillTx/>
              <a:latin typeface="Arial" charset="0"/>
              <a:ea typeface="+mn-ea"/>
              <a:cs typeface="Arial" charset="0"/>
            </a:endParaRPr>
          </a:p>
          <a:p>
            <a:pPr marL="0" marR="0" lvl="0" indent="0"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Blog</a:t>
            </a:r>
          </a:p>
          <a:p>
            <a:pPr marL="0" marR="0" lvl="0" indent="0"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GB" sz="1100" b="0" i="0" u="none" strike="noStrike" kern="1200" cap="none" spc="0" normalizeH="0" baseline="0" noProof="0" dirty="0">
                <a:ln>
                  <a:noFill/>
                </a:ln>
                <a:solidFill>
                  <a:srgbClr val="FFFFFF"/>
                </a:solidFill>
                <a:effectLst/>
                <a:uLnTx/>
                <a:uFillTx/>
                <a:latin typeface="Arial" charset="0"/>
                <a:ea typeface="+mn-ea"/>
                <a:cs typeface="Arial" charset="0"/>
              </a:rPr>
              <a:t>everestgrp.</a:t>
            </a: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com/blog</a:t>
            </a:r>
          </a:p>
        </p:txBody>
      </p:sp>
      <p:sp>
        <p:nvSpPr>
          <p:cNvPr id="52" name="Rectangle 51">
            <a:hlinkClick r:id="rId7"/>
            <a:extLst>
              <a:ext uri="{FF2B5EF4-FFF2-40B4-BE49-F238E27FC236}">
                <a16:creationId xmlns:a16="http://schemas.microsoft.com/office/drawing/2014/main" id="{4F89129D-05F2-1D46-A29F-5387114785B5}"/>
              </a:ext>
            </a:extLst>
          </p:cNvPr>
          <p:cNvSpPr/>
          <p:nvPr userDrawn="1"/>
        </p:nvSpPr>
        <p:spPr bwMode="auto">
          <a:xfrm>
            <a:off x="3952875" y="3107887"/>
            <a:ext cx="1066800"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53" name="Rectangle 52">
            <a:hlinkClick r:id="rId8"/>
            <a:extLst>
              <a:ext uri="{FF2B5EF4-FFF2-40B4-BE49-F238E27FC236}">
                <a16:creationId xmlns:a16="http://schemas.microsoft.com/office/drawing/2014/main" id="{E56679EA-CDCB-A84C-870D-6D4AB1DF1F40}"/>
              </a:ext>
            </a:extLst>
          </p:cNvPr>
          <p:cNvSpPr/>
          <p:nvPr userDrawn="1"/>
        </p:nvSpPr>
        <p:spPr bwMode="auto">
          <a:xfrm>
            <a:off x="3952874" y="4834924"/>
            <a:ext cx="1362075"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54" name="Rectangle 53">
            <a:hlinkClick r:id="rId9"/>
            <a:extLst>
              <a:ext uri="{FF2B5EF4-FFF2-40B4-BE49-F238E27FC236}">
                <a16:creationId xmlns:a16="http://schemas.microsoft.com/office/drawing/2014/main" id="{D1D28403-F334-E149-BC23-7B0BB02D2702}"/>
              </a:ext>
            </a:extLst>
          </p:cNvPr>
          <p:cNvSpPr/>
          <p:nvPr userDrawn="1"/>
        </p:nvSpPr>
        <p:spPr bwMode="auto">
          <a:xfrm>
            <a:off x="3983490" y="4479131"/>
            <a:ext cx="1325880" cy="161925"/>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55" name="Rectangle 54">
            <a:hlinkClick r:id="rId10"/>
            <a:extLst>
              <a:ext uri="{FF2B5EF4-FFF2-40B4-BE49-F238E27FC236}">
                <a16:creationId xmlns:a16="http://schemas.microsoft.com/office/drawing/2014/main" id="{5483B32D-4A1C-F943-BE74-91E30F33B3E6}"/>
              </a:ext>
            </a:extLst>
          </p:cNvPr>
          <p:cNvSpPr/>
          <p:nvPr userDrawn="1"/>
        </p:nvSpPr>
        <p:spPr bwMode="auto">
          <a:xfrm>
            <a:off x="3983490" y="4040981"/>
            <a:ext cx="1321935" cy="161925"/>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pic>
        <p:nvPicPr>
          <p:cNvPr id="56" name="Graphic 55">
            <a:extLst>
              <a:ext uri="{FF2B5EF4-FFF2-40B4-BE49-F238E27FC236}">
                <a16:creationId xmlns:a16="http://schemas.microsoft.com/office/drawing/2014/main" id="{9AA6A047-553D-964D-932D-3FB75DB25FD1}"/>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4005358" y="3812380"/>
            <a:ext cx="183261" cy="183261"/>
          </a:xfrm>
          <a:prstGeom prst="rect">
            <a:avLst/>
          </a:prstGeom>
        </p:spPr>
      </p:pic>
      <p:sp>
        <p:nvSpPr>
          <p:cNvPr id="57" name="Rectangle 56">
            <a:hlinkClick r:id="rId13"/>
            <a:extLst>
              <a:ext uri="{FF2B5EF4-FFF2-40B4-BE49-F238E27FC236}">
                <a16:creationId xmlns:a16="http://schemas.microsoft.com/office/drawing/2014/main" id="{27D58D37-9679-3442-9661-474C0336C0DE}"/>
              </a:ext>
            </a:extLst>
          </p:cNvPr>
          <p:cNvSpPr/>
          <p:nvPr userDrawn="1"/>
        </p:nvSpPr>
        <p:spPr bwMode="auto">
          <a:xfrm>
            <a:off x="3983490" y="3821906"/>
            <a:ext cx="1321935" cy="161925"/>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pic>
        <p:nvPicPr>
          <p:cNvPr id="64" name="Graphic 63">
            <a:extLst>
              <a:ext uri="{FF2B5EF4-FFF2-40B4-BE49-F238E27FC236}">
                <a16:creationId xmlns:a16="http://schemas.microsoft.com/office/drawing/2014/main" id="{94780B84-2A2C-8541-A3CF-CF60B38A714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993339" y="4019550"/>
            <a:ext cx="209549" cy="209549"/>
          </a:xfrm>
          <a:prstGeom prst="rect">
            <a:avLst/>
          </a:prstGeom>
        </p:spPr>
      </p:pic>
      <p:pic>
        <p:nvPicPr>
          <p:cNvPr id="67" name="Graphic 66">
            <a:extLst>
              <a:ext uri="{FF2B5EF4-FFF2-40B4-BE49-F238E27FC236}">
                <a16:creationId xmlns:a16="http://schemas.microsoft.com/office/drawing/2014/main" id="{0A03AEF6-F3FE-2A49-AA51-AEC6EFD4FD74}"/>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017169" y="4265772"/>
            <a:ext cx="164306" cy="164306"/>
          </a:xfrm>
          <a:prstGeom prst="rect">
            <a:avLst/>
          </a:prstGeom>
        </p:spPr>
      </p:pic>
      <p:sp>
        <p:nvSpPr>
          <p:cNvPr id="68" name="Rectangle 67">
            <a:hlinkClick r:id="rId18"/>
            <a:extLst>
              <a:ext uri="{FF2B5EF4-FFF2-40B4-BE49-F238E27FC236}">
                <a16:creationId xmlns:a16="http://schemas.microsoft.com/office/drawing/2014/main" id="{4D568181-8C8A-654D-913D-FB414B913913}"/>
              </a:ext>
            </a:extLst>
          </p:cNvPr>
          <p:cNvSpPr/>
          <p:nvPr userDrawn="1"/>
        </p:nvSpPr>
        <p:spPr bwMode="auto">
          <a:xfrm>
            <a:off x="3983490" y="4260056"/>
            <a:ext cx="1321935" cy="161925"/>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pic>
        <p:nvPicPr>
          <p:cNvPr id="69" name="Graphic 68">
            <a:extLst>
              <a:ext uri="{FF2B5EF4-FFF2-40B4-BE49-F238E27FC236}">
                <a16:creationId xmlns:a16="http://schemas.microsoft.com/office/drawing/2014/main" id="{363215D9-0E9C-A140-A835-6488BB09B59E}"/>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4019550" y="4478306"/>
            <a:ext cx="164306" cy="164306"/>
          </a:xfrm>
          <a:prstGeom prst="rect">
            <a:avLst/>
          </a:prstGeom>
        </p:spPr>
      </p:pic>
      <p:pic>
        <p:nvPicPr>
          <p:cNvPr id="70" name="Graphic 69">
            <a:extLst>
              <a:ext uri="{FF2B5EF4-FFF2-40B4-BE49-F238E27FC236}">
                <a16:creationId xmlns:a16="http://schemas.microsoft.com/office/drawing/2014/main" id="{33D5E4E0-69F7-C24B-AA52-89EE09E77DA9}"/>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3574257" y="416719"/>
            <a:ext cx="2101437" cy="919771"/>
          </a:xfrm>
          <a:prstGeom prst="rect">
            <a:avLst/>
          </a:prstGeom>
        </p:spPr>
      </p:pic>
      <p:sp>
        <p:nvSpPr>
          <p:cNvPr id="73" name="Rectangle 72">
            <a:hlinkClick r:id="rId7"/>
            <a:extLst>
              <a:ext uri="{FF2B5EF4-FFF2-40B4-BE49-F238E27FC236}">
                <a16:creationId xmlns:a16="http://schemas.microsoft.com/office/drawing/2014/main" id="{B08A2A2D-81A8-5742-822C-DEFDDA120C3E}"/>
              </a:ext>
            </a:extLst>
          </p:cNvPr>
          <p:cNvSpPr/>
          <p:nvPr userDrawn="1"/>
        </p:nvSpPr>
        <p:spPr bwMode="auto">
          <a:xfrm>
            <a:off x="6013443" y="2106581"/>
            <a:ext cx="1447422" cy="17942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63410256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nvPr>
        </p:nvGraphicFramePr>
        <p:xfrm>
          <a:off x="1591" y="1594"/>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10" imgW="216" imgH="216" progId="TCLayout.ActiveDocument.1">
                  <p:embed/>
                </p:oleObj>
              </mc:Choice>
              <mc:Fallback>
                <p:oleObj name="think-cell Slide" r:id="rId10" imgW="216" imgH="216" progId="TCLayout.ActiveDocument.1">
                  <p:embed/>
                  <p:pic>
                    <p:nvPicPr>
                      <p:cNvPr id="3" name="Object 2" hidden="1"/>
                      <p:cNvPicPr/>
                      <p:nvPr/>
                    </p:nvPicPr>
                    <p:blipFill>
                      <a:blip r:embed="rId11"/>
                      <a:stretch>
                        <a:fillRect/>
                      </a:stretch>
                    </p:blipFill>
                    <p:spPr>
                      <a:xfrm>
                        <a:off x="1591" y="1594"/>
                        <a:ext cx="1587" cy="1587"/>
                      </a:xfrm>
                      <a:prstGeom prst="rect">
                        <a:avLst/>
                      </a:prstGeom>
                    </p:spPr>
                  </p:pic>
                </p:oleObj>
              </mc:Fallback>
            </mc:AlternateContent>
          </a:graphicData>
        </a:graphic>
      </p:graphicFrame>
      <p:sp>
        <p:nvSpPr>
          <p:cNvPr id="18" name="Slide Number Placeholder 2">
            <a:extLst>
              <a:ext uri="{FF2B5EF4-FFF2-40B4-BE49-F238E27FC236}">
                <a16:creationId xmlns:a16="http://schemas.microsoft.com/office/drawing/2014/main" id="{1D16FCDF-3375-46BB-91AD-1FE9E1A5D591}"/>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700" dirty="0">
                <a:solidFill>
                  <a:schemeClr val="bg1">
                    <a:lumMod val="65000"/>
                  </a:schemeClr>
                </a:solidFill>
              </a:rPr>
              <a:t>Proprietary &amp; Confidential. © 2021, Everest Global, Inc.</a:t>
            </a:r>
            <a:r>
              <a:rPr lang="en-IN" sz="700" dirty="0">
                <a:solidFill>
                  <a:schemeClr val="bg1">
                    <a:lumMod val="65000"/>
                  </a:schemeClr>
                </a:solidFill>
              </a:rPr>
              <a:t> </a:t>
            </a:r>
            <a:r>
              <a:rPr lang="en-IN" sz="700" dirty="0">
                <a:solidFill>
                  <a:schemeClr val="bg1">
                    <a:lumMod val="75000"/>
                  </a:schemeClr>
                </a:solidFill>
              </a:rPr>
              <a:t>| </a:t>
            </a:r>
            <a:r>
              <a:rPr lang="en-IN" sz="700" dirty="0">
                <a:solidFill>
                  <a:schemeClr val="bg1">
                    <a:lumMod val="65000"/>
                  </a:schemeClr>
                </a:solidFill>
              </a:rPr>
              <a:t>EGR-2021-24-CA-4389</a:t>
            </a:r>
          </a:p>
        </p:txBody>
      </p:sp>
      <p:sp>
        <p:nvSpPr>
          <p:cNvPr id="27" name="Rectangle 21">
            <a:extLst>
              <a:ext uri="{FF2B5EF4-FFF2-40B4-BE49-F238E27FC236}">
                <a16:creationId xmlns:a16="http://schemas.microsoft.com/office/drawing/2014/main" id="{2DDEC6A6-5FD2-46B6-BDBD-88ED631CB867}"/>
              </a:ext>
            </a:extLst>
          </p:cNvPr>
          <p:cNvSpPr txBox="1">
            <a:spLocks noChangeArrowheads="1"/>
          </p:cNvSpPr>
          <p:nvPr userDrawn="1"/>
        </p:nvSpPr>
        <p:spPr bwMode="auto">
          <a:xfrm>
            <a:off x="307975" y="305294"/>
            <a:ext cx="11612880" cy="16158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lang="en-US" sz="1800" b="1" smtClean="0">
                <a:solidFill>
                  <a:schemeClr val="accent2"/>
                </a:solidFill>
                <a:latin typeface="+mn-lt"/>
                <a:ea typeface="+mj-ea"/>
                <a:cs typeface="+mj-cs"/>
              </a:defRPr>
            </a:lvl1pPr>
            <a:lvl2pPr algn="l" rtl="0" eaLnBrk="1" fontAlgn="base" hangingPunct="1">
              <a:spcBef>
                <a:spcPct val="0"/>
              </a:spcBef>
              <a:spcAft>
                <a:spcPct val="0"/>
              </a:spcAft>
              <a:defRPr sz="2002">
                <a:solidFill>
                  <a:srgbClr val="3333FF"/>
                </a:solidFill>
                <a:latin typeface="Arial Black" pitchFamily="34" charset="0"/>
              </a:defRPr>
            </a:lvl2pPr>
            <a:lvl3pPr algn="l" rtl="0" eaLnBrk="1" fontAlgn="base" hangingPunct="1">
              <a:spcBef>
                <a:spcPct val="0"/>
              </a:spcBef>
              <a:spcAft>
                <a:spcPct val="0"/>
              </a:spcAft>
              <a:defRPr sz="2002">
                <a:solidFill>
                  <a:srgbClr val="3333FF"/>
                </a:solidFill>
                <a:latin typeface="Arial Black" pitchFamily="34" charset="0"/>
              </a:defRPr>
            </a:lvl3pPr>
            <a:lvl4pPr algn="l" rtl="0" eaLnBrk="1" fontAlgn="base" hangingPunct="1">
              <a:spcBef>
                <a:spcPct val="0"/>
              </a:spcBef>
              <a:spcAft>
                <a:spcPct val="0"/>
              </a:spcAft>
              <a:defRPr sz="2002">
                <a:solidFill>
                  <a:srgbClr val="3333FF"/>
                </a:solidFill>
                <a:latin typeface="Arial Black" pitchFamily="34" charset="0"/>
              </a:defRPr>
            </a:lvl4pPr>
            <a:lvl5pPr algn="l" rtl="0" eaLnBrk="1" fontAlgn="base" hangingPunct="1">
              <a:spcBef>
                <a:spcPct val="0"/>
              </a:spcBef>
              <a:spcAft>
                <a:spcPct val="0"/>
              </a:spcAft>
              <a:defRPr sz="2002">
                <a:solidFill>
                  <a:srgbClr val="3333FF"/>
                </a:solidFill>
                <a:latin typeface="Arial Black" pitchFamily="34" charset="0"/>
              </a:defRPr>
            </a:lvl5pPr>
            <a:lvl6pPr marL="457686" algn="l" rtl="0" eaLnBrk="1" fontAlgn="base" hangingPunct="1">
              <a:spcBef>
                <a:spcPct val="0"/>
              </a:spcBef>
              <a:spcAft>
                <a:spcPct val="0"/>
              </a:spcAft>
              <a:defRPr sz="2002">
                <a:solidFill>
                  <a:srgbClr val="3333FF"/>
                </a:solidFill>
                <a:latin typeface="Arial Black" pitchFamily="34" charset="0"/>
              </a:defRPr>
            </a:lvl6pPr>
            <a:lvl7pPr marL="915373" algn="l" rtl="0" eaLnBrk="1" fontAlgn="base" hangingPunct="1">
              <a:spcBef>
                <a:spcPct val="0"/>
              </a:spcBef>
              <a:spcAft>
                <a:spcPct val="0"/>
              </a:spcAft>
              <a:defRPr sz="2002">
                <a:solidFill>
                  <a:srgbClr val="3333FF"/>
                </a:solidFill>
                <a:latin typeface="Arial Black" pitchFamily="34" charset="0"/>
              </a:defRPr>
            </a:lvl7pPr>
            <a:lvl8pPr marL="1373061" algn="l" rtl="0" eaLnBrk="1" fontAlgn="base" hangingPunct="1">
              <a:spcBef>
                <a:spcPct val="0"/>
              </a:spcBef>
              <a:spcAft>
                <a:spcPct val="0"/>
              </a:spcAft>
              <a:defRPr sz="2002">
                <a:solidFill>
                  <a:srgbClr val="3333FF"/>
                </a:solidFill>
                <a:latin typeface="Arial Black" pitchFamily="34" charset="0"/>
              </a:defRPr>
            </a:lvl8pPr>
            <a:lvl9pPr marL="1830747" algn="l" rtl="0" eaLnBrk="1" fontAlgn="base" hangingPunct="1">
              <a:spcBef>
                <a:spcPct val="0"/>
              </a:spcBef>
              <a:spcAft>
                <a:spcPct val="0"/>
              </a:spcAft>
              <a:defRPr sz="2002">
                <a:solidFill>
                  <a:srgbClr val="3333FF"/>
                </a:solidFill>
                <a:latin typeface="Arial Black"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050" b="0" dirty="0">
                <a:solidFill>
                  <a:schemeClr val="accent4"/>
                </a:solidFill>
                <a:latin typeface="+mn-lt"/>
              </a:rPr>
              <a:t>Rewards and Recognition (R&amp;R) State of the Market Report 2021: The Era of Modernizing Employee Engagement</a:t>
            </a:r>
          </a:p>
        </p:txBody>
      </p:sp>
      <p:sp>
        <p:nvSpPr>
          <p:cNvPr id="9" name="Rectangle 22">
            <a:extLst>
              <a:ext uri="{FF2B5EF4-FFF2-40B4-BE49-F238E27FC236}">
                <a16:creationId xmlns:a16="http://schemas.microsoft.com/office/drawing/2014/main" id="{02868FAE-42DB-44ED-B9A0-49CDF8CC7D44}"/>
              </a:ext>
            </a:extLst>
          </p:cNvPr>
          <p:cNvSpPr>
            <a:spLocks noGrp="1" noChangeArrowheads="1"/>
          </p:cNvSpPr>
          <p:nvPr>
            <p:ph type="body" idx="1"/>
          </p:nvPr>
        </p:nvSpPr>
        <p:spPr bwMode="auto">
          <a:xfrm>
            <a:off x="307974" y="1664208"/>
            <a:ext cx="11597513" cy="47365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lain text</a:t>
            </a:r>
          </a:p>
          <a:p>
            <a:pPr lvl="1"/>
            <a:r>
              <a:rPr lang="en-US" kern="0" dirty="0"/>
              <a:t>Level 1 in font size 18</a:t>
            </a:r>
          </a:p>
          <a:p>
            <a:pPr lvl="2"/>
            <a:r>
              <a:rPr lang="en-US" kern="0" dirty="0"/>
              <a:t>Level 2 in font size 18</a:t>
            </a:r>
          </a:p>
          <a:p>
            <a:pPr lvl="3"/>
            <a:r>
              <a:rPr lang="en-US" kern="0" dirty="0"/>
              <a:t>Level 3 in font size 18</a:t>
            </a:r>
          </a:p>
          <a:p>
            <a:pPr lvl="4"/>
            <a:r>
              <a:rPr lang="en-US" kern="0" dirty="0"/>
              <a:t>Level 4 in font size 18</a:t>
            </a:r>
          </a:p>
          <a:p>
            <a:pPr lvl="4"/>
            <a:endParaRPr lang="en-US" kern="0" dirty="0"/>
          </a:p>
        </p:txBody>
      </p:sp>
      <p:sp>
        <p:nvSpPr>
          <p:cNvPr id="11" name="Rectangle 32">
            <a:extLst>
              <a:ext uri="{FF2B5EF4-FFF2-40B4-BE49-F238E27FC236}">
                <a16:creationId xmlns:a16="http://schemas.microsoft.com/office/drawing/2014/main" id="{E9474923-D520-45E8-A2AF-EA5FED2233EF}"/>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dirty="0">
              <a:solidFill>
                <a:schemeClr val="bg1">
                  <a:lumMod val="75000"/>
                </a:schemeClr>
              </a:solidFill>
            </a:endParaRPr>
          </a:p>
        </p:txBody>
      </p:sp>
      <p:sp>
        <p:nvSpPr>
          <p:cNvPr id="12" name="Rectangle 11">
            <a:extLst>
              <a:ext uri="{FF2B5EF4-FFF2-40B4-BE49-F238E27FC236}">
                <a16:creationId xmlns:a16="http://schemas.microsoft.com/office/drawing/2014/main" id="{EA639A92-C5AB-40AC-BA9F-FB7741E1A3BF}"/>
              </a:ext>
            </a:extLst>
          </p:cNvPr>
          <p:cNvSpPr/>
          <p:nvPr userDrawn="1"/>
        </p:nvSpPr>
        <p:spPr bwMode="auto">
          <a:xfrm>
            <a:off x="-321" y="0"/>
            <a:ext cx="161395" cy="1414367"/>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sp>
        <p:nvSpPr>
          <p:cNvPr id="16" name="Rectangle 21">
            <a:extLst>
              <a:ext uri="{FF2B5EF4-FFF2-40B4-BE49-F238E27FC236}">
                <a16:creationId xmlns:a16="http://schemas.microsoft.com/office/drawing/2014/main" id="{5094D469-B92B-480A-BBDB-1B8B6AAF9C8C}"/>
              </a:ext>
            </a:extLst>
          </p:cNvPr>
          <p:cNvSpPr>
            <a:spLocks noGrp="1" noChangeArrowheads="1"/>
          </p:cNvSpPr>
          <p:nvPr>
            <p:ph type="title"/>
          </p:nvPr>
        </p:nvSpPr>
        <p:spPr bwMode="auto">
          <a:xfrm>
            <a:off x="307975" y="622777"/>
            <a:ext cx="11594592"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a:t>Master title style is 18pt, “Arial Black” font</a:t>
            </a:r>
          </a:p>
        </p:txBody>
      </p:sp>
      <p:pic>
        <p:nvPicPr>
          <p:cNvPr id="13" name="Graphic 12">
            <a:extLst>
              <a:ext uri="{FF2B5EF4-FFF2-40B4-BE49-F238E27FC236}">
                <a16:creationId xmlns:a16="http://schemas.microsoft.com/office/drawing/2014/main" id="{5D7E66FD-F122-C24F-B2A1-CEB5ED85DE50}"/>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297020" y="6472321"/>
            <a:ext cx="903131" cy="395119"/>
          </a:xfrm>
          <a:prstGeom prst="rect">
            <a:avLst/>
          </a:prstGeom>
        </p:spPr>
      </p:pic>
    </p:spTree>
    <p:extLst>
      <p:ext uri="{BB962C8B-B14F-4D97-AF65-F5344CB8AC3E}">
        <p14:creationId xmlns:p14="http://schemas.microsoft.com/office/powerpoint/2010/main" val="1230176099"/>
      </p:ext>
    </p:extLst>
  </p:cSld>
  <p:clrMap bg1="lt1" tx1="dk1" bg2="lt2" tx2="dk2" accent1="accent1" accent2="accent2" accent3="accent3" accent4="accent4" accent5="accent5" accent6="accent6" hlink="hlink" folHlink="folHlink"/>
  <p:sldLayoutIdLst>
    <p:sldLayoutId id="2147483975" r:id="rId1"/>
    <p:sldLayoutId id="2147483960" r:id="rId2"/>
    <p:sldLayoutId id="2147483961" r:id="rId3"/>
    <p:sldLayoutId id="2147483924" r:id="rId4"/>
    <p:sldLayoutId id="2147483932" r:id="rId5"/>
    <p:sldLayoutId id="2147483921" r:id="rId6"/>
  </p:sldLayoutIdLst>
  <p:txStyles>
    <p:titleStyle>
      <a:lvl1pPr algn="l" rtl="0" eaLnBrk="1" fontAlgn="base" hangingPunct="1">
        <a:spcBef>
          <a:spcPct val="0"/>
        </a:spcBef>
        <a:spcAft>
          <a:spcPct val="0"/>
        </a:spcAft>
        <a:defRPr lang="en-US" sz="1800" b="0" smtClean="0">
          <a:solidFill>
            <a:schemeClr val="accent2"/>
          </a:solidFill>
          <a:latin typeface="+mj-lt"/>
          <a:ea typeface="+mj-ea"/>
          <a:cs typeface="+mj-cs"/>
        </a:defRPr>
      </a:lvl1pPr>
      <a:lvl2pPr algn="l" rtl="0" eaLnBrk="1" fontAlgn="base" hangingPunct="1">
        <a:spcBef>
          <a:spcPct val="0"/>
        </a:spcBef>
        <a:spcAft>
          <a:spcPct val="0"/>
        </a:spcAft>
        <a:defRPr sz="2002">
          <a:solidFill>
            <a:srgbClr val="3333FF"/>
          </a:solidFill>
          <a:latin typeface="Arial Black" pitchFamily="34" charset="0"/>
        </a:defRPr>
      </a:lvl2pPr>
      <a:lvl3pPr algn="l" rtl="0" eaLnBrk="1" fontAlgn="base" hangingPunct="1">
        <a:spcBef>
          <a:spcPct val="0"/>
        </a:spcBef>
        <a:spcAft>
          <a:spcPct val="0"/>
        </a:spcAft>
        <a:defRPr sz="2002">
          <a:solidFill>
            <a:srgbClr val="3333FF"/>
          </a:solidFill>
          <a:latin typeface="Arial Black" pitchFamily="34" charset="0"/>
        </a:defRPr>
      </a:lvl3pPr>
      <a:lvl4pPr algn="l" rtl="0" eaLnBrk="1" fontAlgn="base" hangingPunct="1">
        <a:spcBef>
          <a:spcPct val="0"/>
        </a:spcBef>
        <a:spcAft>
          <a:spcPct val="0"/>
        </a:spcAft>
        <a:defRPr sz="2002">
          <a:solidFill>
            <a:srgbClr val="3333FF"/>
          </a:solidFill>
          <a:latin typeface="Arial Black" pitchFamily="34" charset="0"/>
        </a:defRPr>
      </a:lvl4pPr>
      <a:lvl5pPr algn="l" rtl="0" eaLnBrk="1" fontAlgn="base" hangingPunct="1">
        <a:spcBef>
          <a:spcPct val="0"/>
        </a:spcBef>
        <a:spcAft>
          <a:spcPct val="0"/>
        </a:spcAft>
        <a:defRPr sz="2002">
          <a:solidFill>
            <a:srgbClr val="3333FF"/>
          </a:solidFill>
          <a:latin typeface="Arial Black" pitchFamily="34" charset="0"/>
        </a:defRPr>
      </a:lvl5pPr>
      <a:lvl6pPr marL="457686" algn="l" rtl="0" eaLnBrk="1" fontAlgn="base" hangingPunct="1">
        <a:spcBef>
          <a:spcPct val="0"/>
        </a:spcBef>
        <a:spcAft>
          <a:spcPct val="0"/>
        </a:spcAft>
        <a:defRPr sz="2002">
          <a:solidFill>
            <a:srgbClr val="3333FF"/>
          </a:solidFill>
          <a:latin typeface="Arial Black" pitchFamily="34" charset="0"/>
        </a:defRPr>
      </a:lvl6pPr>
      <a:lvl7pPr marL="915373" algn="l" rtl="0" eaLnBrk="1" fontAlgn="base" hangingPunct="1">
        <a:spcBef>
          <a:spcPct val="0"/>
        </a:spcBef>
        <a:spcAft>
          <a:spcPct val="0"/>
        </a:spcAft>
        <a:defRPr sz="2002">
          <a:solidFill>
            <a:srgbClr val="3333FF"/>
          </a:solidFill>
          <a:latin typeface="Arial Black" pitchFamily="34" charset="0"/>
        </a:defRPr>
      </a:lvl7pPr>
      <a:lvl8pPr marL="1373061" algn="l" rtl="0" eaLnBrk="1" fontAlgn="base" hangingPunct="1">
        <a:spcBef>
          <a:spcPct val="0"/>
        </a:spcBef>
        <a:spcAft>
          <a:spcPct val="0"/>
        </a:spcAft>
        <a:defRPr sz="2002">
          <a:solidFill>
            <a:srgbClr val="3333FF"/>
          </a:solidFill>
          <a:latin typeface="Arial Black" pitchFamily="34" charset="0"/>
        </a:defRPr>
      </a:lvl8pPr>
      <a:lvl9pPr marL="1830747" algn="l" rtl="0" eaLnBrk="1" fontAlgn="base" hangingPunct="1">
        <a:spcBef>
          <a:spcPct val="0"/>
        </a:spcBef>
        <a:spcAft>
          <a:spcPct val="0"/>
        </a:spcAft>
        <a:defRPr sz="2002">
          <a:solidFill>
            <a:srgbClr val="3333FF"/>
          </a:solidFill>
          <a:latin typeface="Arial Black" pitchFamily="34" charset="0"/>
        </a:defRPr>
      </a:lvl9pPr>
    </p:titleStyle>
    <p:bodyStyle>
      <a:lvl1pPr marL="0" indent="0" algn="l" rtl="0" eaLnBrk="1" fontAlgn="base" hangingPunct="1">
        <a:spcBef>
          <a:spcPct val="0"/>
        </a:spcBef>
        <a:spcAft>
          <a:spcPct val="0"/>
        </a:spcAft>
        <a:buClr>
          <a:schemeClr val="accent2"/>
        </a:buClr>
        <a:buSzPct val="70000"/>
        <a:buFont typeface="Wingdings" panose="05000000000000000000" pitchFamily="2" charset="2"/>
        <a:buNone/>
        <a:defRPr sz="1803">
          <a:solidFill>
            <a:schemeClr val="tx1"/>
          </a:solidFill>
          <a:latin typeface="+mn-lt"/>
          <a:ea typeface="+mn-ea"/>
          <a:cs typeface="+mn-cs"/>
        </a:defRPr>
      </a:lvl1pPr>
      <a:lvl2pPr marL="228600" indent="-228600" algn="l" rtl="0" eaLnBrk="1" fontAlgn="base" hangingPunct="1">
        <a:spcBef>
          <a:spcPct val="0"/>
        </a:spcBef>
        <a:spcAft>
          <a:spcPct val="0"/>
        </a:spcAft>
        <a:buClr>
          <a:schemeClr val="accent2"/>
        </a:buClr>
        <a:buSzPct val="70000"/>
        <a:buFont typeface="Wingdings" panose="05000000000000000000" pitchFamily="2" charset="2"/>
        <a:buChar char="l"/>
        <a:defRPr sz="1803">
          <a:solidFill>
            <a:schemeClr val="tx1"/>
          </a:solidFill>
          <a:latin typeface="+mn-lt"/>
        </a:defRPr>
      </a:lvl2pPr>
      <a:lvl3pPr marL="457200" indent="-228600" algn="l" rtl="0" eaLnBrk="1" fontAlgn="base" hangingPunct="1">
        <a:spcBef>
          <a:spcPct val="0"/>
        </a:spcBef>
        <a:spcAft>
          <a:spcPct val="0"/>
        </a:spcAft>
        <a:buClr>
          <a:schemeClr val="bg2"/>
        </a:buClr>
        <a:buSzPct val="100000"/>
        <a:buFont typeface="Arial" panose="020B0604020202020204" pitchFamily="34" charset="0"/>
        <a:buChar char="–"/>
        <a:defRPr sz="1803">
          <a:solidFill>
            <a:schemeClr val="tx1"/>
          </a:solidFill>
          <a:latin typeface="+mn-lt"/>
        </a:defRPr>
      </a:lvl3pPr>
      <a:lvl4pPr marL="685800" indent="-228600" algn="l" rtl="0" eaLnBrk="1" fontAlgn="base" hangingPunct="1">
        <a:spcBef>
          <a:spcPct val="0"/>
        </a:spcBef>
        <a:spcAft>
          <a:spcPct val="0"/>
        </a:spcAft>
        <a:buClr>
          <a:schemeClr val="accent5"/>
        </a:buClr>
        <a:buSzPct val="55000"/>
        <a:buFont typeface="Wingdings" panose="05000000000000000000" pitchFamily="2" charset="2"/>
        <a:buChar char="u"/>
        <a:defRPr sz="1803">
          <a:solidFill>
            <a:schemeClr val="tx1"/>
          </a:solidFill>
          <a:latin typeface="+mn-lt"/>
        </a:defRPr>
      </a:lvl4pPr>
      <a:lvl5pPr marL="914400" indent="-228600" algn="l" rtl="0" eaLnBrk="1" fontAlgn="base" hangingPunct="1">
        <a:spcBef>
          <a:spcPct val="0"/>
        </a:spcBef>
        <a:spcAft>
          <a:spcPct val="0"/>
        </a:spcAft>
        <a:buClr>
          <a:schemeClr val="tx1"/>
        </a:buClr>
        <a:buSzPct val="70000"/>
        <a:buFont typeface="Courier New" pitchFamily="49" charset="0"/>
        <a:buChar char="o"/>
        <a:defRPr sz="1803">
          <a:solidFill>
            <a:schemeClr val="tx1"/>
          </a:solidFill>
          <a:latin typeface="+mn-lt"/>
        </a:defRPr>
      </a:lvl5pPr>
      <a:lvl6pPr marL="1369883" indent="-227255" algn="l" rtl="0" eaLnBrk="1" fontAlgn="base" hangingPunct="1">
        <a:spcBef>
          <a:spcPct val="0"/>
        </a:spcBef>
        <a:spcAft>
          <a:spcPct val="0"/>
        </a:spcAft>
        <a:buClr>
          <a:srgbClr val="3DA7A7"/>
        </a:buClr>
        <a:buChar char="•"/>
        <a:defRPr sz="1602">
          <a:solidFill>
            <a:schemeClr val="tx1"/>
          </a:solidFill>
          <a:latin typeface="+mn-lt"/>
        </a:defRPr>
      </a:lvl6pPr>
      <a:lvl7pPr marL="1827569" indent="-227255" algn="l" rtl="0" eaLnBrk="1" fontAlgn="base" hangingPunct="1">
        <a:spcBef>
          <a:spcPct val="0"/>
        </a:spcBef>
        <a:spcAft>
          <a:spcPct val="0"/>
        </a:spcAft>
        <a:buClr>
          <a:srgbClr val="3DA7A7"/>
        </a:buClr>
        <a:buChar char="•"/>
        <a:defRPr sz="1602">
          <a:solidFill>
            <a:schemeClr val="tx1"/>
          </a:solidFill>
          <a:latin typeface="+mn-lt"/>
        </a:defRPr>
      </a:lvl7pPr>
      <a:lvl8pPr marL="2285256" indent="-227255" algn="l" rtl="0" eaLnBrk="1" fontAlgn="base" hangingPunct="1">
        <a:spcBef>
          <a:spcPct val="0"/>
        </a:spcBef>
        <a:spcAft>
          <a:spcPct val="0"/>
        </a:spcAft>
        <a:buClr>
          <a:srgbClr val="3DA7A7"/>
        </a:buClr>
        <a:buChar char="•"/>
        <a:defRPr sz="1602">
          <a:solidFill>
            <a:schemeClr val="tx1"/>
          </a:solidFill>
          <a:latin typeface="+mn-lt"/>
        </a:defRPr>
      </a:lvl8pPr>
      <a:lvl9pPr marL="2742942" indent="-227255" algn="l" rtl="0" eaLnBrk="1" fontAlgn="base" hangingPunct="1">
        <a:spcBef>
          <a:spcPct val="0"/>
        </a:spcBef>
        <a:spcAft>
          <a:spcPct val="0"/>
        </a:spcAft>
        <a:buClr>
          <a:srgbClr val="3DA7A7"/>
        </a:buClr>
        <a:buChar char="•"/>
        <a:defRPr sz="1602">
          <a:solidFill>
            <a:schemeClr val="tx1"/>
          </a:solidFill>
          <a:latin typeface="+mn-lt"/>
        </a:defRPr>
      </a:lvl9pPr>
    </p:bodyStyle>
    <p:otherStyle>
      <a:defPPr>
        <a:defRPr lang="en-US"/>
      </a:defPPr>
      <a:lvl1pPr marL="0" algn="l" defTabSz="915373" rtl="0" eaLnBrk="1" latinLnBrk="0" hangingPunct="1">
        <a:defRPr sz="1803" kern="1200">
          <a:solidFill>
            <a:schemeClr val="tx1"/>
          </a:solidFill>
          <a:latin typeface="+mn-lt"/>
          <a:ea typeface="+mn-ea"/>
          <a:cs typeface="+mn-cs"/>
        </a:defRPr>
      </a:lvl1pPr>
      <a:lvl2pPr marL="457686" algn="l" defTabSz="915373" rtl="0" eaLnBrk="1" latinLnBrk="0" hangingPunct="1">
        <a:defRPr sz="1803" kern="1200">
          <a:solidFill>
            <a:schemeClr val="tx1"/>
          </a:solidFill>
          <a:latin typeface="+mn-lt"/>
          <a:ea typeface="+mn-ea"/>
          <a:cs typeface="+mn-cs"/>
        </a:defRPr>
      </a:lvl2pPr>
      <a:lvl3pPr marL="915373" algn="l" defTabSz="915373" rtl="0" eaLnBrk="1" latinLnBrk="0" hangingPunct="1">
        <a:defRPr sz="1803" kern="1200">
          <a:solidFill>
            <a:schemeClr val="tx1"/>
          </a:solidFill>
          <a:latin typeface="+mn-lt"/>
          <a:ea typeface="+mn-ea"/>
          <a:cs typeface="+mn-cs"/>
        </a:defRPr>
      </a:lvl3pPr>
      <a:lvl4pPr marL="1373061" algn="l" defTabSz="915373" rtl="0" eaLnBrk="1" latinLnBrk="0" hangingPunct="1">
        <a:defRPr sz="1803" kern="1200">
          <a:solidFill>
            <a:schemeClr val="tx1"/>
          </a:solidFill>
          <a:latin typeface="+mn-lt"/>
          <a:ea typeface="+mn-ea"/>
          <a:cs typeface="+mn-cs"/>
        </a:defRPr>
      </a:lvl4pPr>
      <a:lvl5pPr marL="1830747" algn="l" defTabSz="915373" rtl="0" eaLnBrk="1" latinLnBrk="0" hangingPunct="1">
        <a:defRPr sz="1803" kern="1200">
          <a:solidFill>
            <a:schemeClr val="tx1"/>
          </a:solidFill>
          <a:latin typeface="+mn-lt"/>
          <a:ea typeface="+mn-ea"/>
          <a:cs typeface="+mn-cs"/>
        </a:defRPr>
      </a:lvl5pPr>
      <a:lvl6pPr marL="2288434" algn="l" defTabSz="915373" rtl="0" eaLnBrk="1" latinLnBrk="0" hangingPunct="1">
        <a:defRPr sz="1803" kern="1200">
          <a:solidFill>
            <a:schemeClr val="tx1"/>
          </a:solidFill>
          <a:latin typeface="+mn-lt"/>
          <a:ea typeface="+mn-ea"/>
          <a:cs typeface="+mn-cs"/>
        </a:defRPr>
      </a:lvl6pPr>
      <a:lvl7pPr marL="2746120" algn="l" defTabSz="915373" rtl="0" eaLnBrk="1" latinLnBrk="0" hangingPunct="1">
        <a:defRPr sz="1803" kern="1200">
          <a:solidFill>
            <a:schemeClr val="tx1"/>
          </a:solidFill>
          <a:latin typeface="+mn-lt"/>
          <a:ea typeface="+mn-ea"/>
          <a:cs typeface="+mn-cs"/>
        </a:defRPr>
      </a:lvl7pPr>
      <a:lvl8pPr marL="3203808" algn="l" defTabSz="915373" rtl="0" eaLnBrk="1" latinLnBrk="0" hangingPunct="1">
        <a:defRPr sz="1803" kern="1200">
          <a:solidFill>
            <a:schemeClr val="tx1"/>
          </a:solidFill>
          <a:latin typeface="+mn-lt"/>
          <a:ea typeface="+mn-ea"/>
          <a:cs typeface="+mn-cs"/>
        </a:defRPr>
      </a:lvl8pPr>
      <a:lvl9pPr marL="3661495" algn="l" defTabSz="915373" rtl="0" eaLnBrk="1" latinLnBrk="0" hangingPunct="1">
        <a:defRPr sz="180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4">
          <p15:clr>
            <a:srgbClr val="F26B43"/>
          </p15:clr>
        </p15:guide>
        <p15:guide id="2" pos="7500">
          <p15:clr>
            <a:srgbClr val="F26B43"/>
          </p15:clr>
        </p15:guide>
        <p15:guide id="7" orient="horz" pos="1044" userDrawn="1">
          <p15:clr>
            <a:srgbClr val="F26B43"/>
          </p15:clr>
        </p15:guide>
        <p15:guide id="8" orient="horz" pos="4032">
          <p15:clr>
            <a:srgbClr val="F26B43"/>
          </p15:clr>
        </p15:guide>
        <p15:guide id="9" orient="horz" pos="3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mailto:info@everestgrp.com"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https://www.everestgrp.com/custom-decision-support/"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mailto:xx@everestgrp.com"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mailto:priyanka.mitra@everestgrp.com" TargetMode="External"/><Relationship Id="rId5" Type="http://schemas.openxmlformats.org/officeDocument/2006/relationships/hyperlink" Target="mailto:anwesha.chakraborty@everestgrp.com" TargetMode="External"/><Relationship Id="rId4" Type="http://schemas.openxmlformats.org/officeDocument/2006/relationships/hyperlink" Target="mailto:rachita.mehrishi@everestgrp.com"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4.xml"/><Relationship Id="rId5" Type="http://schemas.openxmlformats.org/officeDocument/2006/relationships/tags" Target="../tags/tag6.xml"/><Relationship Id="rId4" Type="http://schemas.openxmlformats.org/officeDocument/2006/relationships/tags" Target="../tags/tag5.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7.svg"/></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8.xml"/><Relationship Id="rId7" Type="http://schemas.openxmlformats.org/officeDocument/2006/relationships/slideLayout" Target="../slideLayouts/slideLayout5.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hyperlink" Target="https://www2.everestgrp.com/reports?Cat0=829" TargetMode="External"/><Relationship Id="rId4" Type="http://schemas.openxmlformats.org/officeDocument/2006/relationships/tags" Target="../tags/tag9.xml"/><Relationship Id="rId9"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D086C9-3B41-4B62-9689-885C02D351A8}"/>
              </a:ext>
            </a:extLst>
          </p:cNvPr>
          <p:cNvSpPr/>
          <p:nvPr/>
        </p:nvSpPr>
        <p:spPr>
          <a:xfrm>
            <a:off x="609598" y="1662021"/>
            <a:ext cx="11296652" cy="1031051"/>
          </a:xfrm>
          <a:prstGeom prst="rect">
            <a:avLst/>
          </a:prstGeom>
        </p:spPr>
        <p:txBody>
          <a:bodyPr wrap="square" lIns="0" tIns="0" rIns="0" bIns="0" anchor="b">
            <a:spAutoFit/>
          </a:bodyPr>
          <a:lstStyle/>
          <a:p>
            <a:pPr defTabSz="915373" fontAlgn="auto">
              <a:spcBef>
                <a:spcPts val="0"/>
              </a:spcBef>
              <a:spcAft>
                <a:spcPts val="600"/>
              </a:spcAft>
              <a:defRPr/>
            </a:pPr>
            <a:r>
              <a:rPr lang="en-US" sz="2200" dirty="0">
                <a:solidFill>
                  <a:schemeClr val="accent2"/>
                </a:solidFill>
                <a:latin typeface="+mj-lt"/>
              </a:rPr>
              <a:t>Rewards and Recognition (R&amp;R) State of the Market Report 2021: </a:t>
            </a:r>
            <a:br>
              <a:rPr lang="en-US" sz="2200" dirty="0">
                <a:solidFill>
                  <a:schemeClr val="accent2"/>
                </a:solidFill>
                <a:latin typeface="+mj-lt"/>
              </a:rPr>
            </a:br>
            <a:r>
              <a:rPr lang="en-US" sz="2200" dirty="0">
                <a:solidFill>
                  <a:schemeClr val="accent2"/>
                </a:solidFill>
                <a:latin typeface="+mj-lt"/>
              </a:rPr>
              <a:t>The Era of Modernizing Employee Engagement</a:t>
            </a:r>
          </a:p>
          <a:p>
            <a:pPr defTabSz="915373" fontAlgn="auto">
              <a:spcBef>
                <a:spcPts val="0"/>
              </a:spcBef>
              <a:spcAft>
                <a:spcPts val="0"/>
              </a:spcAft>
              <a:defRPr/>
            </a:pPr>
            <a:r>
              <a:rPr lang="en-US" sz="1800" dirty="0">
                <a:solidFill>
                  <a:schemeClr val="accent5">
                    <a:lumMod val="60000"/>
                    <a:lumOff val="40000"/>
                  </a:schemeClr>
                </a:solidFill>
              </a:rPr>
              <a:t>June</a:t>
            </a:r>
            <a:r>
              <a:rPr lang="en-US" sz="1800" dirty="0">
                <a:solidFill>
                  <a:schemeClr val="accent3"/>
                </a:solidFill>
              </a:rPr>
              <a:t> </a:t>
            </a:r>
            <a:r>
              <a:rPr lang="en-US" sz="1800" dirty="0">
                <a:solidFill>
                  <a:schemeClr val="accent5">
                    <a:lumMod val="60000"/>
                    <a:lumOff val="40000"/>
                  </a:schemeClr>
                </a:solidFill>
              </a:rPr>
              <a:t>2021: Complimentary Abstract / Table of Contents</a:t>
            </a:r>
          </a:p>
        </p:txBody>
      </p:sp>
    </p:spTree>
    <p:extLst>
      <p:ext uri="{BB962C8B-B14F-4D97-AF65-F5344CB8AC3E}">
        <p14:creationId xmlns:p14="http://schemas.microsoft.com/office/powerpoint/2010/main" val="29823126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C248B55-0857-40EE-8465-E21C4B9D3BBD}"/>
              </a:ext>
            </a:extLst>
          </p:cNvPr>
          <p:cNvSpPr>
            <a:spLocks noGrp="1"/>
          </p:cNvSpPr>
          <p:nvPr>
            <p:ph type="title"/>
          </p:nvPr>
        </p:nvSpPr>
        <p:spPr/>
        <p:txBody>
          <a:bodyPr/>
          <a:lstStyle/>
          <a:p>
            <a:r>
              <a:rPr lang="en-US" dirty="0"/>
              <a:t>Our research offerings for global services</a:t>
            </a:r>
            <a:endParaRPr lang="en-IN" dirty="0"/>
          </a:p>
        </p:txBody>
      </p:sp>
      <p:graphicFrame>
        <p:nvGraphicFramePr>
          <p:cNvPr id="8" name="Table 7">
            <a:extLst>
              <a:ext uri="{FF2B5EF4-FFF2-40B4-BE49-F238E27FC236}">
                <a16:creationId xmlns:a16="http://schemas.microsoft.com/office/drawing/2014/main" id="{E7EA1307-7D5E-5649-AE4E-3C9DAFF4883F}"/>
              </a:ext>
            </a:extLst>
          </p:cNvPr>
          <p:cNvGraphicFramePr>
            <a:graphicFrameLocks noGrp="1"/>
          </p:cNvGraphicFramePr>
          <p:nvPr>
            <p:extLst>
              <p:ext uri="{D42A27DB-BD31-4B8C-83A1-F6EECF244321}">
                <p14:modId xmlns:p14="http://schemas.microsoft.com/office/powerpoint/2010/main" val="25237086"/>
              </p:ext>
            </p:extLst>
          </p:nvPr>
        </p:nvGraphicFramePr>
        <p:xfrm>
          <a:off x="-2" y="2184027"/>
          <a:ext cx="10005647" cy="4117608"/>
        </p:xfrm>
        <a:graphic>
          <a:graphicData uri="http://schemas.openxmlformats.org/drawingml/2006/table">
            <a:tbl>
              <a:tblPr firstRow="1" bandRow="1">
                <a:tableStyleId>{5C22544A-7EE6-4342-B048-85BDC9FD1C3A}</a:tableStyleId>
              </a:tblPr>
              <a:tblGrid>
                <a:gridCol w="3094894">
                  <a:extLst>
                    <a:ext uri="{9D8B030D-6E8A-4147-A177-3AD203B41FA5}">
                      <a16:colId xmlns:a16="http://schemas.microsoft.com/office/drawing/2014/main" val="3503517894"/>
                    </a:ext>
                  </a:extLst>
                </a:gridCol>
                <a:gridCol w="3385039">
                  <a:extLst>
                    <a:ext uri="{9D8B030D-6E8A-4147-A177-3AD203B41FA5}">
                      <a16:colId xmlns:a16="http://schemas.microsoft.com/office/drawing/2014/main" val="4247411151"/>
                    </a:ext>
                  </a:extLst>
                </a:gridCol>
                <a:gridCol w="3525714">
                  <a:extLst>
                    <a:ext uri="{9D8B030D-6E8A-4147-A177-3AD203B41FA5}">
                      <a16:colId xmlns:a16="http://schemas.microsoft.com/office/drawing/2014/main" val="2396625214"/>
                    </a:ext>
                  </a:extLst>
                </a:gridCol>
              </a:tblGrid>
              <a:tr h="296176">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kern="1200" dirty="0">
                          <a:solidFill>
                            <a:schemeClr val="tx1"/>
                          </a:solidFill>
                          <a:latin typeface="+mn-lt"/>
                          <a:ea typeface="+mn-ea"/>
                          <a:cs typeface="+mn-cs"/>
                        </a:rPr>
                        <a:t>Application Services </a:t>
                      </a:r>
                    </a:p>
                  </a:txBody>
                  <a:tcPr marL="306000" marR="90000" marT="108000"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kern="1200" dirty="0">
                          <a:solidFill>
                            <a:schemeClr val="tx1"/>
                          </a:solidFill>
                          <a:latin typeface="+mn-lt"/>
                          <a:ea typeface="+mn-ea"/>
                          <a:cs typeface="+mn-cs"/>
                        </a:rPr>
                        <a:t>Finance &amp; Accounting </a:t>
                      </a:r>
                    </a:p>
                  </a:txBody>
                  <a:tcPr marL="108000" marR="91535" marT="108000"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kern="1200" dirty="0">
                          <a:solidFill>
                            <a:schemeClr val="tx1"/>
                          </a:solidFill>
                          <a:latin typeface="+mn-lt"/>
                          <a:ea typeface="+mn-ea"/>
                          <a:cs typeface="+mn-cs"/>
                        </a:rPr>
                        <a:t>Market Vista™ </a:t>
                      </a:r>
                    </a:p>
                  </a:txBody>
                  <a:tcPr marL="54000" marR="90000" marT="108000"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5083443"/>
                  </a:ext>
                </a:extLst>
              </a:tr>
              <a:tr h="235975">
                <a:tc>
                  <a:txBody>
                    <a:bodyPr/>
                    <a:lstStyle/>
                    <a:p>
                      <a:pPr marL="171450" indent="-171450">
                        <a:buClr>
                          <a:schemeClr val="accent2"/>
                        </a:buClr>
                        <a:buSzPct val="70000"/>
                        <a:buFont typeface="Arial" panose="020B0604020202020204" pitchFamily="34" charset="0"/>
                        <a:buChar char="►"/>
                      </a:pPr>
                      <a:r>
                        <a:rPr lang="en-IN" sz="1000" b="0" dirty="0">
                          <a:solidFill>
                            <a:schemeClr val="tx1"/>
                          </a:solidFill>
                        </a:rPr>
                        <a:t>Banking &amp; Financial Services BPS </a:t>
                      </a: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dirty="0">
                          <a:solidFill>
                            <a:schemeClr val="tx1"/>
                          </a:solidFill>
                        </a:rPr>
                        <a:t>Financial Services Technology (FinTech) </a:t>
                      </a: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SzPct val="70000"/>
                        <a:buFont typeface="Arial" panose="020B0604020202020204" pitchFamily="34" charset="0"/>
                        <a:buChar char="►"/>
                      </a:pPr>
                      <a:r>
                        <a:rPr lang="en-IN" sz="1000" b="0" dirty="0">
                          <a:solidFill>
                            <a:schemeClr val="tx1"/>
                          </a:solidFill>
                        </a:rPr>
                        <a:t>Mortgage Operations </a:t>
                      </a: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3015909"/>
                  </a:ext>
                </a:extLst>
              </a:tr>
              <a:tr h="235975">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1000" b="0" dirty="0">
                          <a:solidFill>
                            <a:schemeClr val="tx1"/>
                          </a:solidFill>
                          <a:latin typeface="+mn-lt"/>
                        </a:rPr>
                        <a:t>Banking &amp; Financial Services ITS </a:t>
                      </a: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dirty="0">
                          <a:solidFill>
                            <a:schemeClr val="tx1"/>
                          </a:solidFill>
                        </a:rPr>
                        <a:t>Global Business Services</a:t>
                      </a: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1000" b="0" dirty="0">
                          <a:solidFill>
                            <a:schemeClr val="tx1"/>
                          </a:solidFill>
                          <a:latin typeface="+mn-lt"/>
                        </a:rPr>
                        <a:t>Multi-country Payroll </a:t>
                      </a: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6771474"/>
                  </a:ext>
                </a:extLst>
              </a:tr>
              <a:tr h="235975">
                <a:tc>
                  <a:txBody>
                    <a:bodyPr/>
                    <a:lstStyle/>
                    <a:p>
                      <a:pPr marL="171450" indent="-171450">
                        <a:buClr>
                          <a:schemeClr val="accent2"/>
                        </a:buClr>
                        <a:buSzPct val="70000"/>
                        <a:buFont typeface="Arial" panose="020B0604020202020204" pitchFamily="34" charset="0"/>
                        <a:buChar char="►"/>
                      </a:pPr>
                      <a:r>
                        <a:rPr lang="en-IN" sz="1000" b="0" dirty="0">
                          <a:solidFill>
                            <a:schemeClr val="tx1"/>
                          </a:solidFill>
                        </a:rPr>
                        <a:t>Catalyst™</a:t>
                      </a: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dirty="0">
                          <a:solidFill>
                            <a:schemeClr val="tx1"/>
                          </a:solidFill>
                        </a:rPr>
                        <a:t>Healthcare BPS </a:t>
                      </a: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SzPct val="70000"/>
                        <a:buFont typeface="Arial" panose="020B0604020202020204" pitchFamily="34" charset="0"/>
                        <a:buChar char="►"/>
                      </a:pPr>
                      <a:r>
                        <a:rPr lang="en-IN" sz="1000" b="0">
                          <a:solidFill>
                            <a:schemeClr val="tx1"/>
                          </a:solidFill>
                        </a:rPr>
                        <a:t>Network Services &amp; 5G </a:t>
                      </a:r>
                      <a:endParaRPr lang="en-IN" sz="1000" b="0" dirty="0">
                        <a:solidFill>
                          <a:schemeClr val="tx1"/>
                        </a:solidFill>
                      </a:endParaRP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4059258"/>
                  </a:ext>
                </a:extLst>
              </a:tr>
              <a:tr h="235975">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1000" b="0" kern="1200" dirty="0">
                          <a:solidFill>
                            <a:schemeClr val="tx1"/>
                          </a:solidFill>
                          <a:latin typeface="+mn-lt"/>
                          <a:ea typeface="+mn-ea"/>
                          <a:cs typeface="+mn-cs"/>
                        </a:rPr>
                        <a:t>Clinical Development Technology </a:t>
                      </a: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1000" b="0" dirty="0">
                          <a:solidFill>
                            <a:schemeClr val="tx1"/>
                          </a:solidFill>
                          <a:latin typeface="+mn-lt"/>
                        </a:rPr>
                        <a:t>Healthcare ITS </a:t>
                      </a: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1000" b="0" kern="1200" dirty="0">
                          <a:solidFill>
                            <a:schemeClr val="tx1"/>
                          </a:solidFill>
                          <a:latin typeface="+mn-lt"/>
                          <a:ea typeface="+mn-ea"/>
                          <a:cs typeface="+mn-cs"/>
                        </a:rPr>
                        <a:t>Outsourcing Excellence</a:t>
                      </a: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8910868"/>
                  </a:ext>
                </a:extLst>
              </a:tr>
              <a:tr h="235975">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kern="1200" dirty="0">
                          <a:solidFill>
                            <a:schemeClr val="tx1"/>
                          </a:solidFill>
                          <a:latin typeface="+mn-lt"/>
                          <a:ea typeface="+mn-ea"/>
                          <a:cs typeface="+mn-cs"/>
                        </a:rPr>
                        <a:t>Cloud &amp; Infrastructure </a:t>
                      </a: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dirty="0">
                          <a:solidFill>
                            <a:schemeClr val="tx1"/>
                          </a:solidFill>
                        </a:rPr>
                        <a:t>Human Resources </a:t>
                      </a: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1000" b="0" kern="1200" dirty="0">
                          <a:solidFill>
                            <a:schemeClr val="tx1"/>
                          </a:solidFill>
                          <a:latin typeface="+mn-lt"/>
                          <a:ea typeface="+mn-ea"/>
                          <a:cs typeface="+mn-cs"/>
                        </a:rPr>
                        <a:t>Pricing-as-a-Service</a:t>
                      </a: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2784519"/>
                  </a:ext>
                </a:extLst>
              </a:tr>
              <a:tr h="235975">
                <a:tc>
                  <a:txBody>
                    <a:bodyPr/>
                    <a:lstStyle/>
                    <a:p>
                      <a:pPr marL="171450" indent="-171450">
                        <a:buClr>
                          <a:schemeClr val="accent2"/>
                        </a:buClr>
                        <a:buSzPct val="70000"/>
                        <a:buFont typeface="Arial" panose="020B0604020202020204" pitchFamily="34" charset="0"/>
                        <a:buChar char="►"/>
                      </a:pPr>
                      <a:r>
                        <a:rPr lang="en-IN" sz="1000" b="0" dirty="0">
                          <a:solidFill>
                            <a:schemeClr val="tx1"/>
                          </a:solidFill>
                        </a:rPr>
                        <a:t>Conversational AI </a:t>
                      </a: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1000" b="0" kern="1200" dirty="0">
                          <a:solidFill>
                            <a:schemeClr val="tx1"/>
                          </a:solidFill>
                          <a:latin typeface="+mn-lt"/>
                          <a:ea typeface="+mn-ea"/>
                          <a:cs typeface="+mn-cs"/>
                        </a:rPr>
                        <a:t>Insurance BPS </a:t>
                      </a:r>
                      <a:endParaRPr lang="en-US" sz="1000" b="0" dirty="0">
                        <a:solidFill>
                          <a:schemeClr val="tx1"/>
                        </a:solidFill>
                        <a:latin typeface="+mn-lt"/>
                      </a:endParaRP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1000" b="0" kern="1200" dirty="0">
                          <a:solidFill>
                            <a:schemeClr val="tx1"/>
                          </a:solidFill>
                          <a:latin typeface="+mn-lt"/>
                          <a:ea typeface="+mn-ea"/>
                          <a:cs typeface="+mn-cs"/>
                        </a:rPr>
                        <a:t>Process Mining </a:t>
                      </a: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9941755"/>
                  </a:ext>
                </a:extLst>
              </a:tr>
              <a:tr h="235975">
                <a:tc>
                  <a:txBody>
                    <a:bodyPr/>
                    <a:lstStyle/>
                    <a:p>
                      <a:pPr marL="171450" indent="-171450">
                        <a:buClr>
                          <a:schemeClr val="accent2"/>
                        </a:buClr>
                        <a:buSzPct val="70000"/>
                        <a:buFont typeface="Arial" panose="020B0604020202020204" pitchFamily="34" charset="0"/>
                        <a:buChar char="►"/>
                      </a:pPr>
                      <a:r>
                        <a:rPr lang="en-IN" sz="1000" b="0" dirty="0">
                          <a:solidFill>
                            <a:schemeClr val="tx1"/>
                          </a:solidFill>
                        </a:rPr>
                        <a:t>Contingent Workforce Management </a:t>
                      </a: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1000" b="0" dirty="0">
                          <a:solidFill>
                            <a:schemeClr val="tx1"/>
                          </a:solidFill>
                          <a:latin typeface="+mn-lt"/>
                        </a:rPr>
                        <a:t>Insurance ITS </a:t>
                      </a: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kern="1200" dirty="0">
                          <a:solidFill>
                            <a:schemeClr val="tx1"/>
                          </a:solidFill>
                          <a:latin typeface="+mn-lt"/>
                          <a:ea typeface="+mn-ea"/>
                          <a:cs typeface="+mn-cs"/>
                        </a:rPr>
                        <a:t>Procurement </a:t>
                      </a: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9389315"/>
                  </a:ext>
                </a:extLst>
              </a:tr>
              <a:tr h="235975">
                <a:tc>
                  <a:txBody>
                    <a:bodyPr/>
                    <a:lstStyle/>
                    <a:p>
                      <a:pPr marL="171450" marR="0" lvl="0" indent="-171450"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dirty="0">
                          <a:solidFill>
                            <a:schemeClr val="tx1"/>
                          </a:solidFill>
                        </a:rPr>
                        <a:t>Cost Excellence</a:t>
                      </a: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Arial" charset="0"/>
                        </a:rPr>
                        <a:t>Insurance Technology (</a:t>
                      </a:r>
                      <a:r>
                        <a:rPr kumimoji="0" lang="en-US" sz="1000" b="0" i="0" u="none" strike="noStrike" kern="1200" cap="none" spc="0" normalizeH="0" baseline="0" noProof="0" dirty="0" err="1">
                          <a:ln>
                            <a:noFill/>
                          </a:ln>
                          <a:solidFill>
                            <a:schemeClr val="tx1"/>
                          </a:solidFill>
                          <a:effectLst/>
                          <a:uLnTx/>
                          <a:uFillTx/>
                          <a:latin typeface="+mn-lt"/>
                          <a:ea typeface="+mn-ea"/>
                          <a:cs typeface="Arial" charset="0"/>
                        </a:rPr>
                        <a:t>InsurTech</a:t>
                      </a:r>
                      <a:r>
                        <a:rPr kumimoji="0" lang="en-US" sz="1000" b="0" i="0" u="none" strike="noStrike" kern="1200" cap="none" spc="0" normalizeH="0" baseline="0" noProof="0" dirty="0">
                          <a:ln>
                            <a:noFill/>
                          </a:ln>
                          <a:solidFill>
                            <a:schemeClr val="tx1"/>
                          </a:solidFill>
                          <a:effectLst/>
                          <a:uLnTx/>
                          <a:uFillTx/>
                          <a:latin typeface="+mn-lt"/>
                          <a:ea typeface="+mn-ea"/>
                          <a:cs typeface="Arial" charset="0"/>
                        </a:rPr>
                        <a:t>) </a:t>
                      </a: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SzPct val="70000"/>
                        <a:buFont typeface="Arial" panose="020B0604020202020204" pitchFamily="34" charset="0"/>
                        <a:buChar char="►"/>
                      </a:pPr>
                      <a:r>
                        <a:rPr lang="en-IN" sz="1000" b="0" dirty="0">
                          <a:solidFill>
                            <a:schemeClr val="tx1"/>
                          </a:solidFill>
                        </a:rPr>
                        <a:t>Recruitment Process Outsourcing </a:t>
                      </a: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8196679"/>
                  </a:ext>
                </a:extLst>
              </a:tr>
              <a:tr h="235975">
                <a:tc>
                  <a:txBody>
                    <a:bodyPr/>
                    <a:lstStyle/>
                    <a:p>
                      <a:pPr marL="171450" marR="0" lvl="0" indent="-171450"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dirty="0">
                          <a:solidFill>
                            <a:schemeClr val="tx1"/>
                          </a:solidFill>
                        </a:rPr>
                        <a:t>Customer Experience Management Services </a:t>
                      </a: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1000" b="0" dirty="0">
                          <a:solidFill>
                            <a:schemeClr val="tx1"/>
                          </a:solidFill>
                          <a:latin typeface="+mn-lt"/>
                          <a:sym typeface="Wingdings 3" panose="05040102010807070707" pitchFamily="18" charset="2"/>
                        </a:rPr>
                        <a:t>Insurance Third-Party Administration (TPA) Services </a:t>
                      </a: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SzPct val="70000"/>
                        <a:buFont typeface="Arial" panose="020B0604020202020204" pitchFamily="34" charset="0"/>
                        <a:buChar char="►"/>
                      </a:pPr>
                      <a:r>
                        <a:rPr lang="en-IN" sz="1000" b="0" dirty="0">
                          <a:solidFill>
                            <a:schemeClr val="tx1"/>
                          </a:solidFill>
                        </a:rPr>
                        <a:t>Rewards &amp; Recognition </a:t>
                      </a: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484098"/>
                  </a:ext>
                </a:extLst>
              </a:tr>
              <a:tr h="235975">
                <a:tc>
                  <a:txBody>
                    <a:bodyPr/>
                    <a:lstStyle/>
                    <a:p>
                      <a:pPr marL="171450" indent="-171450">
                        <a:buClr>
                          <a:schemeClr val="accent2"/>
                        </a:buClr>
                        <a:buSzPct val="70000"/>
                        <a:buFont typeface="Arial" panose="020B0604020202020204" pitchFamily="34" charset="0"/>
                        <a:buChar char="►"/>
                      </a:pPr>
                      <a:r>
                        <a:rPr lang="en-US" sz="1000" b="0" dirty="0">
                          <a:solidFill>
                            <a:schemeClr val="tx1"/>
                          </a:solidFill>
                          <a:latin typeface="+mn-lt"/>
                        </a:rPr>
                        <a:t>Cybersecurity </a:t>
                      </a:r>
                      <a:endParaRPr lang="en-IN" sz="1000" b="0" dirty="0">
                        <a:solidFill>
                          <a:schemeClr val="tx1"/>
                        </a:solidFill>
                      </a:endParaRP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1000" b="0" dirty="0">
                          <a:solidFill>
                            <a:schemeClr val="tx1"/>
                          </a:solidFill>
                          <a:latin typeface="+mn-lt"/>
                          <a:sym typeface="Wingdings 3" panose="05040102010807070707" pitchFamily="18" charset="2"/>
                        </a:rPr>
                        <a:t>Intelligent Document Processing (IDP) </a:t>
                      </a: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dirty="0">
                          <a:solidFill>
                            <a:schemeClr val="tx1"/>
                          </a:solidFill>
                        </a:rPr>
                        <a:t>Service Optimization Technologies </a:t>
                      </a: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8432266"/>
                  </a:ext>
                </a:extLst>
              </a:tr>
              <a:tr h="235975">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kern="1200" dirty="0">
                          <a:solidFill>
                            <a:schemeClr val="tx1"/>
                          </a:solidFill>
                          <a:latin typeface="+mn-lt"/>
                          <a:ea typeface="+mn-ea"/>
                          <a:cs typeface="+mn-cs"/>
                        </a:rPr>
                        <a:t>Data &amp; Analytics </a:t>
                      </a: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1000" b="0" kern="1200" dirty="0">
                          <a:solidFill>
                            <a:schemeClr val="tx1"/>
                          </a:solidFill>
                          <a:latin typeface="+mn-lt"/>
                          <a:ea typeface="+mn-ea"/>
                          <a:cs typeface="+mn-cs"/>
                          <a:sym typeface="Wingdings 3" panose="05040102010807070707" pitchFamily="18" charset="2"/>
                        </a:rPr>
                        <a:t>Interactive Experience (IX) Services </a:t>
                      </a: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SzPct val="70000"/>
                        <a:buFont typeface="Arial" panose="020B0604020202020204" pitchFamily="34" charset="0"/>
                        <a:buChar char="►"/>
                      </a:pPr>
                      <a:r>
                        <a:rPr lang="en-US" sz="1000" b="0" dirty="0">
                          <a:solidFill>
                            <a:schemeClr val="tx1"/>
                          </a:solidFill>
                          <a:latin typeface="+mn-lt"/>
                        </a:rPr>
                        <a:t>Supply Chain Management (SCM) Services </a:t>
                      </a:r>
                      <a:endParaRPr lang="en-IN" sz="1000" b="0" dirty="0">
                        <a:solidFill>
                          <a:schemeClr val="tx1"/>
                        </a:solidFill>
                      </a:endParaRP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2007253"/>
                  </a:ext>
                </a:extLst>
              </a:tr>
              <a:tr h="235975">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kern="1200" dirty="0">
                          <a:solidFill>
                            <a:schemeClr val="tx1"/>
                          </a:solidFill>
                          <a:latin typeface="+mn-lt"/>
                          <a:ea typeface="+mn-ea"/>
                          <a:cs typeface="+mn-cs"/>
                        </a:rPr>
                        <a:t>Digital Adoption Platforms (DAP)</a:t>
                      </a: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kern="1200" dirty="0">
                          <a:solidFill>
                            <a:schemeClr val="tx1"/>
                          </a:solidFill>
                          <a:latin typeface="+mn-lt"/>
                          <a:ea typeface="+mn-ea"/>
                          <a:cs typeface="+mn-cs"/>
                        </a:rPr>
                        <a:t>IT Services Executive Insights™ </a:t>
                      </a: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kern="1200" dirty="0">
                          <a:solidFill>
                            <a:schemeClr val="tx1"/>
                          </a:solidFill>
                          <a:latin typeface="+mn-lt"/>
                          <a:ea typeface="+mn-ea"/>
                          <a:cs typeface="+mn-cs"/>
                        </a:rPr>
                        <a:t>Talent Excellence GBS </a:t>
                      </a: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6268032"/>
                  </a:ext>
                </a:extLst>
              </a:tr>
              <a:tr h="235975">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dirty="0">
                          <a:solidFill>
                            <a:schemeClr val="tx1"/>
                          </a:solidFill>
                        </a:rPr>
                        <a:t>Digital Services </a:t>
                      </a: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kern="1200" dirty="0">
                          <a:solidFill>
                            <a:schemeClr val="tx1"/>
                          </a:solidFill>
                          <a:latin typeface="+mn-lt"/>
                          <a:ea typeface="+mn-ea"/>
                          <a:cs typeface="+mn-cs"/>
                        </a:rPr>
                        <a:t>Life Sciences BPS </a:t>
                      </a:r>
                      <a:endParaRPr lang="en-US" sz="1000" b="0" dirty="0">
                        <a:solidFill>
                          <a:schemeClr val="tx1"/>
                        </a:solidFill>
                        <a:latin typeface="+mn-lt"/>
                      </a:endParaRP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kern="1200" dirty="0">
                          <a:solidFill>
                            <a:schemeClr val="tx1"/>
                          </a:solidFill>
                          <a:latin typeface="+mn-lt"/>
                          <a:ea typeface="+mn-ea"/>
                          <a:cs typeface="+mn-cs"/>
                        </a:rPr>
                        <a:t>Talent Excellence ITS </a:t>
                      </a: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161073"/>
                  </a:ext>
                </a:extLst>
              </a:tr>
              <a:tr h="235975">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kern="1200" dirty="0">
                          <a:solidFill>
                            <a:schemeClr val="tx1"/>
                          </a:solidFill>
                          <a:latin typeface="+mn-lt"/>
                          <a:ea typeface="+mn-ea"/>
                          <a:cs typeface="+mn-cs"/>
                        </a:rPr>
                        <a:t>Engineering Services </a:t>
                      </a:r>
                    </a:p>
                  </a:txBody>
                  <a:tcPr marL="306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1000" b="0" dirty="0">
                          <a:solidFill>
                            <a:schemeClr val="tx1"/>
                          </a:solidFill>
                          <a:latin typeface="+mn-lt"/>
                        </a:rPr>
                        <a:t>Life Sciences ITS </a:t>
                      </a:r>
                    </a:p>
                  </a:txBody>
                  <a:tcPr marL="108000" marR="91535"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dirty="0">
                          <a:solidFill>
                            <a:schemeClr val="tx1"/>
                          </a:solidFill>
                        </a:rPr>
                        <a:t>Workplace Services</a:t>
                      </a:r>
                    </a:p>
                  </a:txBody>
                  <a:tcPr marL="54000" marR="90000" marT="45768"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910561"/>
                  </a:ext>
                </a:extLst>
              </a:tr>
              <a:tr h="3834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dirty="0">
                          <a:solidFill>
                            <a:schemeClr val="tx1"/>
                          </a:solidFill>
                        </a:rPr>
                        <a:t>Enterprise Platform Services </a:t>
                      </a:r>
                    </a:p>
                  </a:txBody>
                  <a:tcPr marL="306000" marR="90000" marT="45768" marB="4576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dirty="0">
                          <a:solidFill>
                            <a:schemeClr val="tx1"/>
                          </a:solidFill>
                        </a:rPr>
                        <a:t>Locations Insider™ </a:t>
                      </a:r>
                    </a:p>
                  </a:txBody>
                  <a:tcPr marL="108000" marR="91535" marT="45768" marB="4576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1000" b="0" dirty="0">
                          <a:solidFill>
                            <a:schemeClr val="tx1"/>
                          </a:solidFill>
                        </a:rPr>
                        <a:t>Work at Home Agent (WAHA) Customer </a:t>
                      </a:r>
                      <a:br>
                        <a:rPr lang="en-IN" sz="1000" b="0" dirty="0">
                          <a:solidFill>
                            <a:schemeClr val="tx1"/>
                          </a:solidFill>
                        </a:rPr>
                      </a:br>
                      <a:r>
                        <a:rPr lang="en-IN" sz="1000" b="0" dirty="0">
                          <a:solidFill>
                            <a:schemeClr val="tx1"/>
                          </a:solidFill>
                        </a:rPr>
                        <a:t>Experience Management (CXM)</a:t>
                      </a:r>
                    </a:p>
                  </a:txBody>
                  <a:tcPr marL="54000" marR="90000" marT="45768" marB="4576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7563990"/>
                  </a:ext>
                </a:extLst>
              </a:tr>
            </a:tbl>
          </a:graphicData>
        </a:graphic>
      </p:graphicFrame>
      <p:graphicFrame>
        <p:nvGraphicFramePr>
          <p:cNvPr id="9" name="Table 8">
            <a:extLst>
              <a:ext uri="{FF2B5EF4-FFF2-40B4-BE49-F238E27FC236}">
                <a16:creationId xmlns:a16="http://schemas.microsoft.com/office/drawing/2014/main" id="{0A84EB00-805A-4744-8DFA-F023C4EB1860}"/>
              </a:ext>
            </a:extLst>
          </p:cNvPr>
          <p:cNvGraphicFramePr>
            <a:graphicFrameLocks noGrp="1"/>
          </p:cNvGraphicFramePr>
          <p:nvPr>
            <p:extLst>
              <p:ext uri="{D42A27DB-BD31-4B8C-83A1-F6EECF244321}">
                <p14:modId xmlns:p14="http://schemas.microsoft.com/office/powerpoint/2010/main" val="1254106572"/>
              </p:ext>
            </p:extLst>
          </p:nvPr>
        </p:nvGraphicFramePr>
        <p:xfrm>
          <a:off x="9308752" y="2180369"/>
          <a:ext cx="2555462" cy="1073312"/>
        </p:xfrm>
        <a:graphic>
          <a:graphicData uri="http://schemas.openxmlformats.org/drawingml/2006/table">
            <a:tbl>
              <a:tblPr firstRow="1" bandRow="1">
                <a:tableStyleId>{5C22544A-7EE6-4342-B048-85BDC9FD1C3A}</a:tableStyleId>
              </a:tblPr>
              <a:tblGrid>
                <a:gridCol w="2555462">
                  <a:extLst>
                    <a:ext uri="{9D8B030D-6E8A-4147-A177-3AD203B41FA5}">
                      <a16:colId xmlns:a16="http://schemas.microsoft.com/office/drawing/2014/main" val="1532193756"/>
                    </a:ext>
                  </a:extLst>
                </a:gridCol>
              </a:tblGrid>
              <a:tr h="509376">
                <a:tc>
                  <a:txBody>
                    <a:bodyPr/>
                    <a:lstStyle/>
                    <a:p>
                      <a:pPr marL="0" marR="0" lvl="1" indent="0" algn="l" defTabSz="914400" rtl="0" eaLnBrk="1" fontAlgn="base" latinLnBrk="0" hangingPunct="1">
                        <a:lnSpc>
                          <a:spcPct val="117000"/>
                        </a:lnSpc>
                        <a:spcBef>
                          <a:spcPts val="300"/>
                        </a:spcBef>
                        <a:spcAft>
                          <a:spcPts val="0"/>
                        </a:spcAft>
                        <a:buClr>
                          <a:srgbClr val="005A8C"/>
                        </a:buClr>
                        <a:buSzPct val="70000"/>
                        <a:buFont typeface="Wingdings" panose="05000000000000000000" pitchFamily="2" charset="2"/>
                        <a:buNone/>
                        <a:tabLst/>
                        <a:defRPr/>
                      </a:pPr>
                      <a:r>
                        <a:rPr kumimoji="0" lang="en-US" sz="1050" b="0" i="0" u="none" strike="noStrike" kern="1200" cap="none" spc="-10" normalizeH="0" baseline="0" noProof="0" dirty="0">
                          <a:ln>
                            <a:noFill/>
                          </a:ln>
                          <a:solidFill>
                            <a:schemeClr val="bg1">
                              <a:lumMod val="65000"/>
                            </a:schemeClr>
                          </a:solidFill>
                          <a:effectLst/>
                          <a:uLnTx/>
                          <a:uFillTx/>
                          <a:latin typeface="+mn-lt"/>
                          <a:ea typeface="+mn-ea"/>
                          <a:cs typeface="Arial" charset="0"/>
                        </a:rPr>
                        <a:t>If you want to learn whether your organization has a membership agreement or request information on pricing and membership options, please contact us at </a:t>
                      </a:r>
                      <a:r>
                        <a:rPr kumimoji="0" lang="en-US" sz="1050" b="1" i="0" u="none" strike="noStrike" kern="1200" cap="none" spc="-10" normalizeH="0" baseline="0" noProof="0" dirty="0">
                          <a:ln>
                            <a:noFill/>
                          </a:ln>
                          <a:solidFill>
                            <a:schemeClr val="bg1">
                              <a:lumMod val="65000"/>
                            </a:schemeClr>
                          </a:solidFill>
                          <a:effectLst/>
                          <a:uLnTx/>
                          <a:uFillTx/>
                          <a:latin typeface="+mn-lt"/>
                          <a:ea typeface="+mn-ea"/>
                          <a:cs typeface="Arial" charset="0"/>
                          <a:hlinkClick r:id="rId3"/>
                        </a:rPr>
                        <a:t>info@everestgrp.com</a:t>
                      </a:r>
                      <a:endParaRPr kumimoji="0" lang="en-US" sz="1050" b="1" i="0" u="none" strike="noStrike" kern="1200" cap="none" spc="-10" normalizeH="0" baseline="0" noProof="0" dirty="0">
                        <a:ln>
                          <a:noFill/>
                        </a:ln>
                        <a:solidFill>
                          <a:schemeClr val="bg1">
                            <a:lumMod val="65000"/>
                          </a:schemeClr>
                        </a:solidFill>
                        <a:effectLst/>
                        <a:uLnTx/>
                        <a:uFillTx/>
                        <a:latin typeface="+mn-lt"/>
                        <a:ea typeface="+mn-ea"/>
                        <a:cs typeface="Arial" charset="0"/>
                      </a:endParaRPr>
                    </a:p>
                  </a:txBody>
                  <a:tcPr marL="0" marR="91535" marT="108000"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6208746"/>
                  </a:ext>
                </a:extLst>
              </a:tr>
            </a:tbl>
          </a:graphicData>
        </a:graphic>
      </p:graphicFrame>
      <p:sp>
        <p:nvSpPr>
          <p:cNvPr id="12" name="Rectangle 11">
            <a:extLst>
              <a:ext uri="{FF2B5EF4-FFF2-40B4-BE49-F238E27FC236}">
                <a16:creationId xmlns:a16="http://schemas.microsoft.com/office/drawing/2014/main" id="{41F0AAFF-08BD-914C-9740-CE66BBB4A916}"/>
              </a:ext>
            </a:extLst>
          </p:cNvPr>
          <p:cNvSpPr/>
          <p:nvPr/>
        </p:nvSpPr>
        <p:spPr bwMode="auto">
          <a:xfrm>
            <a:off x="0" y="1685257"/>
            <a:ext cx="12192000" cy="491017"/>
          </a:xfrm>
          <a:prstGeom prst="rect">
            <a:avLst/>
          </a:prstGeom>
          <a:solidFill>
            <a:schemeClr val="accent4">
              <a:lumMod val="20000"/>
              <a:lumOff val="80000"/>
              <a:alpha val="43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buClr>
                <a:schemeClr val="accent1"/>
              </a:buClr>
              <a:buSzPct val="60000"/>
            </a:pPr>
            <a:endParaRPr lang="en-US"/>
          </a:p>
        </p:txBody>
      </p:sp>
      <p:graphicFrame>
        <p:nvGraphicFramePr>
          <p:cNvPr id="13" name="Table 12">
            <a:extLst>
              <a:ext uri="{FF2B5EF4-FFF2-40B4-BE49-F238E27FC236}">
                <a16:creationId xmlns:a16="http://schemas.microsoft.com/office/drawing/2014/main" id="{4616961D-9AC8-564A-A58A-1A45B60C7FE8}"/>
              </a:ext>
            </a:extLst>
          </p:cNvPr>
          <p:cNvGraphicFramePr>
            <a:graphicFrameLocks noGrp="1"/>
          </p:cNvGraphicFramePr>
          <p:nvPr>
            <p:extLst>
              <p:ext uri="{D42A27DB-BD31-4B8C-83A1-F6EECF244321}">
                <p14:modId xmlns:p14="http://schemas.microsoft.com/office/powerpoint/2010/main" val="3440479132"/>
              </p:ext>
            </p:extLst>
          </p:nvPr>
        </p:nvGraphicFramePr>
        <p:xfrm>
          <a:off x="304798" y="1710710"/>
          <a:ext cx="7258756" cy="440046"/>
        </p:xfrm>
        <a:graphic>
          <a:graphicData uri="http://schemas.openxmlformats.org/drawingml/2006/table">
            <a:tbl>
              <a:tblPr firstRow="1" bandRow="1">
                <a:tableStyleId>{5C22544A-7EE6-4342-B048-85BDC9FD1C3A}</a:tableStyleId>
              </a:tblPr>
              <a:tblGrid>
                <a:gridCol w="7258756">
                  <a:extLst>
                    <a:ext uri="{9D8B030D-6E8A-4147-A177-3AD203B41FA5}">
                      <a16:colId xmlns:a16="http://schemas.microsoft.com/office/drawing/2014/main" val="1532193756"/>
                    </a:ext>
                  </a:extLst>
                </a:gridCol>
              </a:tblGrid>
              <a:tr h="0">
                <a:tc>
                  <a:txBody>
                    <a:bodyPr/>
                    <a:lstStyle/>
                    <a:p>
                      <a:pPr marL="0" marR="0" lvl="1" indent="0" algn="l" defTabSz="914400" rtl="0" eaLnBrk="1" fontAlgn="base" latinLnBrk="0" hangingPunct="1">
                        <a:lnSpc>
                          <a:spcPts val="1540"/>
                        </a:lnSpc>
                        <a:spcBef>
                          <a:spcPts val="0"/>
                        </a:spcBef>
                        <a:spcAft>
                          <a:spcPts val="0"/>
                        </a:spcAft>
                        <a:buClr>
                          <a:srgbClr val="005A8C"/>
                        </a:buClr>
                        <a:buSzPct val="70000"/>
                        <a:buFont typeface="Wingdings" panose="05000000000000000000" pitchFamily="2" charset="2"/>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Arial" charset="0"/>
                        </a:rPr>
                        <a:t>This report is included in the following research program(s): </a:t>
                      </a:r>
                      <a:br>
                        <a:rPr kumimoji="0" lang="en-US" sz="1200" b="0" i="0" u="none" strike="noStrike" kern="1200" cap="none" spc="0" normalizeH="0" baseline="0" noProof="0" dirty="0">
                          <a:ln>
                            <a:noFill/>
                          </a:ln>
                          <a:solidFill>
                            <a:schemeClr val="tx1"/>
                          </a:solidFill>
                          <a:effectLst/>
                          <a:uLnTx/>
                          <a:uFillTx/>
                          <a:latin typeface="+mn-lt"/>
                          <a:ea typeface="+mn-ea"/>
                          <a:cs typeface="Arial" charset="0"/>
                        </a:rPr>
                      </a:br>
                      <a:r>
                        <a:rPr kumimoji="0" lang="en-US" sz="1200" b="0" i="0" u="none" strike="noStrike" kern="1200" cap="none" spc="0" normalizeH="0" baseline="0" noProof="0" dirty="0">
                          <a:ln>
                            <a:noFill/>
                          </a:ln>
                          <a:solidFill>
                            <a:schemeClr val="accent5"/>
                          </a:solidFill>
                          <a:effectLst/>
                          <a:uLnTx/>
                          <a:uFillTx/>
                          <a:latin typeface="+mn-lt"/>
                          <a:ea typeface="+mn-ea"/>
                          <a:cs typeface="Arial" charset="0"/>
                        </a:rPr>
                        <a:t>Human Resources Outsourcing</a:t>
                      </a:r>
                    </a:p>
                  </a:txBody>
                  <a:tcPr marL="0" marR="90000" marT="36000" marB="36000">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6208746"/>
                  </a:ext>
                </a:extLst>
              </a:tr>
            </a:tbl>
          </a:graphicData>
        </a:graphic>
      </p:graphicFrame>
      <p:sp>
        <p:nvSpPr>
          <p:cNvPr id="15" name="Rectangle 14">
            <a:hlinkClick r:id="rId4"/>
            <a:extLst>
              <a:ext uri="{FF2B5EF4-FFF2-40B4-BE49-F238E27FC236}">
                <a16:creationId xmlns:a16="http://schemas.microsoft.com/office/drawing/2014/main" id="{E66B9AFD-7FA1-1244-91B1-A7450D2B5FA6}"/>
              </a:ext>
            </a:extLst>
          </p:cNvPr>
          <p:cNvSpPr/>
          <p:nvPr/>
        </p:nvSpPr>
        <p:spPr bwMode="auto">
          <a:xfrm>
            <a:off x="9308752" y="3518638"/>
            <a:ext cx="2450948" cy="44988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466712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33">
            <a:extLst>
              <a:ext uri="{FF2B5EF4-FFF2-40B4-BE49-F238E27FC236}">
                <a16:creationId xmlns:a16="http://schemas.microsoft.com/office/drawing/2014/main" id="{FB841698-4DB3-44A5-9E18-ACFB1516C650}"/>
              </a:ext>
            </a:extLst>
          </p:cNvPr>
          <p:cNvGraphicFramePr>
            <a:graphicFrameLocks noGrp="1"/>
          </p:cNvGraphicFramePr>
          <p:nvPr/>
        </p:nvGraphicFramePr>
        <p:xfrm>
          <a:off x="4037107" y="1161226"/>
          <a:ext cx="7348724" cy="4898599"/>
        </p:xfrm>
        <a:graphic>
          <a:graphicData uri="http://schemas.openxmlformats.org/drawingml/2006/table">
            <a:tbl>
              <a:tblPr>
                <a:tableStyleId>{5C22544A-7EE6-4342-B048-85BDC9FD1C3A}</a:tableStyleId>
              </a:tblPr>
              <a:tblGrid>
                <a:gridCol w="305594">
                  <a:extLst>
                    <a:ext uri="{9D8B030D-6E8A-4147-A177-3AD203B41FA5}">
                      <a16:colId xmlns:a16="http://schemas.microsoft.com/office/drawing/2014/main" val="137393273"/>
                    </a:ext>
                  </a:extLst>
                </a:gridCol>
                <a:gridCol w="6624914">
                  <a:extLst>
                    <a:ext uri="{9D8B030D-6E8A-4147-A177-3AD203B41FA5}">
                      <a16:colId xmlns:a16="http://schemas.microsoft.com/office/drawing/2014/main" val="1697316569"/>
                    </a:ext>
                  </a:extLst>
                </a:gridCol>
                <a:gridCol w="418216">
                  <a:extLst>
                    <a:ext uri="{9D8B030D-6E8A-4147-A177-3AD203B41FA5}">
                      <a16:colId xmlns:a16="http://schemas.microsoft.com/office/drawing/2014/main" val="2481023271"/>
                    </a:ext>
                  </a:extLst>
                </a:gridCol>
              </a:tblGrid>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a:solidFill>
                            <a:schemeClr val="tx1"/>
                          </a:solidFill>
                          <a:latin typeface="+mn-lt"/>
                          <a:ea typeface="+mn-ea"/>
                          <a:cs typeface="+mn-cs"/>
                        </a:rPr>
                        <a:t>1.</a:t>
                      </a:r>
                      <a:endParaRPr lang="en-IN" sz="1000" b="1" kern="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a:solidFill>
                            <a:schemeClr val="tx1"/>
                          </a:solidFill>
                        </a:rPr>
                        <a:t>Introduction and overview</a:t>
                      </a:r>
                      <a:endParaRPr lang="en-IN" sz="1000" b="0">
                        <a:solidFill>
                          <a:schemeClr val="accent3"/>
                        </a:solidFill>
                      </a:endParaRPr>
                    </a:p>
                  </a:txBody>
                  <a:tcPr marL="0" marT="0" marB="0" anchor="ctr">
                    <a:lnL w="12700" cmpd="sng">
                      <a:noFill/>
                    </a:lnL>
                    <a:lnR w="6350" cap="flat" cmpd="sng" algn="ctr">
                      <a:noFill/>
                      <a:prstDash val="lgDash"/>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kern="0" dirty="0">
                          <a:solidFill>
                            <a:schemeClr val="tx1"/>
                          </a:solidFill>
                          <a:latin typeface="+mn-lt"/>
                          <a:ea typeface="+mn-ea"/>
                          <a:cs typeface="+mn-cs"/>
                        </a:rPr>
                        <a:t>5</a:t>
                      </a:r>
                      <a:endParaRPr lang="en-IN" sz="1000" b="1" kern="0" dirty="0">
                        <a:solidFill>
                          <a:schemeClr val="tx1"/>
                        </a:solidFill>
                        <a:latin typeface="+mn-lt"/>
                        <a:ea typeface="+mn-ea"/>
                        <a:cs typeface="+mn-cs"/>
                      </a:endParaRPr>
                    </a:p>
                  </a:txBody>
                  <a:tcPr marT="0" marB="0" anchor="ctr">
                    <a:lnL w="6350" cap="flat" cmpd="sng" algn="ctr">
                      <a:noFill/>
                      <a:prstDash val="lgDash"/>
                      <a:round/>
                      <a:headEnd type="none" w="med" len="med"/>
                      <a:tailEnd type="none" w="med" len="med"/>
                    </a:lnL>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80351584"/>
                  </a:ext>
                </a:extLst>
              </a:tr>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1" kern="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71450" indent="-171450">
                        <a:lnSpc>
                          <a:spcPct val="100000"/>
                        </a:lnSpc>
                        <a:buClr>
                          <a:schemeClr val="accent2"/>
                        </a:buClr>
                        <a:buSzPct val="70000"/>
                        <a:buFont typeface="Wingdings" panose="05000000000000000000" pitchFamily="2" charset="2"/>
                        <a:buChar char="l"/>
                      </a:pPr>
                      <a:r>
                        <a:rPr lang="en-US" sz="1000" kern="0">
                          <a:solidFill>
                            <a:schemeClr val="tx1"/>
                          </a:solidFill>
                        </a:rPr>
                        <a:t>Research methodology</a:t>
                      </a:r>
                      <a:endParaRPr lang="en-IN" sz="1000">
                        <a:solidFill>
                          <a:schemeClr val="tx1"/>
                        </a:solidFill>
                      </a:endParaRPr>
                    </a:p>
                  </a:txBody>
                  <a:tcPr marL="0" marT="0" marB="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a:lnSpc>
                          <a:spcPct val="100000"/>
                        </a:lnSpc>
                      </a:pPr>
                      <a:r>
                        <a:rPr lang="en-US" sz="1000" kern="0" dirty="0">
                          <a:solidFill>
                            <a:schemeClr val="tx1"/>
                          </a:solidFill>
                          <a:latin typeface="+mn-lt"/>
                          <a:ea typeface="+mn-ea"/>
                          <a:cs typeface="+mn-cs"/>
                        </a:rPr>
                        <a:t>6</a:t>
                      </a:r>
                      <a:endParaRPr lang="en-IN" sz="1000" kern="0" dirty="0">
                        <a:solidFill>
                          <a:schemeClr val="tx1"/>
                        </a:solidFill>
                        <a:latin typeface="+mn-lt"/>
                        <a:ea typeface="+mn-ea"/>
                        <a:cs typeface="+mn-cs"/>
                      </a:endParaRPr>
                    </a:p>
                  </a:txBody>
                  <a:tcPr marT="0" marB="0"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9221733"/>
                  </a:ext>
                </a:extLst>
              </a:tr>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1" kern="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1200">
                          <a:solidFill>
                            <a:schemeClr val="tx1"/>
                          </a:solidFill>
                          <a:latin typeface="Arial "/>
                          <a:ea typeface="+mn-ea"/>
                          <a:cs typeface="+mn-cs"/>
                        </a:rPr>
                        <a:t>HRO value chain and process map</a:t>
                      </a:r>
                    </a:p>
                  </a:txBody>
                  <a:tcPr marL="0" marT="0" marB="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a:lnSpc>
                          <a:spcPct val="100000"/>
                        </a:lnSpc>
                      </a:pPr>
                      <a:r>
                        <a:rPr lang="en-US" sz="1000" kern="0" dirty="0">
                          <a:solidFill>
                            <a:schemeClr val="tx1"/>
                          </a:solidFill>
                          <a:latin typeface="+mn-lt"/>
                          <a:ea typeface="+mn-ea"/>
                          <a:cs typeface="+mn-cs"/>
                        </a:rPr>
                        <a:t>7</a:t>
                      </a:r>
                      <a:endParaRPr lang="en-IN" sz="1000" kern="0" dirty="0">
                        <a:solidFill>
                          <a:schemeClr val="tx1"/>
                        </a:solidFill>
                        <a:latin typeface="+mn-lt"/>
                        <a:ea typeface="+mn-ea"/>
                        <a:cs typeface="+mn-cs"/>
                      </a:endParaRPr>
                    </a:p>
                  </a:txBody>
                  <a:tcPr marT="0" marB="0"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2130965"/>
                  </a:ext>
                </a:extLst>
              </a:tr>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1" kern="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71450" indent="-171450">
                        <a:lnSpc>
                          <a:spcPct val="100000"/>
                        </a:lnSpc>
                        <a:buClr>
                          <a:schemeClr val="accent2"/>
                        </a:buClr>
                        <a:buSzPct val="70000"/>
                        <a:buFont typeface="Wingdings" panose="05000000000000000000" pitchFamily="2" charset="2"/>
                        <a:buChar char="l"/>
                      </a:pPr>
                      <a:r>
                        <a:rPr lang="en-US" sz="1000" kern="0" dirty="0">
                          <a:solidFill>
                            <a:schemeClr val="tx1"/>
                          </a:solidFill>
                        </a:rPr>
                        <a:t>R&amp;R solution process map</a:t>
                      </a:r>
                      <a:endParaRPr lang="en-IN" sz="1000" dirty="0">
                        <a:solidFill>
                          <a:schemeClr val="tx1"/>
                        </a:solidFill>
                      </a:endParaRP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8</a:t>
                      </a:r>
                      <a:endParaRPr lang="en-IN" sz="1000" kern="0" noProof="0" dirty="0">
                        <a:solidFill>
                          <a:schemeClr val="tx1"/>
                        </a:solidFill>
                        <a:latin typeface="+mn-lt"/>
                        <a:ea typeface="+mn-ea"/>
                        <a:cs typeface="+mn-cs"/>
                      </a:endParaRPr>
                    </a:p>
                  </a:txBody>
                  <a:tcPr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96790516"/>
                  </a:ext>
                </a:extLst>
              </a:tr>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1" kern="0" dirty="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71450" indent="-171450">
                        <a:lnSpc>
                          <a:spcPct val="100000"/>
                        </a:lnSpc>
                        <a:buClr>
                          <a:schemeClr val="accent2"/>
                        </a:buClr>
                        <a:buSzPct val="70000"/>
                        <a:buFont typeface="Wingdings" panose="05000000000000000000" pitchFamily="2" charset="2"/>
                        <a:buChar char="l"/>
                      </a:pPr>
                      <a:r>
                        <a:rPr lang="en-US" sz="1000" dirty="0">
                          <a:solidFill>
                            <a:schemeClr val="tx1"/>
                          </a:solidFill>
                        </a:rPr>
                        <a:t>Sources of information</a:t>
                      </a:r>
                      <a:endParaRPr lang="en-IN" sz="1000" dirty="0">
                        <a:solidFill>
                          <a:schemeClr val="tx1"/>
                        </a:solidFill>
                      </a:endParaRP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9</a:t>
                      </a:r>
                      <a:endParaRPr lang="en-IN" sz="1000" kern="0" noProof="0" dirty="0">
                        <a:solidFill>
                          <a:schemeClr val="tx1"/>
                        </a:solidFill>
                        <a:latin typeface="+mn-lt"/>
                        <a:ea typeface="+mn-ea"/>
                        <a:cs typeface="+mn-cs"/>
                      </a:endParaRPr>
                    </a:p>
                  </a:txBody>
                  <a:tcPr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72258269"/>
                  </a:ext>
                </a:extLst>
              </a:tr>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1" kern="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71450" indent="-171450">
                        <a:lnSpc>
                          <a:spcPct val="100000"/>
                        </a:lnSpc>
                        <a:buClr>
                          <a:schemeClr val="accent2"/>
                        </a:buClr>
                        <a:buSzPct val="70000"/>
                        <a:buFont typeface="Wingdings" panose="05000000000000000000" pitchFamily="2" charset="2"/>
                        <a:buChar char="l"/>
                      </a:pPr>
                      <a:r>
                        <a:rPr lang="en-US" sz="1000" kern="0" dirty="0">
                          <a:solidFill>
                            <a:schemeClr val="tx1"/>
                          </a:solidFill>
                        </a:rPr>
                        <a:t>Background and scope of research</a:t>
                      </a:r>
                      <a:endParaRPr lang="en-IN" sz="1000" dirty="0">
                        <a:solidFill>
                          <a:schemeClr val="tx1"/>
                        </a:solidFill>
                      </a:endParaRP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10</a:t>
                      </a:r>
                      <a:endParaRPr lang="en-IN" sz="1000" kern="0" noProof="0" dirty="0">
                        <a:solidFill>
                          <a:schemeClr val="tx1"/>
                        </a:solidFill>
                        <a:latin typeface="+mn-lt"/>
                        <a:ea typeface="+mn-ea"/>
                        <a:cs typeface="+mn-cs"/>
                      </a:endParaRPr>
                    </a:p>
                  </a:txBody>
                  <a:tcPr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31265756"/>
                  </a:ext>
                </a:extLst>
              </a:tr>
              <a:tr h="257821">
                <a:tc>
                  <a:txBody>
                    <a:bodyPr/>
                    <a:lstStyle/>
                    <a:p>
                      <a:pPr>
                        <a:lnSpc>
                          <a:spcPct val="100000"/>
                        </a:lnSpc>
                      </a:pPr>
                      <a:r>
                        <a:rPr lang="en-US" sz="1000" b="1" kern="0">
                          <a:solidFill>
                            <a:schemeClr val="tx1"/>
                          </a:solidFill>
                          <a:latin typeface="+mn-lt"/>
                          <a:ea typeface="+mn-ea"/>
                          <a:cs typeface="+mn-cs"/>
                        </a:rPr>
                        <a:t>2.</a:t>
                      </a: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000" b="1" kern="0" dirty="0">
                          <a:solidFill>
                            <a:schemeClr val="tx1"/>
                          </a:solidFill>
                          <a:latin typeface="Arial "/>
                        </a:rPr>
                        <a:t>Summary of key messages</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lnSpc>
                          <a:spcPct val="100000"/>
                        </a:lnSpc>
                      </a:pPr>
                      <a:r>
                        <a:rPr lang="en-US" sz="1000" b="1" kern="0" dirty="0">
                          <a:solidFill>
                            <a:schemeClr val="tx1"/>
                          </a:solidFill>
                          <a:latin typeface="+mn-lt"/>
                          <a:ea typeface="+mn-ea"/>
                          <a:cs typeface="+mn-cs"/>
                        </a:rPr>
                        <a:t>11</a:t>
                      </a: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5654377"/>
                  </a:ext>
                </a:extLst>
              </a:tr>
              <a:tr h="257821">
                <a:tc>
                  <a:txBody>
                    <a:bodyPr/>
                    <a:lstStyle/>
                    <a:p>
                      <a:pPr>
                        <a:lnSpc>
                          <a:spcPct val="100000"/>
                        </a:lnSpc>
                      </a:pPr>
                      <a:r>
                        <a:rPr lang="en-US" sz="1000" b="1" kern="0">
                          <a:solidFill>
                            <a:schemeClr val="tx1"/>
                          </a:solidFill>
                          <a:latin typeface="+mn-lt"/>
                          <a:ea typeface="+mn-ea"/>
                          <a:cs typeface="+mn-cs"/>
                        </a:rPr>
                        <a:t>3.</a:t>
                      </a: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000" b="1" kern="0">
                          <a:latin typeface="Arial "/>
                        </a:rPr>
                        <a:t>Impact of COVID-19 on R&amp;R</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b="1" kern="0" noProof="0" dirty="0">
                          <a:solidFill>
                            <a:schemeClr val="tx1"/>
                          </a:solidFill>
                          <a:latin typeface="+mn-lt"/>
                          <a:ea typeface="+mn-ea"/>
                          <a:cs typeface="+mn-cs"/>
                        </a:rPr>
                        <a:t>1</a:t>
                      </a:r>
                      <a:r>
                        <a:rPr lang="en-IN" sz="1000" b="1" kern="0" noProof="0" dirty="0">
                          <a:solidFill>
                            <a:schemeClr val="tx1"/>
                          </a:solidFill>
                          <a:latin typeface="+mn-lt"/>
                          <a:ea typeface="+mn-ea"/>
                          <a:cs typeface="+mn-cs"/>
                        </a:rPr>
                        <a:t>4</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2702839"/>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1200">
                          <a:solidFill>
                            <a:schemeClr val="tx1"/>
                          </a:solidFill>
                          <a:latin typeface="Arial "/>
                          <a:ea typeface="+mn-ea"/>
                          <a:cs typeface="+mn-cs"/>
                        </a:rPr>
                        <a:t>COVID-19 and its implications</a:t>
                      </a:r>
                    </a:p>
                  </a:txBody>
                  <a:tcPr marL="0" marR="0" marT="36576" marB="36576">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1</a:t>
                      </a:r>
                      <a:r>
                        <a:rPr lang="en-IN" sz="1000" kern="0" noProof="0" dirty="0">
                          <a:solidFill>
                            <a:schemeClr val="tx1"/>
                          </a:solidFill>
                          <a:latin typeface="+mn-lt"/>
                          <a:ea typeface="+mn-ea"/>
                          <a:cs typeface="+mn-cs"/>
                        </a:rPr>
                        <a:t>5</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9885802"/>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1200" dirty="0">
                          <a:solidFill>
                            <a:schemeClr val="tx1"/>
                          </a:solidFill>
                          <a:latin typeface="Arial "/>
                          <a:ea typeface="+mn-ea"/>
                          <a:cs typeface="+mn-cs"/>
                        </a:rPr>
                        <a:t>Using HR technology to build a resilient organization</a:t>
                      </a:r>
                    </a:p>
                  </a:txBody>
                  <a:tcPr marL="0" marR="0" marT="36576" marB="36576">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1</a:t>
                      </a:r>
                      <a:r>
                        <a:rPr lang="en-IN" sz="1000" kern="0" noProof="0" dirty="0">
                          <a:solidFill>
                            <a:schemeClr val="tx1"/>
                          </a:solidFill>
                          <a:latin typeface="+mn-lt"/>
                          <a:ea typeface="+mn-ea"/>
                          <a:cs typeface="+mn-cs"/>
                        </a:rPr>
                        <a:t>6</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84492328"/>
                  </a:ext>
                </a:extLst>
              </a:tr>
              <a:tr h="257821">
                <a:tc>
                  <a:txBody>
                    <a:bodyPr/>
                    <a:lstStyle/>
                    <a:p>
                      <a:pPr>
                        <a:lnSpc>
                          <a:spcPct val="100000"/>
                        </a:lnSpc>
                      </a:pPr>
                      <a:r>
                        <a:rPr lang="en-US" sz="1000" b="1" kern="0">
                          <a:solidFill>
                            <a:schemeClr val="tx1"/>
                          </a:solidFill>
                          <a:latin typeface="+mn-lt"/>
                          <a:ea typeface="+mn-ea"/>
                          <a:cs typeface="+mn-cs"/>
                        </a:rPr>
                        <a:t>4.</a:t>
                      </a: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00" b="1" kern="0" dirty="0">
                          <a:solidFill>
                            <a:schemeClr val="dk1"/>
                          </a:solidFill>
                          <a:latin typeface="Arial "/>
                          <a:ea typeface="+mn-ea"/>
                          <a:cs typeface="+mn-cs"/>
                        </a:rPr>
                        <a:t>R&amp;R market overview</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000" b="1" kern="0" dirty="0">
                          <a:solidFill>
                            <a:schemeClr val="tx1"/>
                          </a:solidFill>
                          <a:latin typeface="+mn-lt"/>
                          <a:ea typeface="+mn-ea"/>
                          <a:cs typeface="+mn-cs"/>
                        </a:rPr>
                        <a:t>  17</a:t>
                      </a: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6687338"/>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1200">
                          <a:solidFill>
                            <a:schemeClr val="tx1"/>
                          </a:solidFill>
                          <a:latin typeface="Arial "/>
                          <a:ea typeface="+mn-ea"/>
                          <a:cs typeface="+mn-cs"/>
                        </a:rPr>
                        <a:t>R&amp;R market size and growth</a:t>
                      </a:r>
                    </a:p>
                  </a:txBody>
                  <a:tcPr marL="0" marR="0" marT="36576" marB="36576">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1</a:t>
                      </a:r>
                      <a:r>
                        <a:rPr lang="en-IN" sz="1000" kern="0" noProof="0" dirty="0">
                          <a:solidFill>
                            <a:schemeClr val="tx1"/>
                          </a:solidFill>
                          <a:latin typeface="+mn-lt"/>
                          <a:ea typeface="+mn-ea"/>
                          <a:cs typeface="+mn-cs"/>
                        </a:rPr>
                        <a:t>8</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22430647"/>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1200" dirty="0">
                          <a:solidFill>
                            <a:schemeClr val="tx1"/>
                          </a:solidFill>
                          <a:latin typeface="Arial "/>
                          <a:ea typeface="+mn-ea"/>
                          <a:cs typeface="+mn-cs"/>
                        </a:rPr>
                        <a:t>Adoption of buyer size</a:t>
                      </a:r>
                    </a:p>
                  </a:txBody>
                  <a:tcPr marL="0" marR="0" marT="36576" marB="36576">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1</a:t>
                      </a:r>
                      <a:r>
                        <a:rPr lang="en-IN" sz="1000" kern="0" noProof="0" dirty="0">
                          <a:solidFill>
                            <a:schemeClr val="tx1"/>
                          </a:solidFill>
                          <a:latin typeface="+mn-lt"/>
                          <a:ea typeface="+mn-ea"/>
                          <a:cs typeface="+mn-cs"/>
                        </a:rPr>
                        <a:t>9</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7364554"/>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1200">
                          <a:solidFill>
                            <a:schemeClr val="tx1"/>
                          </a:solidFill>
                          <a:latin typeface="Arial "/>
                          <a:ea typeface="+mn-ea"/>
                          <a:cs typeface="+mn-cs"/>
                        </a:rPr>
                        <a:t>Adoption by buyer industry</a:t>
                      </a:r>
                    </a:p>
                  </a:txBody>
                  <a:tcPr marL="0" marR="0" marT="36576" marB="36576">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20</a:t>
                      </a:r>
                      <a:endParaRPr lang="en-IN" sz="1000" kern="0" noProof="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5404043"/>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1200">
                          <a:solidFill>
                            <a:schemeClr val="tx1"/>
                          </a:solidFill>
                          <a:latin typeface="Arial "/>
                          <a:ea typeface="+mn-ea"/>
                          <a:cs typeface="+mn-cs"/>
                        </a:rPr>
                        <a:t>Adoption by buyer geography</a:t>
                      </a:r>
                    </a:p>
                  </a:txBody>
                  <a:tcPr marL="0" marR="0" marT="36576" marB="36576">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21</a:t>
                      </a:r>
                      <a:endParaRPr lang="en-IN" sz="1000" kern="0" noProof="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89300257"/>
                  </a:ext>
                </a:extLst>
              </a:tr>
              <a:tr h="257821">
                <a:tc>
                  <a:txBody>
                    <a:bodyPr/>
                    <a:lstStyle/>
                    <a:p>
                      <a:pPr>
                        <a:lnSpc>
                          <a:spcPct val="100000"/>
                        </a:lnSpc>
                      </a:pPr>
                      <a:r>
                        <a:rPr lang="en-IN" sz="1000" b="1" kern="0">
                          <a:solidFill>
                            <a:schemeClr val="tx1"/>
                          </a:solidFill>
                          <a:latin typeface="+mn-lt"/>
                          <a:ea typeface="+mn-ea"/>
                          <a:cs typeface="+mn-cs"/>
                        </a:rPr>
                        <a:t>5.</a:t>
                      </a: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000" b="1" kern="0" dirty="0">
                          <a:solidFill>
                            <a:schemeClr val="tx1"/>
                          </a:solidFill>
                          <a:latin typeface="Arial "/>
                        </a:rPr>
                        <a:t>Key trends in the R&amp;R market</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lnSpc>
                          <a:spcPct val="100000"/>
                        </a:lnSpc>
                      </a:pPr>
                      <a:r>
                        <a:rPr lang="en-US" sz="1000" b="1" kern="0" dirty="0">
                          <a:solidFill>
                            <a:schemeClr val="tx1"/>
                          </a:solidFill>
                          <a:latin typeface="+mn-lt"/>
                          <a:ea typeface="+mn-ea"/>
                          <a:cs typeface="+mn-cs"/>
                        </a:rPr>
                        <a:t>22</a:t>
                      </a: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24445325"/>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71450"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b="0" kern="0">
                          <a:solidFill>
                            <a:schemeClr val="tx1"/>
                          </a:solidFill>
                          <a:latin typeface="+mn-lt"/>
                          <a:ea typeface="+mn-ea"/>
                          <a:cs typeface="+mn-cs"/>
                        </a:rPr>
                        <a:t>Buyer adoption drivers</a:t>
                      </a:r>
                    </a:p>
                  </a:txBody>
                  <a:tcPr marL="0" marR="0" marT="36576" marB="36576">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b="0" kern="0" noProof="0" dirty="0">
                          <a:solidFill>
                            <a:schemeClr val="tx1"/>
                          </a:solidFill>
                          <a:latin typeface="+mn-lt"/>
                          <a:ea typeface="+mn-ea"/>
                          <a:cs typeface="+mn-cs"/>
                        </a:rPr>
                        <a:t>23</a:t>
                      </a:r>
                      <a:endParaRPr lang="en-IN" sz="1000" b="0" kern="0" noProof="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0216457"/>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71450"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b="0" kern="0" dirty="0">
                          <a:solidFill>
                            <a:schemeClr val="tx1"/>
                          </a:solidFill>
                          <a:latin typeface="+mn-lt"/>
                          <a:ea typeface="+mn-ea"/>
                          <a:cs typeface="+mn-cs"/>
                        </a:rPr>
                        <a:t>Buyer expectations and satisfaction results</a:t>
                      </a:r>
                    </a:p>
                  </a:txBody>
                  <a:tcPr marL="0" marR="0" marT="36576" marB="36576">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25</a:t>
                      </a:r>
                      <a:endParaRPr lang="en-IN" sz="1000" kern="0" noProof="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70542606"/>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71450"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b="0" kern="0" dirty="0">
                          <a:solidFill>
                            <a:schemeClr val="tx1"/>
                          </a:solidFill>
                          <a:latin typeface="+mn-lt"/>
                          <a:ea typeface="+mn-ea"/>
                          <a:cs typeface="+mn-cs"/>
                        </a:rPr>
                        <a:t>R&amp;R solution characteristics</a:t>
                      </a:r>
                    </a:p>
                  </a:txBody>
                  <a:tcPr marL="0" marR="0" marT="36576" marB="36576">
                    <a:lnL w="12700" cmpd="sng">
                      <a:noFill/>
                    </a:lnL>
                    <a:lnR w="12700" cmpd="sng">
                      <a:noFill/>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26</a:t>
                      </a:r>
                      <a:endParaRPr lang="en-IN" sz="1000" kern="0" noProof="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22189269"/>
                  </a:ext>
                </a:extLst>
              </a:tr>
            </a:tbl>
          </a:graphicData>
        </a:graphic>
      </p:graphicFrame>
      <p:sp>
        <p:nvSpPr>
          <p:cNvPr id="16" name="Rectangle 15">
            <a:hlinkClick r:id="rId3"/>
            <a:extLst>
              <a:ext uri="{FF2B5EF4-FFF2-40B4-BE49-F238E27FC236}">
                <a16:creationId xmlns:a16="http://schemas.microsoft.com/office/drawing/2014/main" id="{8CAD54E1-F292-4194-8AAC-734A134D2519}"/>
              </a:ext>
            </a:extLst>
          </p:cNvPr>
          <p:cNvSpPr/>
          <p:nvPr/>
        </p:nvSpPr>
        <p:spPr bwMode="auto">
          <a:xfrm>
            <a:off x="289249" y="6019800"/>
            <a:ext cx="1427584" cy="177281"/>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graphicFrame>
        <p:nvGraphicFramePr>
          <p:cNvPr id="9" name="Table 8">
            <a:extLst>
              <a:ext uri="{FF2B5EF4-FFF2-40B4-BE49-F238E27FC236}">
                <a16:creationId xmlns:a16="http://schemas.microsoft.com/office/drawing/2014/main" id="{75796145-F9A2-3848-A09B-85F05586F014}"/>
              </a:ext>
            </a:extLst>
          </p:cNvPr>
          <p:cNvGraphicFramePr>
            <a:graphicFrameLocks noGrp="1"/>
          </p:cNvGraphicFramePr>
          <p:nvPr>
            <p:extLst>
              <p:ext uri="{D42A27DB-BD31-4B8C-83A1-F6EECF244321}">
                <p14:modId xmlns:p14="http://schemas.microsoft.com/office/powerpoint/2010/main" val="3552362104"/>
              </p:ext>
            </p:extLst>
          </p:nvPr>
        </p:nvGraphicFramePr>
        <p:xfrm>
          <a:off x="310262" y="5000189"/>
          <a:ext cx="3013387" cy="731520"/>
        </p:xfrm>
        <a:graphic>
          <a:graphicData uri="http://schemas.openxmlformats.org/drawingml/2006/table">
            <a:tbl>
              <a:tblPr firstRow="1" bandRow="1">
                <a:tableStyleId>{5C22544A-7EE6-4342-B048-85BDC9FD1C3A}</a:tableStyleId>
              </a:tblPr>
              <a:tblGrid>
                <a:gridCol w="3013387">
                  <a:extLst>
                    <a:ext uri="{9D8B030D-6E8A-4147-A177-3AD203B41FA5}">
                      <a16:colId xmlns:a16="http://schemas.microsoft.com/office/drawing/2014/main" val="2490264720"/>
                    </a:ext>
                  </a:extLst>
                </a:gridCol>
              </a:tblGrid>
              <a:tr h="171123">
                <a:tc>
                  <a:txBody>
                    <a:bodyPr/>
                    <a:lstStyle/>
                    <a:p>
                      <a:pPr algn="l"/>
                      <a:r>
                        <a:rPr lang="en-US" sz="1000" b="1">
                          <a:solidFill>
                            <a:schemeClr val="bg1">
                              <a:lumMod val="50000"/>
                            </a:schemeClr>
                          </a:solidFill>
                        </a:rPr>
                        <a:t>Priyanka Mitra,</a:t>
                      </a:r>
                      <a:r>
                        <a:rPr lang="en-US" sz="1000" b="0">
                          <a:solidFill>
                            <a:schemeClr val="bg1">
                              <a:lumMod val="50000"/>
                            </a:schemeClr>
                          </a:solidFill>
                        </a:rPr>
                        <a:t> Practice Director</a:t>
                      </a:r>
                      <a:endParaRPr lang="en-US" sz="1000" b="0">
                        <a:solidFill>
                          <a:schemeClr val="accent3"/>
                        </a:solidFill>
                      </a:endParaRP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877529"/>
                  </a:ext>
                </a:extLst>
              </a:tr>
              <a:tr h="0">
                <a:tc>
                  <a:txBody>
                    <a:bodyPr/>
                    <a:lstStyle/>
                    <a:p>
                      <a:pPr algn="l"/>
                      <a:r>
                        <a:rPr lang="en-US" sz="1000" b="1">
                          <a:solidFill>
                            <a:schemeClr val="bg1">
                              <a:lumMod val="50000"/>
                            </a:schemeClr>
                          </a:solidFill>
                        </a:rPr>
                        <a:t>Anwesha Chakraborty,</a:t>
                      </a:r>
                      <a:r>
                        <a:rPr lang="en-US" sz="1000" b="0">
                          <a:solidFill>
                            <a:schemeClr val="bg1">
                              <a:lumMod val="50000"/>
                            </a:schemeClr>
                          </a:solidFill>
                        </a:rPr>
                        <a:t> Senior Analyst</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67409778"/>
                  </a:ext>
                </a:extLst>
              </a:tr>
              <a:tr h="0">
                <a:tc>
                  <a:txBody>
                    <a:bodyPr/>
                    <a:lstStyle/>
                    <a:p>
                      <a:pPr algn="l"/>
                      <a:r>
                        <a:rPr lang="en-US" sz="1000" b="1" dirty="0" err="1">
                          <a:solidFill>
                            <a:schemeClr val="bg1">
                              <a:lumMod val="50000"/>
                            </a:schemeClr>
                          </a:solidFill>
                        </a:rPr>
                        <a:t>Rachita</a:t>
                      </a:r>
                      <a:r>
                        <a:rPr lang="en-US" sz="1000" b="1" dirty="0">
                          <a:solidFill>
                            <a:schemeClr val="bg1">
                              <a:lumMod val="50000"/>
                            </a:schemeClr>
                          </a:solidFill>
                        </a:rPr>
                        <a:t> </a:t>
                      </a:r>
                      <a:r>
                        <a:rPr lang="en-US" sz="1000" b="1" dirty="0" err="1">
                          <a:solidFill>
                            <a:schemeClr val="bg1">
                              <a:lumMod val="50000"/>
                            </a:schemeClr>
                          </a:solidFill>
                        </a:rPr>
                        <a:t>Mehrishi</a:t>
                      </a:r>
                      <a:r>
                        <a:rPr lang="en-US" sz="1000" b="1" dirty="0">
                          <a:solidFill>
                            <a:schemeClr val="bg1">
                              <a:lumMod val="50000"/>
                            </a:schemeClr>
                          </a:solidFill>
                        </a:rPr>
                        <a:t>,</a:t>
                      </a:r>
                      <a:r>
                        <a:rPr lang="en-US" sz="1000" b="0" dirty="0">
                          <a:solidFill>
                            <a:schemeClr val="bg1">
                              <a:lumMod val="50000"/>
                            </a:schemeClr>
                          </a:solidFill>
                        </a:rPr>
                        <a:t> Senior Analyst</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69101190"/>
                  </a:ext>
                </a:extLst>
              </a:tr>
            </a:tbl>
          </a:graphicData>
        </a:graphic>
      </p:graphicFrame>
      <p:sp>
        <p:nvSpPr>
          <p:cNvPr id="10" name="Rectangle 9">
            <a:hlinkClick r:id="rId4"/>
            <a:extLst>
              <a:ext uri="{FF2B5EF4-FFF2-40B4-BE49-F238E27FC236}">
                <a16:creationId xmlns:a16="http://schemas.microsoft.com/office/drawing/2014/main" id="{CB56F86C-7546-3647-8983-E3C52997C2BD}"/>
              </a:ext>
            </a:extLst>
          </p:cNvPr>
          <p:cNvSpPr/>
          <p:nvPr/>
        </p:nvSpPr>
        <p:spPr bwMode="auto">
          <a:xfrm>
            <a:off x="289249" y="5533830"/>
            <a:ext cx="1929748" cy="177281"/>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mn-lt"/>
            </a:endParaRPr>
          </a:p>
        </p:txBody>
      </p:sp>
      <p:sp>
        <p:nvSpPr>
          <p:cNvPr id="11" name="Rectangle 10">
            <a:hlinkClick r:id="rId5"/>
            <a:extLst>
              <a:ext uri="{FF2B5EF4-FFF2-40B4-BE49-F238E27FC236}">
                <a16:creationId xmlns:a16="http://schemas.microsoft.com/office/drawing/2014/main" id="{AF2D344D-6413-8B4E-8D93-C2C6E49F8C69}"/>
              </a:ext>
            </a:extLst>
          </p:cNvPr>
          <p:cNvSpPr/>
          <p:nvPr/>
        </p:nvSpPr>
        <p:spPr bwMode="auto">
          <a:xfrm>
            <a:off x="289249" y="5290846"/>
            <a:ext cx="2280530" cy="177281"/>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mn-lt"/>
            </a:endParaRPr>
          </a:p>
        </p:txBody>
      </p:sp>
      <p:sp>
        <p:nvSpPr>
          <p:cNvPr id="12" name="Rectangle 11">
            <a:hlinkClick r:id="rId6"/>
            <a:extLst>
              <a:ext uri="{FF2B5EF4-FFF2-40B4-BE49-F238E27FC236}">
                <a16:creationId xmlns:a16="http://schemas.microsoft.com/office/drawing/2014/main" id="{D1507455-E6AF-D84C-9EA3-6E0B0C18A34E}"/>
              </a:ext>
            </a:extLst>
          </p:cNvPr>
          <p:cNvSpPr/>
          <p:nvPr/>
        </p:nvSpPr>
        <p:spPr bwMode="auto">
          <a:xfrm>
            <a:off x="289248" y="5047862"/>
            <a:ext cx="1929747" cy="177281"/>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mn-l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33">
            <a:extLst>
              <a:ext uri="{FF2B5EF4-FFF2-40B4-BE49-F238E27FC236}">
                <a16:creationId xmlns:a16="http://schemas.microsoft.com/office/drawing/2014/main" id="{74E4DF70-18F3-4F9A-ACEB-8EBEE8481C61}"/>
              </a:ext>
            </a:extLst>
          </p:cNvPr>
          <p:cNvGraphicFramePr>
            <a:graphicFrameLocks noGrp="1"/>
          </p:cNvGraphicFramePr>
          <p:nvPr/>
        </p:nvGraphicFramePr>
        <p:xfrm>
          <a:off x="4037107" y="1161226"/>
          <a:ext cx="7348724" cy="2578210"/>
        </p:xfrm>
        <a:graphic>
          <a:graphicData uri="http://schemas.openxmlformats.org/drawingml/2006/table">
            <a:tbl>
              <a:tblPr>
                <a:tableStyleId>{5C22544A-7EE6-4342-B048-85BDC9FD1C3A}</a:tableStyleId>
              </a:tblPr>
              <a:tblGrid>
                <a:gridCol w="305594">
                  <a:extLst>
                    <a:ext uri="{9D8B030D-6E8A-4147-A177-3AD203B41FA5}">
                      <a16:colId xmlns:a16="http://schemas.microsoft.com/office/drawing/2014/main" val="137393273"/>
                    </a:ext>
                  </a:extLst>
                </a:gridCol>
                <a:gridCol w="6624914">
                  <a:extLst>
                    <a:ext uri="{9D8B030D-6E8A-4147-A177-3AD203B41FA5}">
                      <a16:colId xmlns:a16="http://schemas.microsoft.com/office/drawing/2014/main" val="1697316569"/>
                    </a:ext>
                  </a:extLst>
                </a:gridCol>
                <a:gridCol w="418216">
                  <a:extLst>
                    <a:ext uri="{9D8B030D-6E8A-4147-A177-3AD203B41FA5}">
                      <a16:colId xmlns:a16="http://schemas.microsoft.com/office/drawing/2014/main" val="2481023271"/>
                    </a:ext>
                  </a:extLst>
                </a:gridCol>
              </a:tblGrid>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dirty="0">
                          <a:solidFill>
                            <a:schemeClr val="tx1"/>
                          </a:solidFill>
                          <a:latin typeface="+mn-lt"/>
                          <a:ea typeface="+mn-ea"/>
                          <a:cs typeface="+mn-cs"/>
                        </a:rPr>
                        <a:t>6.</a:t>
                      </a:r>
                      <a:endParaRPr lang="en-IN" sz="1000" b="1" kern="0" dirty="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dirty="0">
                          <a:solidFill>
                            <a:schemeClr val="tx1"/>
                          </a:solidFill>
                        </a:rPr>
                        <a:t>Solution provider landscape</a:t>
                      </a:r>
                    </a:p>
                  </a:txBody>
                  <a:tcPr marL="0" marT="0" marB="0" anchor="ctr">
                    <a:lnL w="12700" cmpd="sng">
                      <a:noFill/>
                    </a:lnL>
                    <a:lnR w="6350" cap="flat" cmpd="sng" algn="ctr">
                      <a:noFill/>
                      <a:prstDash val="lgDash"/>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kern="0" dirty="0">
                          <a:solidFill>
                            <a:schemeClr val="tx1"/>
                          </a:solidFill>
                          <a:latin typeface="+mn-lt"/>
                          <a:ea typeface="+mn-ea"/>
                          <a:cs typeface="+mn-cs"/>
                        </a:rPr>
                        <a:t>33</a:t>
                      </a:r>
                      <a:endParaRPr lang="en-IN" sz="1000" b="1" kern="0" dirty="0">
                        <a:solidFill>
                          <a:schemeClr val="tx1"/>
                        </a:solidFill>
                        <a:latin typeface="+mn-lt"/>
                        <a:ea typeface="+mn-ea"/>
                        <a:cs typeface="+mn-cs"/>
                      </a:endParaRPr>
                    </a:p>
                  </a:txBody>
                  <a:tcPr marT="0" marB="0" anchor="ctr">
                    <a:lnL w="6350" cap="flat" cmpd="sng" algn="ctr">
                      <a:noFill/>
                      <a:prstDash val="lgDash"/>
                      <a:round/>
                      <a:headEnd type="none" w="med" len="med"/>
                      <a:tailEnd type="none" w="med" len="med"/>
                    </a:lnL>
                    <a:lnT w="1270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80351584"/>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b="0" kern="0" dirty="0">
                          <a:solidFill>
                            <a:schemeClr val="tx1"/>
                          </a:solidFill>
                          <a:latin typeface="+mn-lt"/>
                          <a:ea typeface="+mn-ea"/>
                          <a:cs typeface="+mn-cs"/>
                        </a:rPr>
                        <a:t>R&amp;R service provider PEAK Matrix</a:t>
                      </a:r>
                      <a:r>
                        <a:rPr lang="en-US" sz="1000" b="0" kern="0" baseline="30000" dirty="0">
                          <a:solidFill>
                            <a:schemeClr val="tx1"/>
                          </a:solidFill>
                          <a:latin typeface="+mn-lt"/>
                          <a:ea typeface="+mn-ea"/>
                          <a:cs typeface="+mn-cs"/>
                        </a:rPr>
                        <a:t>®</a:t>
                      </a:r>
                    </a:p>
                  </a:txBody>
                  <a:tcPr marL="0" marR="0" marT="36576" marB="36576">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lnSpc>
                          <a:spcPct val="100000"/>
                        </a:lnSpc>
                      </a:pPr>
                      <a:r>
                        <a:rPr lang="en-US" sz="1000" kern="0" dirty="0">
                          <a:solidFill>
                            <a:schemeClr val="tx1"/>
                          </a:solidFill>
                          <a:latin typeface="+mn-lt"/>
                          <a:ea typeface="+mn-ea"/>
                          <a:cs typeface="+mn-cs"/>
                        </a:rPr>
                        <a:t>34</a:t>
                      </a:r>
                      <a:endParaRPr lang="en-IN" sz="1000" kern="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4788234"/>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915373" rtl="0" eaLnBrk="1" fontAlgn="ctr" latinLnBrk="0" hangingPunct="1">
                        <a:lnSpc>
                          <a:spcPct val="100000"/>
                        </a:lnSpc>
                        <a:buClr>
                          <a:schemeClr val="accent2"/>
                        </a:buClr>
                        <a:buSzPct val="70000"/>
                        <a:buFont typeface="Wingdings" panose="05000000000000000000" pitchFamily="2" charset="2"/>
                        <a:buChar char="l"/>
                      </a:pPr>
                      <a:r>
                        <a:rPr lang="en-US" sz="1000" b="0" kern="0" dirty="0">
                          <a:solidFill>
                            <a:schemeClr val="tx1"/>
                          </a:solidFill>
                          <a:latin typeface="+mn-lt"/>
                          <a:ea typeface="+mn-ea"/>
                          <a:cs typeface="+mn-cs"/>
                        </a:rPr>
                        <a:t>Market share by R&amp;R revenue</a:t>
                      </a:r>
                    </a:p>
                  </a:txBody>
                  <a:tcPr marL="0" marR="7620" marT="762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lnSpc>
                          <a:spcPct val="100000"/>
                        </a:lnSpc>
                      </a:pPr>
                      <a:r>
                        <a:rPr lang="en-US" sz="1000" kern="0" dirty="0">
                          <a:solidFill>
                            <a:schemeClr val="tx1"/>
                          </a:solidFill>
                          <a:latin typeface="+mn-lt"/>
                          <a:ea typeface="+mn-ea"/>
                          <a:cs typeface="+mn-cs"/>
                        </a:rPr>
                        <a:t>35</a:t>
                      </a:r>
                      <a:endParaRPr lang="en-IN" sz="1000" kern="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4003660"/>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915373" rtl="0" eaLnBrk="1" fontAlgn="ctr" latinLnBrk="0" hangingPunct="1">
                        <a:lnSpc>
                          <a:spcPct val="100000"/>
                        </a:lnSpc>
                        <a:buClr>
                          <a:schemeClr val="accent2"/>
                        </a:buClr>
                        <a:buSzPct val="70000"/>
                        <a:buFont typeface="Wingdings" panose="05000000000000000000" pitchFamily="2" charset="2"/>
                        <a:buChar char="l"/>
                      </a:pPr>
                      <a:r>
                        <a:rPr lang="en-US" sz="1000" b="0" kern="0" dirty="0">
                          <a:solidFill>
                            <a:schemeClr val="tx1"/>
                          </a:solidFill>
                          <a:latin typeface="+mn-lt"/>
                          <a:ea typeface="+mn-ea"/>
                          <a:cs typeface="+mn-cs"/>
                        </a:rPr>
                        <a:t>Market share by number of employees managed</a:t>
                      </a:r>
                    </a:p>
                  </a:txBody>
                  <a:tcPr marL="0" marR="7620" marT="762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36</a:t>
                      </a:r>
                      <a:endParaRPr lang="en-IN" sz="1000" kern="0" noProof="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2964171"/>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defTabSz="915373" rtl="0" eaLnBrk="1" fontAlgn="ctr" latinLnBrk="0" hangingPunct="1">
                        <a:lnSpc>
                          <a:spcPct val="100000"/>
                        </a:lnSpc>
                        <a:buClr>
                          <a:schemeClr val="accent2"/>
                        </a:buClr>
                        <a:buSzPct val="70000"/>
                        <a:buFont typeface="Wingdings" panose="05000000000000000000" pitchFamily="2" charset="2"/>
                        <a:buChar char="l"/>
                      </a:pPr>
                      <a:r>
                        <a:rPr lang="en-US" sz="1000" b="0" kern="0" dirty="0">
                          <a:solidFill>
                            <a:schemeClr val="tx1"/>
                          </a:solidFill>
                          <a:latin typeface="+mn-lt"/>
                          <a:ea typeface="+mn-ea"/>
                          <a:cs typeface="+mn-cs"/>
                        </a:rPr>
                        <a:t>Market share by geography</a:t>
                      </a:r>
                    </a:p>
                  </a:txBody>
                  <a:tcPr marL="0" marR="7620" marT="762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37</a:t>
                      </a:r>
                      <a:endParaRPr lang="en-IN" sz="1000" kern="0" noProof="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57107512"/>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b="0" kern="0" dirty="0">
                          <a:solidFill>
                            <a:schemeClr val="tx1"/>
                          </a:solidFill>
                          <a:latin typeface="+mn-lt"/>
                          <a:ea typeface="+mn-ea"/>
                          <a:cs typeface="+mn-cs"/>
                        </a:rPr>
                        <a:t>Leaders vs. Others comparison</a:t>
                      </a:r>
                    </a:p>
                  </a:txBody>
                  <a:tcPr marL="0" marR="0" marT="36576" marB="36576">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3</a:t>
                      </a:r>
                      <a:r>
                        <a:rPr lang="en-IN" sz="1000" kern="0" noProof="0" dirty="0">
                          <a:solidFill>
                            <a:schemeClr val="tx1"/>
                          </a:solidFill>
                          <a:latin typeface="+mn-lt"/>
                          <a:ea typeface="+mn-ea"/>
                          <a:cs typeface="+mn-cs"/>
                        </a:rPr>
                        <a:t>8</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1827701"/>
                  </a:ext>
                </a:extLst>
              </a:tr>
              <a:tr h="257821">
                <a:tc>
                  <a:txBody>
                    <a:bodyPr/>
                    <a:lstStyle/>
                    <a:p>
                      <a:pPr>
                        <a:lnSpc>
                          <a:spcPct val="100000"/>
                        </a:lnSpc>
                      </a:pPr>
                      <a:r>
                        <a:rPr lang="en-US" sz="1000" b="1" kern="0">
                          <a:solidFill>
                            <a:schemeClr val="tx1"/>
                          </a:solidFill>
                          <a:latin typeface="+mn-lt"/>
                          <a:ea typeface="+mn-ea"/>
                          <a:cs typeface="+mn-cs"/>
                        </a:rPr>
                        <a:t>7.</a:t>
                      </a: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000" b="1" kern="0">
                          <a:solidFill>
                            <a:schemeClr val="tx1"/>
                          </a:solidFill>
                        </a:rPr>
                        <a:t>Outlook for 2021-22</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b="1" kern="0" noProof="0" dirty="0">
                          <a:solidFill>
                            <a:schemeClr val="tx1"/>
                          </a:solidFill>
                          <a:latin typeface="+mn-lt"/>
                          <a:ea typeface="+mn-ea"/>
                          <a:cs typeface="+mn-cs"/>
                        </a:rPr>
                        <a:t>4</a:t>
                      </a:r>
                      <a:r>
                        <a:rPr lang="en-IN" sz="1000" b="1" kern="0" noProof="0" dirty="0">
                          <a:solidFill>
                            <a:schemeClr val="tx1"/>
                          </a:solidFill>
                          <a:latin typeface="+mn-lt"/>
                          <a:ea typeface="+mn-ea"/>
                          <a:cs typeface="+mn-cs"/>
                        </a:rPr>
                        <a:t>2</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2702839"/>
                  </a:ext>
                </a:extLst>
              </a:tr>
              <a:tr h="257821">
                <a:tc>
                  <a:txBody>
                    <a:bodyPr/>
                    <a:lstStyle/>
                    <a:p>
                      <a:pPr>
                        <a:lnSpc>
                          <a:spcPct val="100000"/>
                        </a:lnSpc>
                      </a:pPr>
                      <a:r>
                        <a:rPr lang="en-US" sz="1000" b="1" kern="0">
                          <a:solidFill>
                            <a:schemeClr val="tx1"/>
                          </a:solidFill>
                          <a:latin typeface="+mn-lt"/>
                          <a:ea typeface="+mn-ea"/>
                          <a:cs typeface="+mn-cs"/>
                        </a:rPr>
                        <a:t>8.</a:t>
                      </a: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000" b="1" kern="0">
                          <a:solidFill>
                            <a:schemeClr val="tx1"/>
                          </a:solidFill>
                        </a:rPr>
                        <a:t>Appendix</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b="1" kern="0" noProof="0" dirty="0">
                          <a:solidFill>
                            <a:schemeClr val="tx1"/>
                          </a:solidFill>
                          <a:latin typeface="+mn-lt"/>
                          <a:ea typeface="+mn-ea"/>
                          <a:cs typeface="+mn-cs"/>
                        </a:rPr>
                        <a:t>4</a:t>
                      </a:r>
                      <a:r>
                        <a:rPr lang="en-IN" sz="1000" b="1" kern="0" noProof="0" dirty="0">
                          <a:solidFill>
                            <a:schemeClr val="tx1"/>
                          </a:solidFill>
                          <a:latin typeface="+mn-lt"/>
                          <a:ea typeface="+mn-ea"/>
                          <a:cs typeface="+mn-cs"/>
                        </a:rPr>
                        <a:t>4</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28052178"/>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nSpc>
                          <a:spcPct val="100000"/>
                        </a:lnSpc>
                        <a:buClr>
                          <a:schemeClr val="accent2"/>
                        </a:buClr>
                        <a:buSzPct val="70000"/>
                        <a:buFont typeface="Wingdings" panose="05000000000000000000" pitchFamily="2" charset="2"/>
                        <a:buChar char="l"/>
                      </a:pPr>
                      <a:r>
                        <a:rPr lang="en-US" sz="1000" kern="0">
                          <a:solidFill>
                            <a:schemeClr val="tx1"/>
                          </a:solidFill>
                        </a:rPr>
                        <a:t>Glossary</a:t>
                      </a:r>
                      <a:endParaRPr lang="en-IN" sz="1000">
                        <a:solidFill>
                          <a:schemeClr val="tx1"/>
                        </a:solidFill>
                      </a:endParaRP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45</a:t>
                      </a:r>
                      <a:endParaRPr lang="en-IN" sz="1000" kern="0" noProof="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2732313"/>
                  </a:ext>
                </a:extLst>
              </a:tr>
              <a:tr h="257821">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nSpc>
                          <a:spcPct val="100000"/>
                        </a:lnSpc>
                        <a:buClr>
                          <a:schemeClr val="accent2"/>
                        </a:buClr>
                        <a:buSzPct val="70000"/>
                        <a:buFont typeface="Wingdings" panose="05000000000000000000" pitchFamily="2" charset="2"/>
                        <a:buChar char="l"/>
                      </a:pPr>
                      <a:r>
                        <a:rPr lang="en-US" sz="1000" kern="0">
                          <a:solidFill>
                            <a:schemeClr val="tx1"/>
                          </a:solidFill>
                        </a:rPr>
                        <a:t>Research calendar</a:t>
                      </a:r>
                      <a:endParaRPr lang="en-IN" sz="1000">
                        <a:solidFill>
                          <a:schemeClr val="tx1"/>
                        </a:solidFill>
                      </a:endParaRP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46</a:t>
                      </a:r>
                      <a:endParaRPr lang="en-IN" sz="1000" kern="0" noProof="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9020466"/>
                  </a:ext>
                </a:extLst>
              </a:tr>
            </a:tbl>
          </a:graphicData>
        </a:graphic>
      </p:graphicFrame>
    </p:spTree>
    <p:extLst>
      <p:ext uri="{BB962C8B-B14F-4D97-AF65-F5344CB8AC3E}">
        <p14:creationId xmlns:p14="http://schemas.microsoft.com/office/powerpoint/2010/main" val="3419752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3">
            <a:extLst>
              <a:ext uri="{FF2B5EF4-FFF2-40B4-BE49-F238E27FC236}">
                <a16:creationId xmlns:a16="http://schemas.microsoft.com/office/drawing/2014/main" id="{6934EDE1-02E7-47A4-9D0E-324355670B9E}"/>
              </a:ext>
            </a:extLst>
          </p:cNvPr>
          <p:cNvSpPr>
            <a:spLocks noGrp="1"/>
          </p:cNvSpPr>
          <p:nvPr>
            <p:ph type="title"/>
          </p:nvPr>
        </p:nvSpPr>
        <p:spPr>
          <a:xfrm>
            <a:off x="307975" y="622777"/>
            <a:ext cx="11594592" cy="276999"/>
          </a:xfrm>
        </p:spPr>
        <p:txBody>
          <a:bodyPr/>
          <a:lstStyle/>
          <a:p>
            <a:r>
              <a:rPr lang="en-US"/>
              <a:t>Background and scope of the research</a:t>
            </a:r>
            <a:endParaRPr lang="en-US" b="0">
              <a:latin typeface="+mn-lt"/>
            </a:endParaRPr>
          </a:p>
        </p:txBody>
      </p:sp>
      <p:sp>
        <p:nvSpPr>
          <p:cNvPr id="36" name="Text Box 4">
            <a:extLst>
              <a:ext uri="{FF2B5EF4-FFF2-40B4-BE49-F238E27FC236}">
                <a16:creationId xmlns:a16="http://schemas.microsoft.com/office/drawing/2014/main" id="{4FB95BBA-1D53-9941-B639-07F2BC728A3B}"/>
              </a:ext>
            </a:extLst>
          </p:cNvPr>
          <p:cNvSpPr txBox="1">
            <a:spLocks noChangeArrowheads="1"/>
          </p:cNvSpPr>
          <p:nvPr/>
        </p:nvSpPr>
        <p:spPr bwMode="gray">
          <a:xfrm>
            <a:off x="304802" y="1649074"/>
            <a:ext cx="11601450" cy="3249672"/>
          </a:xfrm>
          <a:prstGeom prst="rect">
            <a:avLst/>
          </a:prstGeom>
          <a:noFill/>
          <a:ln w="9525">
            <a:noFill/>
            <a:miter lim="800000"/>
            <a:headEnd/>
            <a:tailEnd/>
          </a:ln>
        </p:spPr>
        <p:txBody>
          <a:bodyPr wrap="square" lIns="0" tIns="0" rIns="0" bIns="0" numCol="1" spcCol="0">
            <a:spAutoFit/>
          </a:bodyPr>
          <a:lstStyle/>
          <a:p>
            <a:pPr lvl="0">
              <a:lnSpc>
                <a:spcPct val="117000"/>
              </a:lnSpc>
              <a:spcBef>
                <a:spcPts val="0"/>
              </a:spcBef>
              <a:spcAft>
                <a:spcPts val="0"/>
              </a:spcAft>
            </a:pPr>
            <a:r>
              <a:rPr lang="en-US" sz="1000" b="1" dirty="0">
                <a:latin typeface="Arial "/>
                <a:cs typeface="Arial" panose="020B0604020202020204" pitchFamily="34" charset="0"/>
              </a:rPr>
              <a:t>Background of the research</a:t>
            </a:r>
          </a:p>
          <a:p>
            <a:pPr lvl="0">
              <a:lnSpc>
                <a:spcPct val="117000"/>
              </a:lnSpc>
              <a:spcBef>
                <a:spcPts val="0"/>
              </a:spcBef>
              <a:spcAft>
                <a:spcPts val="600"/>
              </a:spcAft>
            </a:pPr>
            <a:r>
              <a:rPr lang="en-US" sz="1000" dirty="0">
                <a:solidFill>
                  <a:srgbClr val="3F3F3F"/>
                </a:solidFill>
                <a:latin typeface="Arial "/>
                <a:cs typeface="Arial" panose="020B0604020202020204" pitchFamily="34" charset="0"/>
              </a:rPr>
              <a:t>The year 2020 was eventful for the employee experience market, especially the R&amp;R industry, as the global pandemic further emphasized the importance of such solutions. While enterprises took measures </a:t>
            </a:r>
            <a:br>
              <a:rPr lang="en-US" sz="1000" dirty="0">
                <a:solidFill>
                  <a:srgbClr val="3F3F3F"/>
                </a:solidFill>
                <a:latin typeface="Arial "/>
                <a:cs typeface="Arial" panose="020B0604020202020204" pitchFamily="34" charset="0"/>
              </a:rPr>
            </a:br>
            <a:r>
              <a:rPr lang="en-US" sz="1000" dirty="0">
                <a:solidFill>
                  <a:srgbClr val="3F3F3F"/>
                </a:solidFill>
                <a:latin typeface="Arial "/>
                <a:cs typeface="Arial" panose="020B0604020202020204" pitchFamily="34" charset="0"/>
              </a:rPr>
              <a:t>to save on </a:t>
            </a:r>
            <a:r>
              <a:rPr lang="en-US" sz="1000" dirty="0">
                <a:latin typeface="Arial "/>
                <a:cs typeface="Arial" panose="020B0604020202020204" pitchFamily="34" charset="0"/>
              </a:rPr>
              <a:t>their </a:t>
            </a:r>
            <a:r>
              <a:rPr lang="en-US" sz="1000" dirty="0">
                <a:solidFill>
                  <a:srgbClr val="3F3F3F"/>
                </a:solidFill>
                <a:latin typeface="Arial "/>
                <a:cs typeface="Arial" panose="020B0604020202020204" pitchFamily="34" charset="0"/>
              </a:rPr>
              <a:t>rewards budget and decision-making was slowed down </a:t>
            </a:r>
            <a:r>
              <a:rPr lang="en-US" sz="1000" dirty="0">
                <a:latin typeface="Arial "/>
                <a:cs typeface="Arial" panose="020B0604020202020204" pitchFamily="34" charset="0"/>
              </a:rPr>
              <a:t>as </a:t>
            </a:r>
            <a:r>
              <a:rPr lang="en-US" sz="1000" dirty="0">
                <a:solidFill>
                  <a:srgbClr val="3F3F3F"/>
                </a:solidFill>
                <a:latin typeface="Arial "/>
                <a:cs typeface="Arial" panose="020B0604020202020204" pitchFamily="34" charset="0"/>
              </a:rPr>
              <a:t>senior stakeholders wanted to ensure reaping</a:t>
            </a:r>
            <a:r>
              <a:rPr lang="en-US" sz="1000" dirty="0">
                <a:solidFill>
                  <a:srgbClr val="FF0000"/>
                </a:solidFill>
                <a:latin typeface="Arial "/>
                <a:cs typeface="Arial" panose="020B0604020202020204" pitchFamily="34" charset="0"/>
              </a:rPr>
              <a:t> </a:t>
            </a:r>
            <a:r>
              <a:rPr lang="en-US" sz="1000" dirty="0">
                <a:latin typeface="Arial "/>
                <a:cs typeface="Arial" panose="020B0604020202020204" pitchFamily="34" charset="0"/>
              </a:rPr>
              <a:t>the</a:t>
            </a:r>
            <a:r>
              <a:rPr lang="en-US" sz="1000" dirty="0">
                <a:solidFill>
                  <a:srgbClr val="3F3F3F"/>
                </a:solidFill>
                <a:latin typeface="Arial "/>
                <a:cs typeface="Arial" panose="020B0604020202020204" pitchFamily="34" charset="0"/>
              </a:rPr>
              <a:t> maximum benefits from these investments, the inclusion of technology-driven recognition platforms was identified as one of the key solutions to solving issues pertaining to employee productivity, motivation, and engagement. Other employee experience solutions such as employee wellness, engagement analytics, and learning &amp; development tools also witnessed an uptick in 2020.</a:t>
            </a:r>
          </a:p>
          <a:p>
            <a:pPr lvl="0">
              <a:lnSpc>
                <a:spcPct val="117000"/>
              </a:lnSpc>
              <a:spcBef>
                <a:spcPts val="0"/>
              </a:spcBef>
              <a:spcAft>
                <a:spcPts val="600"/>
              </a:spcAft>
            </a:pPr>
            <a:r>
              <a:rPr lang="en-US" sz="1000" dirty="0">
                <a:solidFill>
                  <a:srgbClr val="3F3F3F"/>
                </a:solidFill>
                <a:latin typeface="Arial "/>
                <a:cs typeface="Arial" panose="020B0604020202020204" pitchFamily="34" charset="0"/>
              </a:rPr>
              <a:t>Overall, the R&amp;R market saw a growth of 9-11% in 2020. Demand for solutions a</a:t>
            </a:r>
            <a:r>
              <a:rPr lang="en-US" sz="1000" dirty="0">
                <a:latin typeface="Arial "/>
              </a:rPr>
              <a:t>ligning with core/company values, increased focus on employee engagement and collaboration, and employee value proposition by buyers were some of the key drivers for adopting R&amp;R solutions. The </a:t>
            </a:r>
            <a:r>
              <a:rPr lang="en-US" sz="1000" dirty="0">
                <a:latin typeface="Arial "/>
                <a:cs typeface="Arial" panose="020B0604020202020204" pitchFamily="34" charset="0"/>
              </a:rPr>
              <a:t>demand for R&amp;R solutions remained strong in the market of North America, while the markets of Latin America (LATAM) and the UK exhibited robust growth. Some of the key means that providers are using to differentiate themselves are – offering expanded feature sets including Diversity, Equity, and Inclusion (DE&amp;I)-focused capabilities, providing interactive and personalized UI/UX, enhancing integration capabilities, and investing in innovative technologies leveraging automation and analytics. </a:t>
            </a:r>
            <a:endParaRPr lang="en-US" sz="1000" dirty="0">
              <a:solidFill>
                <a:srgbClr val="3F3F3F"/>
              </a:solidFill>
              <a:latin typeface="Arial "/>
              <a:cs typeface="Arial" panose="020B0604020202020204" pitchFamily="34" charset="0"/>
            </a:endParaRPr>
          </a:p>
          <a:p>
            <a:pPr marL="0" indent="0">
              <a:lnSpc>
                <a:spcPct val="117000"/>
              </a:lnSpc>
              <a:spcBef>
                <a:spcPts val="0"/>
              </a:spcBef>
              <a:spcAft>
                <a:spcPts val="300"/>
              </a:spcAft>
              <a:buClr>
                <a:srgbClr val="005A8C"/>
              </a:buClr>
              <a:buNone/>
              <a:defRPr/>
            </a:pPr>
            <a:r>
              <a:rPr lang="en-US" sz="1000" dirty="0">
                <a:solidFill>
                  <a:srgbClr val="3F3F3F"/>
                </a:solidFill>
                <a:latin typeface="Arial "/>
                <a:cs typeface="Arial" panose="020B0604020202020204" pitchFamily="34" charset="0"/>
              </a:rPr>
              <a:t>In this research, we present key trends in the R&amp;R market. The report components include analysis of the following: </a:t>
            </a:r>
          </a:p>
          <a:p>
            <a:pPr marL="118872" lvl="1" indent="-118872">
              <a:lnSpc>
                <a:spcPct val="117000"/>
              </a:lnSpc>
              <a:spcBef>
                <a:spcPts val="0"/>
              </a:spcBef>
              <a:spcAft>
                <a:spcPts val="300"/>
              </a:spcAft>
              <a:buClr>
                <a:srgbClr val="005A8C"/>
              </a:buClr>
              <a:buSzPct val="70000"/>
              <a:buFont typeface="Wingdings" panose="05000000000000000000" pitchFamily="2" charset="2"/>
              <a:buChar char=""/>
              <a:defRPr/>
            </a:pPr>
            <a:r>
              <a:rPr lang="en-US" sz="1000" kern="0" dirty="0">
                <a:latin typeface="Arial "/>
                <a:cs typeface="Arial" panose="020B0604020202020204" pitchFamily="34" charset="0"/>
              </a:rPr>
              <a:t>COVID-19 and its implications</a:t>
            </a:r>
          </a:p>
          <a:p>
            <a:pPr marL="118872" lvl="1" indent="-118872">
              <a:lnSpc>
                <a:spcPct val="117000"/>
              </a:lnSpc>
              <a:spcBef>
                <a:spcPts val="0"/>
              </a:spcBef>
              <a:spcAft>
                <a:spcPts val="300"/>
              </a:spcAft>
              <a:buClr>
                <a:srgbClr val="005A8C"/>
              </a:buClr>
              <a:buSzPct val="70000"/>
              <a:buFont typeface="Wingdings" panose="05000000000000000000" pitchFamily="2" charset="2"/>
              <a:buChar char=""/>
              <a:defRPr/>
            </a:pPr>
            <a:r>
              <a:rPr lang="en-US" sz="1000" kern="0" dirty="0">
                <a:latin typeface="Arial "/>
                <a:cs typeface="Arial" panose="020B0604020202020204" pitchFamily="34" charset="0"/>
              </a:rPr>
              <a:t>Market size and growth</a:t>
            </a:r>
          </a:p>
          <a:p>
            <a:pPr marL="118872" lvl="1" indent="-118872">
              <a:lnSpc>
                <a:spcPct val="117000"/>
              </a:lnSpc>
              <a:spcBef>
                <a:spcPts val="0"/>
              </a:spcBef>
              <a:spcAft>
                <a:spcPts val="300"/>
              </a:spcAft>
              <a:buClr>
                <a:srgbClr val="005A8C"/>
              </a:buClr>
              <a:buSzPct val="70000"/>
              <a:buFont typeface="Wingdings" panose="05000000000000000000" pitchFamily="2" charset="2"/>
              <a:buChar char=""/>
              <a:defRPr/>
            </a:pPr>
            <a:r>
              <a:rPr lang="en-US" sz="1000" kern="0" dirty="0">
                <a:latin typeface="Arial "/>
                <a:cs typeface="Arial" panose="020B0604020202020204" pitchFamily="34" charset="0"/>
              </a:rPr>
              <a:t>Buyer adoption trends</a:t>
            </a:r>
          </a:p>
          <a:p>
            <a:pPr marL="118872" lvl="1" indent="-118872">
              <a:lnSpc>
                <a:spcPct val="117000"/>
              </a:lnSpc>
              <a:spcBef>
                <a:spcPts val="0"/>
              </a:spcBef>
              <a:spcAft>
                <a:spcPts val="300"/>
              </a:spcAft>
              <a:buClr>
                <a:srgbClr val="005A8C"/>
              </a:buClr>
              <a:buSzPct val="70000"/>
              <a:buFont typeface="Wingdings" panose="05000000000000000000" pitchFamily="2" charset="2"/>
              <a:buChar char=""/>
              <a:defRPr/>
            </a:pPr>
            <a:r>
              <a:rPr lang="en-US" sz="1000" kern="0" dirty="0">
                <a:latin typeface="Arial "/>
                <a:cs typeface="Arial" panose="020B0604020202020204" pitchFamily="34" charset="0"/>
              </a:rPr>
              <a:t>R&amp;R solution characteristics</a:t>
            </a:r>
          </a:p>
          <a:p>
            <a:pPr marL="118872" lvl="1" indent="-118872">
              <a:lnSpc>
                <a:spcPct val="117000"/>
              </a:lnSpc>
              <a:spcBef>
                <a:spcPts val="0"/>
              </a:spcBef>
              <a:spcAft>
                <a:spcPts val="300"/>
              </a:spcAft>
              <a:buClr>
                <a:srgbClr val="005A8C"/>
              </a:buClr>
              <a:buSzPct val="70000"/>
              <a:buFont typeface="Wingdings" panose="05000000000000000000" pitchFamily="2" charset="2"/>
              <a:buChar char=""/>
              <a:defRPr/>
            </a:pPr>
            <a:r>
              <a:rPr lang="en-US" sz="1000" kern="0" dirty="0">
                <a:latin typeface="Arial "/>
                <a:cs typeface="Arial" panose="020B0604020202020204" pitchFamily="34" charset="0"/>
              </a:rPr>
              <a:t>Solution provider landscape</a:t>
            </a:r>
          </a:p>
          <a:p>
            <a:pPr marL="118872" lvl="1" indent="-118872">
              <a:lnSpc>
                <a:spcPct val="117000"/>
              </a:lnSpc>
              <a:spcBef>
                <a:spcPts val="0"/>
              </a:spcBef>
              <a:spcAft>
                <a:spcPts val="0"/>
              </a:spcAft>
              <a:buClr>
                <a:srgbClr val="005A8C"/>
              </a:buClr>
              <a:buSzPct val="70000"/>
              <a:buFont typeface="Wingdings" panose="05000000000000000000" pitchFamily="2" charset="2"/>
              <a:buChar char=""/>
              <a:defRPr/>
            </a:pPr>
            <a:r>
              <a:rPr lang="en-US" sz="1000" kern="0" dirty="0">
                <a:latin typeface="Arial "/>
                <a:cs typeface="Arial" panose="020B0604020202020204" pitchFamily="34" charset="0"/>
              </a:rPr>
              <a:t>Outlook for 2021</a:t>
            </a:r>
            <a:endParaRPr lang="en-US" sz="1000" dirty="0">
              <a:latin typeface="Arial "/>
              <a:cs typeface="Arial" panose="020B0604020202020204" pitchFamily="34" charset="0"/>
            </a:endParaRPr>
          </a:p>
        </p:txBody>
      </p:sp>
      <p:cxnSp>
        <p:nvCxnSpPr>
          <p:cNvPr id="37" name="Straight Connector 36">
            <a:extLst>
              <a:ext uri="{FF2B5EF4-FFF2-40B4-BE49-F238E27FC236}">
                <a16:creationId xmlns:a16="http://schemas.microsoft.com/office/drawing/2014/main" id="{4D6441A3-FF15-7143-99CC-8999204A94B7}"/>
              </a:ext>
            </a:extLst>
          </p:cNvPr>
          <p:cNvCxnSpPr>
            <a:cxnSpLocks/>
          </p:cNvCxnSpPr>
          <p:nvPr/>
        </p:nvCxnSpPr>
        <p:spPr bwMode="auto">
          <a:xfrm>
            <a:off x="2095500" y="4963087"/>
            <a:ext cx="9791698" cy="0"/>
          </a:xfrm>
          <a:prstGeom prst="line">
            <a:avLst/>
          </a:prstGeom>
          <a:noFill/>
          <a:ln w="6350" cap="flat" cmpd="sng" algn="ctr">
            <a:solidFill>
              <a:schemeClr val="bg1">
                <a:lumMod val="85000"/>
              </a:schemeClr>
            </a:solidFill>
            <a:prstDash val="solid"/>
            <a:round/>
            <a:headEnd type="none" w="med" len="med"/>
            <a:tailEnd type="none" w="med" len="med"/>
          </a:ln>
          <a:effectLst/>
        </p:spPr>
      </p:cxnSp>
      <p:grpSp>
        <p:nvGrpSpPr>
          <p:cNvPr id="38" name="Group 37">
            <a:extLst>
              <a:ext uri="{FF2B5EF4-FFF2-40B4-BE49-F238E27FC236}">
                <a16:creationId xmlns:a16="http://schemas.microsoft.com/office/drawing/2014/main" id="{B885CB5B-73CF-0742-A233-E71887BD8957}"/>
              </a:ext>
            </a:extLst>
          </p:cNvPr>
          <p:cNvGrpSpPr/>
          <p:nvPr/>
        </p:nvGrpSpPr>
        <p:grpSpPr>
          <a:xfrm>
            <a:off x="-8761" y="4961746"/>
            <a:ext cx="2297190" cy="393209"/>
            <a:chOff x="1" y="3880621"/>
            <a:chExt cx="2297190" cy="393209"/>
          </a:xfrm>
        </p:grpSpPr>
        <p:sp>
          <p:nvSpPr>
            <p:cNvPr id="39" name="Arrow: Pentagon 57">
              <a:extLst>
                <a:ext uri="{FF2B5EF4-FFF2-40B4-BE49-F238E27FC236}">
                  <a16:creationId xmlns:a16="http://schemas.microsoft.com/office/drawing/2014/main" id="{D34EC5AE-9CBA-D24D-8095-4E7CCAE7589E}"/>
                </a:ext>
              </a:extLst>
            </p:cNvPr>
            <p:cNvSpPr/>
            <p:nvPr/>
          </p:nvSpPr>
          <p:spPr>
            <a:xfrm>
              <a:off x="1" y="3880621"/>
              <a:ext cx="1996533" cy="393209"/>
            </a:xfrm>
            <a:prstGeom prst="homePlate">
              <a:avLst/>
            </a:prstGeom>
            <a:solidFill>
              <a:schemeClr val="bg1">
                <a:lumMod val="85000"/>
              </a:schemeClr>
            </a:solidFill>
          </p:spPr>
          <p:txBody>
            <a:bodyPr wrap="square" lIns="0" anchor="ctr">
              <a:noAutofit/>
            </a:bodyPr>
            <a:lstStyle/>
            <a:p>
              <a:pPr marL="285750"/>
              <a:r>
                <a:rPr lang="en-US" sz="1200" b="1">
                  <a:latin typeface="Arial "/>
                </a:rPr>
                <a:t>Scope of this report:</a:t>
              </a:r>
            </a:p>
          </p:txBody>
        </p:sp>
        <p:sp>
          <p:nvSpPr>
            <p:cNvPr id="40" name="Arrow: Chevron 58">
              <a:extLst>
                <a:ext uri="{FF2B5EF4-FFF2-40B4-BE49-F238E27FC236}">
                  <a16:creationId xmlns:a16="http://schemas.microsoft.com/office/drawing/2014/main" id="{1280360C-C53D-044B-9919-7ED4014B7035}"/>
                </a:ext>
              </a:extLst>
            </p:cNvPr>
            <p:cNvSpPr/>
            <p:nvPr/>
          </p:nvSpPr>
          <p:spPr bwMode="auto">
            <a:xfrm>
              <a:off x="1866415" y="3880621"/>
              <a:ext cx="298222" cy="393205"/>
            </a:xfrm>
            <a:prstGeom prst="chevron">
              <a:avLst>
                <a:gd name="adj" fmla="val 63442"/>
              </a:avLst>
            </a:prstGeom>
            <a:solidFill>
              <a:srgbClr val="D9D9D9">
                <a:alpha val="50196"/>
              </a:srgb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
              </a:endParaRPr>
            </a:p>
          </p:txBody>
        </p:sp>
        <p:sp>
          <p:nvSpPr>
            <p:cNvPr id="41" name="Arrow: Chevron 59">
              <a:extLst>
                <a:ext uri="{FF2B5EF4-FFF2-40B4-BE49-F238E27FC236}">
                  <a16:creationId xmlns:a16="http://schemas.microsoft.com/office/drawing/2014/main" id="{DDB12BC4-2BB0-6247-BBB3-25A498E9711F}"/>
                </a:ext>
              </a:extLst>
            </p:cNvPr>
            <p:cNvSpPr/>
            <p:nvPr/>
          </p:nvSpPr>
          <p:spPr bwMode="auto">
            <a:xfrm>
              <a:off x="2027828" y="3880621"/>
              <a:ext cx="269363" cy="393205"/>
            </a:xfrm>
            <a:prstGeom prst="chevron">
              <a:avLst>
                <a:gd name="adj" fmla="val 71216"/>
              </a:avLst>
            </a:prstGeom>
            <a:solidFill>
              <a:schemeClr val="bg1">
                <a:lumMod val="95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
              </a:endParaRPr>
            </a:p>
          </p:txBody>
        </p:sp>
      </p:grpSp>
      <p:graphicFrame>
        <p:nvGraphicFramePr>
          <p:cNvPr id="42" name="Table 11">
            <a:extLst>
              <a:ext uri="{FF2B5EF4-FFF2-40B4-BE49-F238E27FC236}">
                <a16:creationId xmlns:a16="http://schemas.microsoft.com/office/drawing/2014/main" id="{239B6F95-06D0-964F-BE7D-FE3E4F69DFCF}"/>
              </a:ext>
            </a:extLst>
          </p:cNvPr>
          <p:cNvGraphicFramePr>
            <a:graphicFrameLocks noGrp="1"/>
          </p:cNvGraphicFramePr>
          <p:nvPr>
            <p:extLst>
              <p:ext uri="{D42A27DB-BD31-4B8C-83A1-F6EECF244321}">
                <p14:modId xmlns:p14="http://schemas.microsoft.com/office/powerpoint/2010/main" val="457962864"/>
              </p:ext>
            </p:extLst>
          </p:nvPr>
        </p:nvGraphicFramePr>
        <p:xfrm>
          <a:off x="2266950" y="5043471"/>
          <a:ext cx="9505950" cy="1395096"/>
        </p:xfrm>
        <a:graphic>
          <a:graphicData uri="http://schemas.openxmlformats.org/drawingml/2006/table">
            <a:tbl>
              <a:tblPr firstRow="1" bandRow="1">
                <a:tableStyleId>{5C22544A-7EE6-4342-B048-85BDC9FD1C3A}</a:tableStyleId>
              </a:tblPr>
              <a:tblGrid>
                <a:gridCol w="1097280">
                  <a:extLst>
                    <a:ext uri="{9D8B030D-6E8A-4147-A177-3AD203B41FA5}">
                      <a16:colId xmlns:a16="http://schemas.microsoft.com/office/drawing/2014/main" val="1411926293"/>
                    </a:ext>
                  </a:extLst>
                </a:gridCol>
                <a:gridCol w="1606550">
                  <a:extLst>
                    <a:ext uri="{9D8B030D-6E8A-4147-A177-3AD203B41FA5}">
                      <a16:colId xmlns:a16="http://schemas.microsoft.com/office/drawing/2014/main" val="3320640569"/>
                    </a:ext>
                  </a:extLst>
                </a:gridCol>
                <a:gridCol w="942340">
                  <a:extLst>
                    <a:ext uri="{9D8B030D-6E8A-4147-A177-3AD203B41FA5}">
                      <a16:colId xmlns:a16="http://schemas.microsoft.com/office/drawing/2014/main" val="856931300"/>
                    </a:ext>
                  </a:extLst>
                </a:gridCol>
                <a:gridCol w="2917371">
                  <a:extLst>
                    <a:ext uri="{9D8B030D-6E8A-4147-A177-3AD203B41FA5}">
                      <a16:colId xmlns:a16="http://schemas.microsoft.com/office/drawing/2014/main" val="1725934348"/>
                    </a:ext>
                  </a:extLst>
                </a:gridCol>
                <a:gridCol w="1446984">
                  <a:extLst>
                    <a:ext uri="{9D8B030D-6E8A-4147-A177-3AD203B41FA5}">
                      <a16:colId xmlns:a16="http://schemas.microsoft.com/office/drawing/2014/main" val="3278923065"/>
                    </a:ext>
                  </a:extLst>
                </a:gridCol>
                <a:gridCol w="1495425">
                  <a:extLst>
                    <a:ext uri="{9D8B030D-6E8A-4147-A177-3AD203B41FA5}">
                      <a16:colId xmlns:a16="http://schemas.microsoft.com/office/drawing/2014/main" val="775135927"/>
                    </a:ext>
                  </a:extLst>
                </a:gridCol>
              </a:tblGrid>
              <a:tr h="126352">
                <a:tc>
                  <a:txBody>
                    <a:bodyPr/>
                    <a:lstStyle/>
                    <a:p>
                      <a:pPr algn="l"/>
                      <a:endParaRPr lang="en-US" sz="1000" b="1">
                        <a:solidFill>
                          <a:schemeClr val="tx1"/>
                        </a:solidFill>
                        <a:latin typeface="Arial "/>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a:solidFill>
                            <a:schemeClr val="tx1"/>
                          </a:solidFill>
                          <a:latin typeface="Arial "/>
                        </a:rPr>
                        <a:t>Geography</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000" b="1">
                        <a:solidFill>
                          <a:schemeClr val="tx1"/>
                        </a:solidFill>
                        <a:latin typeface="Arial "/>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17000"/>
                        </a:lnSpc>
                      </a:pPr>
                      <a:r>
                        <a:rPr lang="en-US" sz="1000" b="1">
                          <a:solidFill>
                            <a:schemeClr val="tx1"/>
                          </a:solidFill>
                          <a:latin typeface="Arial "/>
                        </a:rPr>
                        <a:t>Solution providers</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000" b="1">
                        <a:solidFill>
                          <a:srgbClr val="FF0000"/>
                        </a:solidFill>
                        <a:latin typeface="Arial "/>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a:solidFill>
                            <a:schemeClr val="tx1"/>
                          </a:solidFill>
                          <a:latin typeface="Arial "/>
                        </a:rPr>
                        <a:t>Solutions</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3169474"/>
                  </a:ext>
                </a:extLst>
              </a:tr>
              <a:tr h="957578">
                <a:tc>
                  <a:txBody>
                    <a:bodyPr/>
                    <a:lstStyle/>
                    <a:p>
                      <a:pPr algn="l"/>
                      <a:endParaRPr lang="en-US" sz="1000">
                        <a:solidFill>
                          <a:schemeClr val="accent4">
                            <a:lumMod val="50000"/>
                          </a:schemeClr>
                        </a:solidFill>
                        <a:latin typeface="Arial "/>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a:solidFill>
                            <a:schemeClr val="tx1"/>
                          </a:solidFill>
                          <a:latin typeface="Arial "/>
                        </a:rPr>
                        <a:t>Global</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endParaRPr lang="en-US" sz="1000">
                        <a:solidFill>
                          <a:schemeClr val="accent4">
                            <a:lumMod val="50000"/>
                          </a:schemeClr>
                        </a:solidFill>
                        <a:highlight>
                          <a:srgbClr val="FFFF00"/>
                        </a:highlight>
                        <a:latin typeface="Arial "/>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5373" rtl="0" eaLnBrk="1" fontAlgn="auto" latinLnBrk="0" hangingPunct="1">
                        <a:lnSpc>
                          <a:spcPct val="117000"/>
                        </a:lnSpc>
                        <a:spcBef>
                          <a:spcPts val="0"/>
                        </a:spcBef>
                        <a:spcAft>
                          <a:spcPts val="0"/>
                        </a:spcAft>
                        <a:buClrTx/>
                        <a:buSzTx/>
                        <a:buFontTx/>
                        <a:buNone/>
                        <a:tabLst/>
                        <a:defRPr/>
                      </a:pPr>
                      <a:r>
                        <a:rPr lang="en-US" sz="1000" kern="0">
                          <a:latin typeface="Arial "/>
                        </a:rPr>
                        <a:t>Achievers, </a:t>
                      </a:r>
                      <a:r>
                        <a:rPr lang="en-US" sz="1000" kern="0" err="1">
                          <a:latin typeface="Arial "/>
                        </a:rPr>
                        <a:t>Awardco</a:t>
                      </a:r>
                      <a:r>
                        <a:rPr lang="en-US" sz="1000" kern="0">
                          <a:latin typeface="Arial "/>
                        </a:rPr>
                        <a:t>, BI Worldwide, CSI Stars, Engage2Excel, Fond, </a:t>
                      </a:r>
                      <a:r>
                        <a:rPr lang="en-US" sz="1000" kern="0" err="1">
                          <a:latin typeface="Arial "/>
                        </a:rPr>
                        <a:t>GOintegro</a:t>
                      </a:r>
                      <a:r>
                        <a:rPr lang="en-US" sz="1000" kern="0">
                          <a:latin typeface="Arial "/>
                        </a:rPr>
                        <a:t>, HALO Recognition, </a:t>
                      </a:r>
                      <a:r>
                        <a:rPr lang="en-US" sz="1000" kern="0" err="1">
                          <a:latin typeface="Arial "/>
                        </a:rPr>
                        <a:t>Inspirus</a:t>
                      </a:r>
                      <a:r>
                        <a:rPr lang="en-US" sz="1000" kern="0">
                          <a:latin typeface="Arial "/>
                        </a:rPr>
                        <a:t> (a </a:t>
                      </a:r>
                      <a:r>
                        <a:rPr lang="en-US" sz="1000" kern="0" err="1">
                          <a:latin typeface="Arial "/>
                        </a:rPr>
                        <a:t>Sodexo</a:t>
                      </a:r>
                      <a:r>
                        <a:rPr lang="en-US" sz="1000" kern="0">
                          <a:latin typeface="Arial "/>
                        </a:rPr>
                        <a:t> Group company), ITA Group, Kudos, Madison PG, Maritz Motivation, MTM Recognition, O.C. Tanner, </a:t>
                      </a:r>
                      <a:r>
                        <a:rPr lang="en-US" sz="1000" kern="0" err="1">
                          <a:latin typeface="Arial "/>
                        </a:rPr>
                        <a:t>Perkbox</a:t>
                      </a:r>
                      <a:r>
                        <a:rPr lang="en-US" sz="1000" kern="0">
                          <a:latin typeface="Arial "/>
                        </a:rPr>
                        <a:t>, Reward Gateway, </a:t>
                      </a:r>
                      <a:r>
                        <a:rPr lang="en-US" sz="1000" kern="0" err="1">
                          <a:latin typeface="Arial "/>
                        </a:rPr>
                        <a:t>Terryberry</a:t>
                      </a:r>
                      <a:r>
                        <a:rPr lang="en-US" sz="1000" kern="0">
                          <a:latin typeface="Arial "/>
                        </a:rPr>
                        <a:t>, Vantage Circle, </a:t>
                      </a:r>
                      <a:r>
                        <a:rPr lang="en-US" sz="1000" kern="0" err="1">
                          <a:latin typeface="Arial "/>
                        </a:rPr>
                        <a:t>Workhuman</a:t>
                      </a:r>
                      <a:r>
                        <a:rPr lang="en-US" sz="1000" kern="0">
                          <a:latin typeface="Arial "/>
                        </a:rPr>
                        <a:t>, </a:t>
                      </a:r>
                      <a:r>
                        <a:rPr lang="en-US" sz="1000" kern="0" err="1">
                          <a:latin typeface="Arial "/>
                        </a:rPr>
                        <a:t>WorkProud</a:t>
                      </a:r>
                      <a:r>
                        <a:rPr lang="en-US" sz="1000" kern="0">
                          <a:latin typeface="Arial "/>
                        </a:rPr>
                        <a:t>, </a:t>
                      </a:r>
                      <a:r>
                        <a:rPr lang="en-US" sz="1000" kern="0" err="1">
                          <a:latin typeface="Arial "/>
                        </a:rPr>
                        <a:t>WorkStride</a:t>
                      </a:r>
                      <a:r>
                        <a:rPr lang="en-US" sz="1000" kern="0">
                          <a:latin typeface="Arial "/>
                        </a:rPr>
                        <a:t>, </a:t>
                      </a:r>
                      <a:r>
                        <a:rPr lang="en-US" sz="1000" kern="0" err="1">
                          <a:latin typeface="Arial "/>
                        </a:rPr>
                        <a:t>Xexec</a:t>
                      </a:r>
                      <a:r>
                        <a:rPr lang="en-US" sz="1000" kern="0">
                          <a:latin typeface="Arial "/>
                        </a:rPr>
                        <a:t>, and </a:t>
                      </a:r>
                      <a:r>
                        <a:rPr lang="en-US" sz="1000" kern="0" err="1">
                          <a:latin typeface="Arial "/>
                        </a:rPr>
                        <a:t>Xoxoday</a:t>
                      </a:r>
                      <a:endParaRPr lang="en-US" sz="1000">
                        <a:solidFill>
                          <a:schemeClr val="accent4">
                            <a:lumMod val="50000"/>
                          </a:schemeClr>
                        </a:solidFill>
                        <a:latin typeface="Arial "/>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000">
                        <a:solidFill>
                          <a:schemeClr val="accent4">
                            <a:lumMod val="50000"/>
                          </a:schemeClr>
                        </a:solidFill>
                        <a:highlight>
                          <a:srgbClr val="FFFF00"/>
                        </a:highlight>
                        <a:latin typeface="Arial "/>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r>
                        <a:rPr lang="en-US" sz="1000">
                          <a:solidFill>
                            <a:schemeClr val="tx1"/>
                          </a:solidFill>
                          <a:latin typeface="Arial "/>
                        </a:rPr>
                        <a:t>Rewards and Recognition (R&amp;R) solutions</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914287"/>
                  </a:ext>
                </a:extLst>
              </a:tr>
            </a:tbl>
          </a:graphicData>
        </a:graphic>
      </p:graphicFrame>
      <p:grpSp>
        <p:nvGrpSpPr>
          <p:cNvPr id="43" name="Group 42">
            <a:extLst>
              <a:ext uri="{FF2B5EF4-FFF2-40B4-BE49-F238E27FC236}">
                <a16:creationId xmlns:a16="http://schemas.microsoft.com/office/drawing/2014/main" id="{949225C5-76E7-7545-973E-88D8CFEA28C2}"/>
              </a:ext>
            </a:extLst>
          </p:cNvPr>
          <p:cNvGrpSpPr>
            <a:grpSpLocks noChangeAspect="1"/>
          </p:cNvGrpSpPr>
          <p:nvPr/>
        </p:nvGrpSpPr>
        <p:grpSpPr>
          <a:xfrm>
            <a:off x="5057538" y="5043471"/>
            <a:ext cx="787286" cy="779859"/>
            <a:chOff x="-10694988" y="3740150"/>
            <a:chExt cx="2355850" cy="2333625"/>
          </a:xfrm>
          <a:solidFill>
            <a:schemeClr val="accent6"/>
          </a:solidFill>
        </p:grpSpPr>
        <p:sp>
          <p:nvSpPr>
            <p:cNvPr id="44" name="Freeform 14">
              <a:extLst>
                <a:ext uri="{FF2B5EF4-FFF2-40B4-BE49-F238E27FC236}">
                  <a16:creationId xmlns:a16="http://schemas.microsoft.com/office/drawing/2014/main" id="{1D33F167-3F4B-B741-BE45-9258DEFEF441}"/>
                </a:ext>
              </a:extLst>
            </p:cNvPr>
            <p:cNvSpPr>
              <a:spLocks noEditPoints="1"/>
            </p:cNvSpPr>
            <p:nvPr/>
          </p:nvSpPr>
          <p:spPr bwMode="auto">
            <a:xfrm>
              <a:off x="-9771063" y="3740150"/>
              <a:ext cx="1304925" cy="1308100"/>
            </a:xfrm>
            <a:custGeom>
              <a:avLst/>
              <a:gdLst>
                <a:gd name="T0" fmla="*/ 621 w 978"/>
                <a:gd name="T1" fmla="*/ 931 h 984"/>
                <a:gd name="T2" fmla="*/ 404 w 978"/>
                <a:gd name="T3" fmla="*/ 982 h 984"/>
                <a:gd name="T4" fmla="*/ 356 w 978"/>
                <a:gd name="T5" fmla="*/ 909 h 984"/>
                <a:gd name="T6" fmla="*/ 296 w 978"/>
                <a:gd name="T7" fmla="*/ 871 h 984"/>
                <a:gd name="T8" fmla="*/ 204 w 978"/>
                <a:gd name="T9" fmla="*/ 899 h 984"/>
                <a:gd name="T10" fmla="*/ 83 w 978"/>
                <a:gd name="T11" fmla="*/ 779 h 984"/>
                <a:gd name="T12" fmla="*/ 102 w 978"/>
                <a:gd name="T13" fmla="*/ 691 h 984"/>
                <a:gd name="T14" fmla="*/ 86 w 978"/>
                <a:gd name="T15" fmla="*/ 623 h 984"/>
                <a:gd name="T16" fmla="*/ 0 w 978"/>
                <a:gd name="T17" fmla="*/ 582 h 984"/>
                <a:gd name="T18" fmla="*/ 43 w 978"/>
                <a:gd name="T19" fmla="*/ 359 h 984"/>
                <a:gd name="T20" fmla="*/ 110 w 978"/>
                <a:gd name="T21" fmla="*/ 344 h 984"/>
                <a:gd name="T22" fmla="*/ 113 w 978"/>
                <a:gd name="T23" fmla="*/ 304 h 984"/>
                <a:gd name="T24" fmla="*/ 78 w 978"/>
                <a:gd name="T25" fmla="*/ 211 h 984"/>
                <a:gd name="T26" fmla="*/ 268 w 978"/>
                <a:gd name="T27" fmla="*/ 84 h 984"/>
                <a:gd name="T28" fmla="*/ 323 w 978"/>
                <a:gd name="T29" fmla="*/ 121 h 984"/>
                <a:gd name="T30" fmla="*/ 427 w 978"/>
                <a:gd name="T31" fmla="*/ 1 h 984"/>
                <a:gd name="T32" fmla="*/ 621 w 978"/>
                <a:gd name="T33" fmla="*/ 56 h 984"/>
                <a:gd name="T34" fmla="*/ 649 w 978"/>
                <a:gd name="T35" fmla="*/ 119 h 984"/>
                <a:gd name="T36" fmla="*/ 712 w 978"/>
                <a:gd name="T37" fmla="*/ 80 h 984"/>
                <a:gd name="T38" fmla="*/ 899 w 978"/>
                <a:gd name="T39" fmla="*/ 211 h 984"/>
                <a:gd name="T40" fmla="*/ 864 w 978"/>
                <a:gd name="T41" fmla="*/ 303 h 984"/>
                <a:gd name="T42" fmla="*/ 867 w 978"/>
                <a:gd name="T43" fmla="*/ 345 h 984"/>
                <a:gd name="T44" fmla="*/ 933 w 978"/>
                <a:gd name="T45" fmla="*/ 359 h 984"/>
                <a:gd name="T46" fmla="*/ 977 w 978"/>
                <a:gd name="T47" fmla="*/ 581 h 984"/>
                <a:gd name="T48" fmla="*/ 904 w 978"/>
                <a:gd name="T49" fmla="*/ 623 h 984"/>
                <a:gd name="T50" fmla="*/ 868 w 978"/>
                <a:gd name="T51" fmla="*/ 684 h 984"/>
                <a:gd name="T52" fmla="*/ 896 w 978"/>
                <a:gd name="T53" fmla="*/ 775 h 984"/>
                <a:gd name="T54" fmla="*/ 711 w 978"/>
                <a:gd name="T55" fmla="*/ 902 h 984"/>
                <a:gd name="T56" fmla="*/ 649 w 978"/>
                <a:gd name="T57" fmla="*/ 865 h 984"/>
                <a:gd name="T58" fmla="*/ 809 w 978"/>
                <a:gd name="T59" fmla="*/ 741 h 984"/>
                <a:gd name="T60" fmla="*/ 771 w 978"/>
                <a:gd name="T61" fmla="*/ 655 h 984"/>
                <a:gd name="T62" fmla="*/ 851 w 978"/>
                <a:gd name="T63" fmla="*/ 541 h 984"/>
                <a:gd name="T64" fmla="*/ 893 w 978"/>
                <a:gd name="T65" fmla="*/ 443 h 984"/>
                <a:gd name="T66" fmla="*/ 803 w 978"/>
                <a:gd name="T67" fmla="*/ 404 h 984"/>
                <a:gd name="T68" fmla="*/ 780 w 978"/>
                <a:gd name="T69" fmla="*/ 270 h 984"/>
                <a:gd name="T70" fmla="*/ 739 w 978"/>
                <a:gd name="T71" fmla="*/ 170 h 984"/>
                <a:gd name="T72" fmla="*/ 643 w 978"/>
                <a:gd name="T73" fmla="*/ 206 h 984"/>
                <a:gd name="T74" fmla="*/ 537 w 978"/>
                <a:gd name="T75" fmla="*/ 122 h 984"/>
                <a:gd name="T76" fmla="*/ 439 w 978"/>
                <a:gd name="T77" fmla="*/ 85 h 984"/>
                <a:gd name="T78" fmla="*/ 403 w 978"/>
                <a:gd name="T79" fmla="*/ 177 h 984"/>
                <a:gd name="T80" fmla="*/ 270 w 978"/>
                <a:gd name="T81" fmla="*/ 202 h 984"/>
                <a:gd name="T82" fmla="*/ 176 w 978"/>
                <a:gd name="T83" fmla="*/ 230 h 984"/>
                <a:gd name="T84" fmla="*/ 196 w 978"/>
                <a:gd name="T85" fmla="*/ 269 h 984"/>
                <a:gd name="T86" fmla="*/ 174 w 978"/>
                <a:gd name="T87" fmla="*/ 405 h 984"/>
                <a:gd name="T88" fmla="*/ 83 w 978"/>
                <a:gd name="T89" fmla="*/ 443 h 984"/>
                <a:gd name="T90" fmla="*/ 83 w 978"/>
                <a:gd name="T91" fmla="*/ 541 h 984"/>
                <a:gd name="T92" fmla="*/ 173 w 978"/>
                <a:gd name="T93" fmla="*/ 577 h 984"/>
                <a:gd name="T94" fmla="*/ 195 w 978"/>
                <a:gd name="T95" fmla="*/ 715 h 984"/>
                <a:gd name="T96" fmla="*/ 239 w 978"/>
                <a:gd name="T97" fmla="*/ 812 h 984"/>
                <a:gd name="T98" fmla="*/ 328 w 978"/>
                <a:gd name="T99" fmla="*/ 775 h 984"/>
                <a:gd name="T100" fmla="*/ 439 w 978"/>
                <a:gd name="T101" fmla="*/ 855 h 984"/>
                <a:gd name="T102" fmla="*/ 537 w 978"/>
                <a:gd name="T103" fmla="*/ 898 h 984"/>
                <a:gd name="T104" fmla="*/ 577 w 978"/>
                <a:gd name="T105" fmla="*/ 806 h 984"/>
                <a:gd name="T106" fmla="*/ 711 w 978"/>
                <a:gd name="T107" fmla="*/ 785 h 984"/>
                <a:gd name="T108" fmla="*/ 809 w 978"/>
                <a:gd name="T109" fmla="*/ 741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8" h="984">
                  <a:moveTo>
                    <a:pt x="621" y="877"/>
                  </a:moveTo>
                  <a:cubicBezTo>
                    <a:pt x="621" y="895"/>
                    <a:pt x="621" y="913"/>
                    <a:pt x="621" y="931"/>
                  </a:cubicBezTo>
                  <a:cubicBezTo>
                    <a:pt x="621" y="965"/>
                    <a:pt x="606" y="982"/>
                    <a:pt x="574" y="982"/>
                  </a:cubicBezTo>
                  <a:cubicBezTo>
                    <a:pt x="517" y="984"/>
                    <a:pt x="460" y="984"/>
                    <a:pt x="404" y="982"/>
                  </a:cubicBezTo>
                  <a:cubicBezTo>
                    <a:pt x="371" y="982"/>
                    <a:pt x="357" y="965"/>
                    <a:pt x="356" y="933"/>
                  </a:cubicBezTo>
                  <a:cubicBezTo>
                    <a:pt x="356" y="925"/>
                    <a:pt x="355" y="917"/>
                    <a:pt x="356" y="909"/>
                  </a:cubicBezTo>
                  <a:cubicBezTo>
                    <a:pt x="360" y="886"/>
                    <a:pt x="353" y="872"/>
                    <a:pt x="328" y="864"/>
                  </a:cubicBezTo>
                  <a:cubicBezTo>
                    <a:pt x="314" y="860"/>
                    <a:pt x="305" y="860"/>
                    <a:pt x="296" y="871"/>
                  </a:cubicBezTo>
                  <a:cubicBezTo>
                    <a:pt x="287" y="881"/>
                    <a:pt x="277" y="890"/>
                    <a:pt x="268" y="900"/>
                  </a:cubicBezTo>
                  <a:cubicBezTo>
                    <a:pt x="247" y="919"/>
                    <a:pt x="225" y="919"/>
                    <a:pt x="204" y="899"/>
                  </a:cubicBezTo>
                  <a:cubicBezTo>
                    <a:pt x="178" y="874"/>
                    <a:pt x="154" y="849"/>
                    <a:pt x="129" y="824"/>
                  </a:cubicBezTo>
                  <a:cubicBezTo>
                    <a:pt x="114" y="809"/>
                    <a:pt x="98" y="795"/>
                    <a:pt x="83" y="779"/>
                  </a:cubicBezTo>
                  <a:cubicBezTo>
                    <a:pt x="60" y="755"/>
                    <a:pt x="60" y="734"/>
                    <a:pt x="83" y="710"/>
                  </a:cubicBezTo>
                  <a:cubicBezTo>
                    <a:pt x="89" y="703"/>
                    <a:pt x="95" y="696"/>
                    <a:pt x="102" y="691"/>
                  </a:cubicBezTo>
                  <a:cubicBezTo>
                    <a:pt x="122" y="678"/>
                    <a:pt x="123" y="662"/>
                    <a:pt x="112" y="641"/>
                  </a:cubicBezTo>
                  <a:cubicBezTo>
                    <a:pt x="106" y="629"/>
                    <a:pt x="100" y="622"/>
                    <a:pt x="86" y="623"/>
                  </a:cubicBezTo>
                  <a:cubicBezTo>
                    <a:pt x="71" y="625"/>
                    <a:pt x="56" y="624"/>
                    <a:pt x="42" y="623"/>
                  </a:cubicBezTo>
                  <a:cubicBezTo>
                    <a:pt x="16" y="622"/>
                    <a:pt x="1" y="607"/>
                    <a:pt x="0" y="582"/>
                  </a:cubicBezTo>
                  <a:cubicBezTo>
                    <a:pt x="0" y="522"/>
                    <a:pt x="0" y="462"/>
                    <a:pt x="0" y="402"/>
                  </a:cubicBezTo>
                  <a:cubicBezTo>
                    <a:pt x="1" y="376"/>
                    <a:pt x="17" y="360"/>
                    <a:pt x="43" y="359"/>
                  </a:cubicBezTo>
                  <a:cubicBezTo>
                    <a:pt x="58" y="359"/>
                    <a:pt x="74" y="358"/>
                    <a:pt x="89" y="360"/>
                  </a:cubicBezTo>
                  <a:cubicBezTo>
                    <a:pt x="101" y="360"/>
                    <a:pt x="107" y="356"/>
                    <a:pt x="110" y="344"/>
                  </a:cubicBezTo>
                  <a:cubicBezTo>
                    <a:pt x="112" y="338"/>
                    <a:pt x="117" y="332"/>
                    <a:pt x="117" y="326"/>
                  </a:cubicBezTo>
                  <a:cubicBezTo>
                    <a:pt x="118" y="319"/>
                    <a:pt x="118" y="309"/>
                    <a:pt x="113" y="304"/>
                  </a:cubicBezTo>
                  <a:cubicBezTo>
                    <a:pt x="103" y="291"/>
                    <a:pt x="90" y="280"/>
                    <a:pt x="79" y="268"/>
                  </a:cubicBezTo>
                  <a:cubicBezTo>
                    <a:pt x="62" y="250"/>
                    <a:pt x="60" y="228"/>
                    <a:pt x="78" y="211"/>
                  </a:cubicBezTo>
                  <a:cubicBezTo>
                    <a:pt x="120" y="167"/>
                    <a:pt x="162" y="124"/>
                    <a:pt x="206" y="82"/>
                  </a:cubicBezTo>
                  <a:cubicBezTo>
                    <a:pt x="226" y="63"/>
                    <a:pt x="248" y="65"/>
                    <a:pt x="268" y="84"/>
                  </a:cubicBezTo>
                  <a:cubicBezTo>
                    <a:pt x="280" y="95"/>
                    <a:pt x="290" y="107"/>
                    <a:pt x="303" y="117"/>
                  </a:cubicBezTo>
                  <a:cubicBezTo>
                    <a:pt x="308" y="121"/>
                    <a:pt x="317" y="123"/>
                    <a:pt x="323" y="121"/>
                  </a:cubicBezTo>
                  <a:cubicBezTo>
                    <a:pt x="356" y="109"/>
                    <a:pt x="358" y="108"/>
                    <a:pt x="356" y="72"/>
                  </a:cubicBezTo>
                  <a:cubicBezTo>
                    <a:pt x="353" y="4"/>
                    <a:pt x="377" y="0"/>
                    <a:pt x="427" y="1"/>
                  </a:cubicBezTo>
                  <a:cubicBezTo>
                    <a:pt x="474" y="2"/>
                    <a:pt x="521" y="1"/>
                    <a:pt x="567" y="1"/>
                  </a:cubicBezTo>
                  <a:cubicBezTo>
                    <a:pt x="607" y="2"/>
                    <a:pt x="621" y="16"/>
                    <a:pt x="621" y="56"/>
                  </a:cubicBezTo>
                  <a:cubicBezTo>
                    <a:pt x="621" y="63"/>
                    <a:pt x="622" y="70"/>
                    <a:pt x="621" y="76"/>
                  </a:cubicBezTo>
                  <a:cubicBezTo>
                    <a:pt x="617" y="99"/>
                    <a:pt x="625" y="113"/>
                    <a:pt x="649" y="119"/>
                  </a:cubicBezTo>
                  <a:cubicBezTo>
                    <a:pt x="661" y="123"/>
                    <a:pt x="669" y="124"/>
                    <a:pt x="678" y="114"/>
                  </a:cubicBezTo>
                  <a:cubicBezTo>
                    <a:pt x="689" y="102"/>
                    <a:pt x="700" y="90"/>
                    <a:pt x="712" y="80"/>
                  </a:cubicBezTo>
                  <a:cubicBezTo>
                    <a:pt x="730" y="65"/>
                    <a:pt x="752" y="65"/>
                    <a:pt x="769" y="81"/>
                  </a:cubicBezTo>
                  <a:cubicBezTo>
                    <a:pt x="813" y="123"/>
                    <a:pt x="856" y="167"/>
                    <a:pt x="899" y="211"/>
                  </a:cubicBezTo>
                  <a:cubicBezTo>
                    <a:pt x="915" y="228"/>
                    <a:pt x="913" y="250"/>
                    <a:pt x="897" y="268"/>
                  </a:cubicBezTo>
                  <a:cubicBezTo>
                    <a:pt x="887" y="281"/>
                    <a:pt x="876" y="292"/>
                    <a:pt x="864" y="303"/>
                  </a:cubicBezTo>
                  <a:cubicBezTo>
                    <a:pt x="856" y="310"/>
                    <a:pt x="854" y="317"/>
                    <a:pt x="860" y="327"/>
                  </a:cubicBezTo>
                  <a:cubicBezTo>
                    <a:pt x="863" y="333"/>
                    <a:pt x="866" y="339"/>
                    <a:pt x="867" y="345"/>
                  </a:cubicBezTo>
                  <a:cubicBezTo>
                    <a:pt x="870" y="356"/>
                    <a:pt x="876" y="360"/>
                    <a:pt x="887" y="360"/>
                  </a:cubicBezTo>
                  <a:cubicBezTo>
                    <a:pt x="902" y="359"/>
                    <a:pt x="918" y="359"/>
                    <a:pt x="933" y="359"/>
                  </a:cubicBezTo>
                  <a:cubicBezTo>
                    <a:pt x="960" y="360"/>
                    <a:pt x="977" y="376"/>
                    <a:pt x="977" y="403"/>
                  </a:cubicBezTo>
                  <a:cubicBezTo>
                    <a:pt x="978" y="462"/>
                    <a:pt x="978" y="522"/>
                    <a:pt x="977" y="581"/>
                  </a:cubicBezTo>
                  <a:cubicBezTo>
                    <a:pt x="977" y="607"/>
                    <a:pt x="961" y="623"/>
                    <a:pt x="934" y="624"/>
                  </a:cubicBezTo>
                  <a:cubicBezTo>
                    <a:pt x="924" y="624"/>
                    <a:pt x="914" y="625"/>
                    <a:pt x="904" y="623"/>
                  </a:cubicBezTo>
                  <a:cubicBezTo>
                    <a:pt x="881" y="620"/>
                    <a:pt x="868" y="628"/>
                    <a:pt x="861" y="651"/>
                  </a:cubicBezTo>
                  <a:cubicBezTo>
                    <a:pt x="856" y="666"/>
                    <a:pt x="857" y="674"/>
                    <a:pt x="868" y="684"/>
                  </a:cubicBezTo>
                  <a:cubicBezTo>
                    <a:pt x="878" y="693"/>
                    <a:pt x="887" y="702"/>
                    <a:pt x="896" y="712"/>
                  </a:cubicBezTo>
                  <a:cubicBezTo>
                    <a:pt x="914" y="733"/>
                    <a:pt x="915" y="755"/>
                    <a:pt x="896" y="775"/>
                  </a:cubicBezTo>
                  <a:cubicBezTo>
                    <a:pt x="855" y="817"/>
                    <a:pt x="813" y="859"/>
                    <a:pt x="770" y="900"/>
                  </a:cubicBezTo>
                  <a:cubicBezTo>
                    <a:pt x="752" y="918"/>
                    <a:pt x="730" y="918"/>
                    <a:pt x="711" y="902"/>
                  </a:cubicBezTo>
                  <a:cubicBezTo>
                    <a:pt x="700" y="892"/>
                    <a:pt x="689" y="882"/>
                    <a:pt x="680" y="871"/>
                  </a:cubicBezTo>
                  <a:cubicBezTo>
                    <a:pt x="671" y="860"/>
                    <a:pt x="662" y="858"/>
                    <a:pt x="649" y="865"/>
                  </a:cubicBezTo>
                  <a:cubicBezTo>
                    <a:pt x="641" y="870"/>
                    <a:pt x="631" y="873"/>
                    <a:pt x="621" y="877"/>
                  </a:cubicBezTo>
                  <a:close/>
                  <a:moveTo>
                    <a:pt x="809" y="741"/>
                  </a:moveTo>
                  <a:cubicBezTo>
                    <a:pt x="800" y="732"/>
                    <a:pt x="790" y="723"/>
                    <a:pt x="780" y="713"/>
                  </a:cubicBezTo>
                  <a:cubicBezTo>
                    <a:pt x="762" y="694"/>
                    <a:pt x="760" y="678"/>
                    <a:pt x="771" y="655"/>
                  </a:cubicBezTo>
                  <a:cubicBezTo>
                    <a:pt x="783" y="629"/>
                    <a:pt x="794" y="603"/>
                    <a:pt x="804" y="576"/>
                  </a:cubicBezTo>
                  <a:cubicBezTo>
                    <a:pt x="814" y="551"/>
                    <a:pt x="824" y="542"/>
                    <a:pt x="851" y="541"/>
                  </a:cubicBezTo>
                  <a:cubicBezTo>
                    <a:pt x="865" y="541"/>
                    <a:pt x="879" y="541"/>
                    <a:pt x="893" y="541"/>
                  </a:cubicBezTo>
                  <a:cubicBezTo>
                    <a:pt x="893" y="507"/>
                    <a:pt x="893" y="476"/>
                    <a:pt x="893" y="443"/>
                  </a:cubicBezTo>
                  <a:cubicBezTo>
                    <a:pt x="880" y="443"/>
                    <a:pt x="868" y="443"/>
                    <a:pt x="856" y="443"/>
                  </a:cubicBezTo>
                  <a:cubicBezTo>
                    <a:pt x="825" y="442"/>
                    <a:pt x="814" y="433"/>
                    <a:pt x="803" y="404"/>
                  </a:cubicBezTo>
                  <a:cubicBezTo>
                    <a:pt x="794" y="379"/>
                    <a:pt x="783" y="354"/>
                    <a:pt x="772" y="329"/>
                  </a:cubicBezTo>
                  <a:cubicBezTo>
                    <a:pt x="760" y="305"/>
                    <a:pt x="761" y="289"/>
                    <a:pt x="780" y="270"/>
                  </a:cubicBezTo>
                  <a:cubicBezTo>
                    <a:pt x="790" y="260"/>
                    <a:pt x="801" y="251"/>
                    <a:pt x="809" y="243"/>
                  </a:cubicBezTo>
                  <a:cubicBezTo>
                    <a:pt x="784" y="218"/>
                    <a:pt x="762" y="195"/>
                    <a:pt x="739" y="170"/>
                  </a:cubicBezTo>
                  <a:cubicBezTo>
                    <a:pt x="731" y="178"/>
                    <a:pt x="723" y="186"/>
                    <a:pt x="715" y="194"/>
                  </a:cubicBezTo>
                  <a:cubicBezTo>
                    <a:pt x="689" y="221"/>
                    <a:pt x="676" y="222"/>
                    <a:pt x="643" y="206"/>
                  </a:cubicBezTo>
                  <a:cubicBezTo>
                    <a:pt x="622" y="195"/>
                    <a:pt x="601" y="186"/>
                    <a:pt x="579" y="179"/>
                  </a:cubicBezTo>
                  <a:cubicBezTo>
                    <a:pt x="547" y="168"/>
                    <a:pt x="538" y="156"/>
                    <a:pt x="537" y="122"/>
                  </a:cubicBezTo>
                  <a:cubicBezTo>
                    <a:pt x="537" y="109"/>
                    <a:pt x="537" y="97"/>
                    <a:pt x="537" y="85"/>
                  </a:cubicBezTo>
                  <a:cubicBezTo>
                    <a:pt x="503" y="85"/>
                    <a:pt x="472" y="85"/>
                    <a:pt x="439" y="85"/>
                  </a:cubicBezTo>
                  <a:cubicBezTo>
                    <a:pt x="439" y="101"/>
                    <a:pt x="439" y="115"/>
                    <a:pt x="439" y="128"/>
                  </a:cubicBezTo>
                  <a:cubicBezTo>
                    <a:pt x="438" y="156"/>
                    <a:pt x="429" y="167"/>
                    <a:pt x="403" y="177"/>
                  </a:cubicBezTo>
                  <a:cubicBezTo>
                    <a:pt x="377" y="187"/>
                    <a:pt x="352" y="198"/>
                    <a:pt x="326" y="210"/>
                  </a:cubicBezTo>
                  <a:cubicBezTo>
                    <a:pt x="304" y="220"/>
                    <a:pt x="288" y="219"/>
                    <a:pt x="270" y="202"/>
                  </a:cubicBezTo>
                  <a:cubicBezTo>
                    <a:pt x="259" y="191"/>
                    <a:pt x="250" y="179"/>
                    <a:pt x="240" y="166"/>
                  </a:cubicBezTo>
                  <a:cubicBezTo>
                    <a:pt x="215" y="190"/>
                    <a:pt x="196" y="210"/>
                    <a:pt x="176" y="230"/>
                  </a:cubicBezTo>
                  <a:cubicBezTo>
                    <a:pt x="173" y="233"/>
                    <a:pt x="171" y="236"/>
                    <a:pt x="167" y="240"/>
                  </a:cubicBezTo>
                  <a:cubicBezTo>
                    <a:pt x="177" y="250"/>
                    <a:pt x="186" y="259"/>
                    <a:pt x="196" y="269"/>
                  </a:cubicBezTo>
                  <a:cubicBezTo>
                    <a:pt x="216" y="289"/>
                    <a:pt x="217" y="304"/>
                    <a:pt x="205" y="330"/>
                  </a:cubicBezTo>
                  <a:cubicBezTo>
                    <a:pt x="194" y="354"/>
                    <a:pt x="183" y="379"/>
                    <a:pt x="174" y="405"/>
                  </a:cubicBezTo>
                  <a:cubicBezTo>
                    <a:pt x="163" y="433"/>
                    <a:pt x="152" y="442"/>
                    <a:pt x="121" y="443"/>
                  </a:cubicBezTo>
                  <a:cubicBezTo>
                    <a:pt x="108" y="443"/>
                    <a:pt x="96" y="443"/>
                    <a:pt x="83" y="443"/>
                  </a:cubicBezTo>
                  <a:cubicBezTo>
                    <a:pt x="83" y="462"/>
                    <a:pt x="83" y="477"/>
                    <a:pt x="83" y="492"/>
                  </a:cubicBezTo>
                  <a:cubicBezTo>
                    <a:pt x="83" y="508"/>
                    <a:pt x="83" y="524"/>
                    <a:pt x="83" y="541"/>
                  </a:cubicBezTo>
                  <a:cubicBezTo>
                    <a:pt x="99" y="541"/>
                    <a:pt x="112" y="541"/>
                    <a:pt x="125" y="541"/>
                  </a:cubicBezTo>
                  <a:cubicBezTo>
                    <a:pt x="154" y="542"/>
                    <a:pt x="164" y="551"/>
                    <a:pt x="173" y="577"/>
                  </a:cubicBezTo>
                  <a:cubicBezTo>
                    <a:pt x="183" y="603"/>
                    <a:pt x="193" y="628"/>
                    <a:pt x="205" y="652"/>
                  </a:cubicBezTo>
                  <a:cubicBezTo>
                    <a:pt x="218" y="679"/>
                    <a:pt x="216" y="694"/>
                    <a:pt x="195" y="715"/>
                  </a:cubicBezTo>
                  <a:cubicBezTo>
                    <a:pt x="185" y="724"/>
                    <a:pt x="174" y="732"/>
                    <a:pt x="167" y="737"/>
                  </a:cubicBezTo>
                  <a:cubicBezTo>
                    <a:pt x="194" y="765"/>
                    <a:pt x="215" y="788"/>
                    <a:pt x="239" y="812"/>
                  </a:cubicBezTo>
                  <a:cubicBezTo>
                    <a:pt x="247" y="803"/>
                    <a:pt x="256" y="794"/>
                    <a:pt x="265" y="785"/>
                  </a:cubicBezTo>
                  <a:cubicBezTo>
                    <a:pt x="286" y="764"/>
                    <a:pt x="301" y="763"/>
                    <a:pt x="328" y="775"/>
                  </a:cubicBezTo>
                  <a:cubicBezTo>
                    <a:pt x="352" y="787"/>
                    <a:pt x="377" y="798"/>
                    <a:pt x="403" y="807"/>
                  </a:cubicBezTo>
                  <a:cubicBezTo>
                    <a:pt x="429" y="817"/>
                    <a:pt x="438" y="827"/>
                    <a:pt x="439" y="855"/>
                  </a:cubicBezTo>
                  <a:cubicBezTo>
                    <a:pt x="439" y="869"/>
                    <a:pt x="439" y="884"/>
                    <a:pt x="439" y="898"/>
                  </a:cubicBezTo>
                  <a:cubicBezTo>
                    <a:pt x="474" y="898"/>
                    <a:pt x="505" y="898"/>
                    <a:pt x="537" y="898"/>
                  </a:cubicBezTo>
                  <a:cubicBezTo>
                    <a:pt x="537" y="883"/>
                    <a:pt x="537" y="871"/>
                    <a:pt x="537" y="858"/>
                  </a:cubicBezTo>
                  <a:cubicBezTo>
                    <a:pt x="538" y="828"/>
                    <a:pt x="548" y="817"/>
                    <a:pt x="577" y="806"/>
                  </a:cubicBezTo>
                  <a:cubicBezTo>
                    <a:pt x="602" y="797"/>
                    <a:pt x="626" y="787"/>
                    <a:pt x="650" y="776"/>
                  </a:cubicBezTo>
                  <a:cubicBezTo>
                    <a:pt x="677" y="763"/>
                    <a:pt x="690" y="764"/>
                    <a:pt x="711" y="785"/>
                  </a:cubicBezTo>
                  <a:cubicBezTo>
                    <a:pt x="721" y="794"/>
                    <a:pt x="729" y="805"/>
                    <a:pt x="737" y="813"/>
                  </a:cubicBezTo>
                  <a:cubicBezTo>
                    <a:pt x="762" y="787"/>
                    <a:pt x="785" y="765"/>
                    <a:pt x="809" y="7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Arial "/>
                <a:ea typeface="+mn-ea"/>
              </a:endParaRPr>
            </a:p>
          </p:txBody>
        </p:sp>
        <p:sp>
          <p:nvSpPr>
            <p:cNvPr id="45" name="Freeform 15">
              <a:extLst>
                <a:ext uri="{FF2B5EF4-FFF2-40B4-BE49-F238E27FC236}">
                  <a16:creationId xmlns:a16="http://schemas.microsoft.com/office/drawing/2014/main" id="{F771BF3F-EE7C-9C4A-AFFA-E9DB8EDA1273}"/>
                </a:ext>
              </a:extLst>
            </p:cNvPr>
            <p:cNvSpPr>
              <a:spLocks noEditPoints="1"/>
            </p:cNvSpPr>
            <p:nvPr/>
          </p:nvSpPr>
          <p:spPr bwMode="auto">
            <a:xfrm>
              <a:off x="-10694988" y="5006975"/>
              <a:ext cx="2355850" cy="1066800"/>
            </a:xfrm>
            <a:custGeom>
              <a:avLst/>
              <a:gdLst>
                <a:gd name="T0" fmla="*/ 583 w 1766"/>
                <a:gd name="T1" fmla="*/ 592 h 801"/>
                <a:gd name="T2" fmla="*/ 603 w 1766"/>
                <a:gd name="T3" fmla="*/ 628 h 801"/>
                <a:gd name="T4" fmla="*/ 589 w 1766"/>
                <a:gd name="T5" fmla="*/ 685 h 801"/>
                <a:gd name="T6" fmla="*/ 411 w 1766"/>
                <a:gd name="T7" fmla="*/ 789 h 801"/>
                <a:gd name="T8" fmla="*/ 353 w 1766"/>
                <a:gd name="T9" fmla="*/ 766 h 801"/>
                <a:gd name="T10" fmla="*/ 295 w 1766"/>
                <a:gd name="T11" fmla="*/ 666 h 801"/>
                <a:gd name="T12" fmla="*/ 19 w 1766"/>
                <a:gd name="T13" fmla="*/ 187 h 801"/>
                <a:gd name="T14" fmla="*/ 38 w 1766"/>
                <a:gd name="T15" fmla="*/ 116 h 801"/>
                <a:gd name="T16" fmla="*/ 193 w 1766"/>
                <a:gd name="T17" fmla="*/ 27 h 801"/>
                <a:gd name="T18" fmla="*/ 267 w 1766"/>
                <a:gd name="T19" fmla="*/ 47 h 801"/>
                <a:gd name="T20" fmla="*/ 522 w 1766"/>
                <a:gd name="T21" fmla="*/ 490 h 801"/>
                <a:gd name="T22" fmla="*/ 555 w 1766"/>
                <a:gd name="T23" fmla="*/ 509 h 801"/>
                <a:gd name="T24" fmla="*/ 1089 w 1766"/>
                <a:gd name="T25" fmla="*/ 508 h 801"/>
                <a:gd name="T26" fmla="*/ 1126 w 1766"/>
                <a:gd name="T27" fmla="*/ 498 h 801"/>
                <a:gd name="T28" fmla="*/ 1624 w 1766"/>
                <a:gd name="T29" fmla="*/ 195 h 801"/>
                <a:gd name="T30" fmla="*/ 1657 w 1766"/>
                <a:gd name="T31" fmla="*/ 169 h 801"/>
                <a:gd name="T32" fmla="*/ 1667 w 1766"/>
                <a:gd name="T33" fmla="*/ 119 h 801"/>
                <a:gd name="T34" fmla="*/ 1625 w 1766"/>
                <a:gd name="T35" fmla="*/ 91 h 801"/>
                <a:gd name="T36" fmla="*/ 1562 w 1766"/>
                <a:gd name="T37" fmla="*/ 105 h 801"/>
                <a:gd name="T38" fmla="*/ 1324 w 1766"/>
                <a:gd name="T39" fmla="*/ 225 h 801"/>
                <a:gd name="T40" fmla="*/ 1260 w 1766"/>
                <a:gd name="T41" fmla="*/ 198 h 801"/>
                <a:gd name="T42" fmla="*/ 1286 w 1766"/>
                <a:gd name="T43" fmla="*/ 152 h 801"/>
                <a:gd name="T44" fmla="*/ 1510 w 1766"/>
                <a:gd name="T45" fmla="*/ 38 h 801"/>
                <a:gd name="T46" fmla="*/ 1602 w 1766"/>
                <a:gd name="T47" fmla="*/ 8 h 801"/>
                <a:gd name="T48" fmla="*/ 1746 w 1766"/>
                <a:gd name="T49" fmla="*/ 93 h 801"/>
                <a:gd name="T50" fmla="*/ 1687 w 1766"/>
                <a:gd name="T51" fmla="*/ 254 h 801"/>
                <a:gd name="T52" fmla="*/ 1486 w 1766"/>
                <a:gd name="T53" fmla="*/ 377 h 801"/>
                <a:gd name="T54" fmla="*/ 1158 w 1766"/>
                <a:gd name="T55" fmla="*/ 576 h 801"/>
                <a:gd name="T56" fmla="*/ 1098 w 1766"/>
                <a:gd name="T57" fmla="*/ 592 h 801"/>
                <a:gd name="T58" fmla="*/ 610 w 1766"/>
                <a:gd name="T59" fmla="*/ 592 h 801"/>
                <a:gd name="T60" fmla="*/ 583 w 1766"/>
                <a:gd name="T61" fmla="*/ 592 h 801"/>
                <a:gd name="T62" fmla="*/ 511 w 1766"/>
                <a:gd name="T63" fmla="*/ 636 h 801"/>
                <a:gd name="T64" fmla="*/ 209 w 1766"/>
                <a:gd name="T65" fmla="*/ 113 h 801"/>
                <a:gd name="T66" fmla="*/ 107 w 1766"/>
                <a:gd name="T67" fmla="*/ 173 h 801"/>
                <a:gd name="T68" fmla="*/ 408 w 1766"/>
                <a:gd name="T69" fmla="*/ 695 h 801"/>
                <a:gd name="T70" fmla="*/ 511 w 1766"/>
                <a:gd name="T71" fmla="*/ 636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66" h="801">
                  <a:moveTo>
                    <a:pt x="583" y="592"/>
                  </a:moveTo>
                  <a:cubicBezTo>
                    <a:pt x="591" y="607"/>
                    <a:pt x="597" y="617"/>
                    <a:pt x="603" y="628"/>
                  </a:cubicBezTo>
                  <a:cubicBezTo>
                    <a:pt x="615" y="652"/>
                    <a:pt x="612" y="672"/>
                    <a:pt x="589" y="685"/>
                  </a:cubicBezTo>
                  <a:cubicBezTo>
                    <a:pt x="530" y="721"/>
                    <a:pt x="471" y="755"/>
                    <a:pt x="411" y="789"/>
                  </a:cubicBezTo>
                  <a:cubicBezTo>
                    <a:pt x="389" y="801"/>
                    <a:pt x="369" y="793"/>
                    <a:pt x="353" y="766"/>
                  </a:cubicBezTo>
                  <a:cubicBezTo>
                    <a:pt x="334" y="733"/>
                    <a:pt x="315" y="700"/>
                    <a:pt x="295" y="666"/>
                  </a:cubicBezTo>
                  <a:cubicBezTo>
                    <a:pt x="203" y="507"/>
                    <a:pt x="111" y="347"/>
                    <a:pt x="19" y="187"/>
                  </a:cubicBezTo>
                  <a:cubicBezTo>
                    <a:pt x="0" y="155"/>
                    <a:pt x="6" y="135"/>
                    <a:pt x="38" y="116"/>
                  </a:cubicBezTo>
                  <a:cubicBezTo>
                    <a:pt x="90" y="86"/>
                    <a:pt x="142" y="56"/>
                    <a:pt x="193" y="27"/>
                  </a:cubicBezTo>
                  <a:cubicBezTo>
                    <a:pt x="228" y="7"/>
                    <a:pt x="247" y="12"/>
                    <a:pt x="267" y="47"/>
                  </a:cubicBezTo>
                  <a:cubicBezTo>
                    <a:pt x="352" y="195"/>
                    <a:pt x="438" y="342"/>
                    <a:pt x="522" y="490"/>
                  </a:cubicBezTo>
                  <a:cubicBezTo>
                    <a:pt x="530" y="503"/>
                    <a:pt x="539" y="509"/>
                    <a:pt x="555" y="509"/>
                  </a:cubicBezTo>
                  <a:cubicBezTo>
                    <a:pt x="733" y="508"/>
                    <a:pt x="911" y="508"/>
                    <a:pt x="1089" y="508"/>
                  </a:cubicBezTo>
                  <a:cubicBezTo>
                    <a:pt x="1102" y="508"/>
                    <a:pt x="1116" y="504"/>
                    <a:pt x="1126" y="498"/>
                  </a:cubicBezTo>
                  <a:cubicBezTo>
                    <a:pt x="1293" y="397"/>
                    <a:pt x="1459" y="296"/>
                    <a:pt x="1624" y="195"/>
                  </a:cubicBezTo>
                  <a:cubicBezTo>
                    <a:pt x="1636" y="188"/>
                    <a:pt x="1648" y="179"/>
                    <a:pt x="1657" y="169"/>
                  </a:cubicBezTo>
                  <a:cubicBezTo>
                    <a:pt x="1671" y="155"/>
                    <a:pt x="1674" y="138"/>
                    <a:pt x="1667" y="119"/>
                  </a:cubicBezTo>
                  <a:cubicBezTo>
                    <a:pt x="1659" y="101"/>
                    <a:pt x="1644" y="90"/>
                    <a:pt x="1625" y="91"/>
                  </a:cubicBezTo>
                  <a:cubicBezTo>
                    <a:pt x="1604" y="92"/>
                    <a:pt x="1581" y="96"/>
                    <a:pt x="1562" y="105"/>
                  </a:cubicBezTo>
                  <a:cubicBezTo>
                    <a:pt x="1482" y="144"/>
                    <a:pt x="1403" y="185"/>
                    <a:pt x="1324" y="225"/>
                  </a:cubicBezTo>
                  <a:cubicBezTo>
                    <a:pt x="1294" y="240"/>
                    <a:pt x="1267" y="228"/>
                    <a:pt x="1260" y="198"/>
                  </a:cubicBezTo>
                  <a:cubicBezTo>
                    <a:pt x="1256" y="179"/>
                    <a:pt x="1265" y="163"/>
                    <a:pt x="1286" y="152"/>
                  </a:cubicBezTo>
                  <a:cubicBezTo>
                    <a:pt x="1361" y="113"/>
                    <a:pt x="1435" y="74"/>
                    <a:pt x="1510" y="38"/>
                  </a:cubicBezTo>
                  <a:cubicBezTo>
                    <a:pt x="1539" y="24"/>
                    <a:pt x="1571" y="11"/>
                    <a:pt x="1602" y="8"/>
                  </a:cubicBezTo>
                  <a:cubicBezTo>
                    <a:pt x="1671" y="0"/>
                    <a:pt x="1725" y="35"/>
                    <a:pt x="1746" y="93"/>
                  </a:cubicBezTo>
                  <a:cubicBezTo>
                    <a:pt x="1766" y="149"/>
                    <a:pt x="1743" y="217"/>
                    <a:pt x="1687" y="254"/>
                  </a:cubicBezTo>
                  <a:cubicBezTo>
                    <a:pt x="1621" y="297"/>
                    <a:pt x="1553" y="336"/>
                    <a:pt x="1486" y="377"/>
                  </a:cubicBezTo>
                  <a:cubicBezTo>
                    <a:pt x="1377" y="443"/>
                    <a:pt x="1267" y="509"/>
                    <a:pt x="1158" y="576"/>
                  </a:cubicBezTo>
                  <a:cubicBezTo>
                    <a:pt x="1139" y="588"/>
                    <a:pt x="1120" y="592"/>
                    <a:pt x="1098" y="592"/>
                  </a:cubicBezTo>
                  <a:cubicBezTo>
                    <a:pt x="936" y="592"/>
                    <a:pt x="773" y="592"/>
                    <a:pt x="610" y="592"/>
                  </a:cubicBezTo>
                  <a:cubicBezTo>
                    <a:pt x="602" y="592"/>
                    <a:pt x="595" y="592"/>
                    <a:pt x="583" y="592"/>
                  </a:cubicBezTo>
                  <a:close/>
                  <a:moveTo>
                    <a:pt x="511" y="636"/>
                  </a:moveTo>
                  <a:cubicBezTo>
                    <a:pt x="410" y="461"/>
                    <a:pt x="310" y="287"/>
                    <a:pt x="209" y="113"/>
                  </a:cubicBezTo>
                  <a:cubicBezTo>
                    <a:pt x="174" y="134"/>
                    <a:pt x="141" y="153"/>
                    <a:pt x="107" y="173"/>
                  </a:cubicBezTo>
                  <a:cubicBezTo>
                    <a:pt x="208" y="348"/>
                    <a:pt x="308" y="521"/>
                    <a:pt x="408" y="695"/>
                  </a:cubicBezTo>
                  <a:cubicBezTo>
                    <a:pt x="443" y="675"/>
                    <a:pt x="477" y="656"/>
                    <a:pt x="511" y="6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Arial "/>
                <a:ea typeface="+mn-ea"/>
              </a:endParaRPr>
            </a:p>
          </p:txBody>
        </p:sp>
        <p:sp>
          <p:nvSpPr>
            <p:cNvPr id="46" name="Freeform 16">
              <a:extLst>
                <a:ext uri="{FF2B5EF4-FFF2-40B4-BE49-F238E27FC236}">
                  <a16:creationId xmlns:a16="http://schemas.microsoft.com/office/drawing/2014/main" id="{230DDBA3-041C-334C-9B72-9B7212AE7CDD}"/>
                </a:ext>
              </a:extLst>
            </p:cNvPr>
            <p:cNvSpPr>
              <a:spLocks/>
            </p:cNvSpPr>
            <p:nvPr/>
          </p:nvSpPr>
          <p:spPr bwMode="auto">
            <a:xfrm>
              <a:off x="-10188575" y="4981575"/>
              <a:ext cx="1033463" cy="479425"/>
            </a:xfrm>
            <a:custGeom>
              <a:avLst/>
              <a:gdLst>
                <a:gd name="T0" fmla="*/ 504 w 774"/>
                <a:gd name="T1" fmla="*/ 360 h 361"/>
                <a:gd name="T2" fmla="*/ 360 w 774"/>
                <a:gd name="T3" fmla="*/ 360 h 361"/>
                <a:gd name="T4" fmla="*/ 319 w 774"/>
                <a:gd name="T5" fmla="*/ 319 h 361"/>
                <a:gd name="T6" fmla="*/ 362 w 774"/>
                <a:gd name="T7" fmla="*/ 278 h 361"/>
                <a:gd name="T8" fmla="*/ 380 w 774"/>
                <a:gd name="T9" fmla="*/ 278 h 361"/>
                <a:gd name="T10" fmla="*/ 634 w 774"/>
                <a:gd name="T11" fmla="*/ 277 h 361"/>
                <a:gd name="T12" fmla="*/ 676 w 774"/>
                <a:gd name="T13" fmla="*/ 261 h 361"/>
                <a:gd name="T14" fmla="*/ 681 w 774"/>
                <a:gd name="T15" fmla="*/ 221 h 361"/>
                <a:gd name="T16" fmla="*/ 646 w 774"/>
                <a:gd name="T17" fmla="*/ 199 h 361"/>
                <a:gd name="T18" fmla="*/ 510 w 774"/>
                <a:gd name="T19" fmla="*/ 199 h 361"/>
                <a:gd name="T20" fmla="*/ 449 w 774"/>
                <a:gd name="T21" fmla="*/ 199 h 361"/>
                <a:gd name="T22" fmla="*/ 409 w 774"/>
                <a:gd name="T23" fmla="*/ 183 h 361"/>
                <a:gd name="T24" fmla="*/ 73 w 774"/>
                <a:gd name="T25" fmla="*/ 148 h 361"/>
                <a:gd name="T26" fmla="*/ 13 w 774"/>
                <a:gd name="T27" fmla="*/ 135 h 361"/>
                <a:gd name="T28" fmla="*/ 33 w 774"/>
                <a:gd name="T29" fmla="*/ 75 h 361"/>
                <a:gd name="T30" fmla="*/ 443 w 774"/>
                <a:gd name="T31" fmla="*/ 105 h 361"/>
                <a:gd name="T32" fmla="*/ 477 w 774"/>
                <a:gd name="T33" fmla="*/ 117 h 361"/>
                <a:gd name="T34" fmla="*/ 643 w 774"/>
                <a:gd name="T35" fmla="*/ 116 h 361"/>
                <a:gd name="T36" fmla="*/ 767 w 774"/>
                <a:gd name="T37" fmla="*/ 221 h 361"/>
                <a:gd name="T38" fmla="*/ 673 w 774"/>
                <a:gd name="T39" fmla="*/ 356 h 361"/>
                <a:gd name="T40" fmla="*/ 634 w 774"/>
                <a:gd name="T41" fmla="*/ 360 h 361"/>
                <a:gd name="T42" fmla="*/ 504 w 774"/>
                <a:gd name="T43" fmla="*/ 360 h 361"/>
                <a:gd name="T44" fmla="*/ 504 w 774"/>
                <a:gd name="T45" fmla="*/ 36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74" h="361">
                  <a:moveTo>
                    <a:pt x="504" y="360"/>
                  </a:moveTo>
                  <a:cubicBezTo>
                    <a:pt x="456" y="360"/>
                    <a:pt x="408" y="361"/>
                    <a:pt x="360" y="360"/>
                  </a:cubicBezTo>
                  <a:cubicBezTo>
                    <a:pt x="336" y="359"/>
                    <a:pt x="319" y="340"/>
                    <a:pt x="319" y="319"/>
                  </a:cubicBezTo>
                  <a:cubicBezTo>
                    <a:pt x="319" y="297"/>
                    <a:pt x="337" y="279"/>
                    <a:pt x="362" y="278"/>
                  </a:cubicBezTo>
                  <a:cubicBezTo>
                    <a:pt x="368" y="278"/>
                    <a:pt x="374" y="278"/>
                    <a:pt x="380" y="278"/>
                  </a:cubicBezTo>
                  <a:cubicBezTo>
                    <a:pt x="464" y="278"/>
                    <a:pt x="549" y="278"/>
                    <a:pt x="634" y="277"/>
                  </a:cubicBezTo>
                  <a:cubicBezTo>
                    <a:pt x="648" y="277"/>
                    <a:pt x="667" y="271"/>
                    <a:pt x="676" y="261"/>
                  </a:cubicBezTo>
                  <a:cubicBezTo>
                    <a:pt x="684" y="253"/>
                    <a:pt x="683" y="234"/>
                    <a:pt x="681" y="221"/>
                  </a:cubicBezTo>
                  <a:cubicBezTo>
                    <a:pt x="678" y="204"/>
                    <a:pt x="661" y="199"/>
                    <a:pt x="646" y="199"/>
                  </a:cubicBezTo>
                  <a:cubicBezTo>
                    <a:pt x="601" y="198"/>
                    <a:pt x="556" y="199"/>
                    <a:pt x="510" y="199"/>
                  </a:cubicBezTo>
                  <a:cubicBezTo>
                    <a:pt x="490" y="199"/>
                    <a:pt x="469" y="202"/>
                    <a:pt x="449" y="199"/>
                  </a:cubicBezTo>
                  <a:cubicBezTo>
                    <a:pt x="435" y="198"/>
                    <a:pt x="420" y="192"/>
                    <a:pt x="409" y="183"/>
                  </a:cubicBezTo>
                  <a:cubicBezTo>
                    <a:pt x="319" y="105"/>
                    <a:pt x="183" y="82"/>
                    <a:pt x="73" y="148"/>
                  </a:cubicBezTo>
                  <a:cubicBezTo>
                    <a:pt x="49" y="162"/>
                    <a:pt x="25" y="157"/>
                    <a:pt x="13" y="135"/>
                  </a:cubicBezTo>
                  <a:cubicBezTo>
                    <a:pt x="0" y="113"/>
                    <a:pt x="7" y="90"/>
                    <a:pt x="33" y="75"/>
                  </a:cubicBezTo>
                  <a:cubicBezTo>
                    <a:pt x="163" y="0"/>
                    <a:pt x="321" y="12"/>
                    <a:pt x="443" y="105"/>
                  </a:cubicBezTo>
                  <a:cubicBezTo>
                    <a:pt x="452" y="112"/>
                    <a:pt x="466" y="117"/>
                    <a:pt x="477" y="117"/>
                  </a:cubicBezTo>
                  <a:cubicBezTo>
                    <a:pt x="533" y="118"/>
                    <a:pt x="588" y="116"/>
                    <a:pt x="643" y="116"/>
                  </a:cubicBezTo>
                  <a:cubicBezTo>
                    <a:pt x="711" y="117"/>
                    <a:pt x="759" y="159"/>
                    <a:pt x="767" y="221"/>
                  </a:cubicBezTo>
                  <a:cubicBezTo>
                    <a:pt x="774" y="283"/>
                    <a:pt x="736" y="339"/>
                    <a:pt x="673" y="356"/>
                  </a:cubicBezTo>
                  <a:cubicBezTo>
                    <a:pt x="661" y="359"/>
                    <a:pt x="647" y="360"/>
                    <a:pt x="634" y="360"/>
                  </a:cubicBezTo>
                  <a:cubicBezTo>
                    <a:pt x="591" y="361"/>
                    <a:pt x="547" y="360"/>
                    <a:pt x="504" y="360"/>
                  </a:cubicBezTo>
                  <a:cubicBezTo>
                    <a:pt x="504" y="360"/>
                    <a:pt x="504" y="360"/>
                    <a:pt x="504" y="3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Arial "/>
                <a:ea typeface="+mn-ea"/>
              </a:endParaRPr>
            </a:p>
          </p:txBody>
        </p:sp>
        <p:sp>
          <p:nvSpPr>
            <p:cNvPr id="47" name="Freeform 19">
              <a:extLst>
                <a:ext uri="{FF2B5EF4-FFF2-40B4-BE49-F238E27FC236}">
                  <a16:creationId xmlns:a16="http://schemas.microsoft.com/office/drawing/2014/main" id="{73F507D7-5A27-EB45-A596-798AA6B94BD8}"/>
                </a:ext>
              </a:extLst>
            </p:cNvPr>
            <p:cNvSpPr>
              <a:spLocks noEditPoints="1"/>
            </p:cNvSpPr>
            <p:nvPr/>
          </p:nvSpPr>
          <p:spPr bwMode="auto">
            <a:xfrm>
              <a:off x="-9388475" y="4125913"/>
              <a:ext cx="538163" cy="536575"/>
            </a:xfrm>
            <a:custGeom>
              <a:avLst/>
              <a:gdLst>
                <a:gd name="T0" fmla="*/ 0 w 403"/>
                <a:gd name="T1" fmla="*/ 202 h 404"/>
                <a:gd name="T2" fmla="*/ 201 w 403"/>
                <a:gd name="T3" fmla="*/ 1 h 404"/>
                <a:gd name="T4" fmla="*/ 402 w 403"/>
                <a:gd name="T5" fmla="*/ 200 h 404"/>
                <a:gd name="T6" fmla="*/ 203 w 403"/>
                <a:gd name="T7" fmla="*/ 403 h 404"/>
                <a:gd name="T8" fmla="*/ 0 w 403"/>
                <a:gd name="T9" fmla="*/ 202 h 404"/>
                <a:gd name="T10" fmla="*/ 199 w 403"/>
                <a:gd name="T11" fmla="*/ 84 h 404"/>
                <a:gd name="T12" fmla="*/ 83 w 403"/>
                <a:gd name="T13" fmla="*/ 204 h 404"/>
                <a:gd name="T14" fmla="*/ 206 w 403"/>
                <a:gd name="T15" fmla="*/ 321 h 404"/>
                <a:gd name="T16" fmla="*/ 320 w 403"/>
                <a:gd name="T17" fmla="*/ 198 h 404"/>
                <a:gd name="T18" fmla="*/ 199 w 403"/>
                <a:gd name="T19" fmla="*/ 8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3" h="404">
                  <a:moveTo>
                    <a:pt x="0" y="202"/>
                  </a:moveTo>
                  <a:cubicBezTo>
                    <a:pt x="0" y="92"/>
                    <a:pt x="90" y="1"/>
                    <a:pt x="201" y="1"/>
                  </a:cubicBezTo>
                  <a:cubicBezTo>
                    <a:pt x="312" y="0"/>
                    <a:pt x="402" y="89"/>
                    <a:pt x="402" y="200"/>
                  </a:cubicBezTo>
                  <a:cubicBezTo>
                    <a:pt x="403" y="313"/>
                    <a:pt x="314" y="403"/>
                    <a:pt x="203" y="403"/>
                  </a:cubicBezTo>
                  <a:cubicBezTo>
                    <a:pt x="91" y="404"/>
                    <a:pt x="0" y="313"/>
                    <a:pt x="0" y="202"/>
                  </a:cubicBezTo>
                  <a:close/>
                  <a:moveTo>
                    <a:pt x="199" y="84"/>
                  </a:moveTo>
                  <a:cubicBezTo>
                    <a:pt x="133" y="86"/>
                    <a:pt x="80" y="141"/>
                    <a:pt x="83" y="204"/>
                  </a:cubicBezTo>
                  <a:cubicBezTo>
                    <a:pt x="85" y="271"/>
                    <a:pt x="141" y="324"/>
                    <a:pt x="206" y="321"/>
                  </a:cubicBezTo>
                  <a:cubicBezTo>
                    <a:pt x="272" y="318"/>
                    <a:pt x="322" y="264"/>
                    <a:pt x="320" y="198"/>
                  </a:cubicBezTo>
                  <a:cubicBezTo>
                    <a:pt x="318" y="132"/>
                    <a:pt x="264" y="81"/>
                    <a:pt x="199"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Arial "/>
                <a:ea typeface="+mn-ea"/>
              </a:endParaRPr>
            </a:p>
          </p:txBody>
        </p:sp>
      </p:grpSp>
      <p:grpSp>
        <p:nvGrpSpPr>
          <p:cNvPr id="48" name="Group 47">
            <a:extLst>
              <a:ext uri="{FF2B5EF4-FFF2-40B4-BE49-F238E27FC236}">
                <a16:creationId xmlns:a16="http://schemas.microsoft.com/office/drawing/2014/main" id="{17FFA12B-B3E9-C343-A262-F5B62C04BCAF}"/>
              </a:ext>
            </a:extLst>
          </p:cNvPr>
          <p:cNvGrpSpPr>
            <a:grpSpLocks noChangeAspect="1"/>
          </p:cNvGrpSpPr>
          <p:nvPr/>
        </p:nvGrpSpPr>
        <p:grpSpPr>
          <a:xfrm>
            <a:off x="9495760" y="5043471"/>
            <a:ext cx="715447" cy="704850"/>
            <a:chOff x="13935076" y="1231900"/>
            <a:chExt cx="4394200" cy="4329113"/>
          </a:xfrm>
          <a:solidFill>
            <a:schemeClr val="accent2"/>
          </a:solidFill>
        </p:grpSpPr>
        <p:sp>
          <p:nvSpPr>
            <p:cNvPr id="49" name="Freeform 6">
              <a:extLst>
                <a:ext uri="{FF2B5EF4-FFF2-40B4-BE49-F238E27FC236}">
                  <a16:creationId xmlns:a16="http://schemas.microsoft.com/office/drawing/2014/main" id="{3B1CEF2D-84C9-894F-A377-C1EE952AF7BD}"/>
                </a:ext>
              </a:extLst>
            </p:cNvPr>
            <p:cNvSpPr>
              <a:spLocks noEditPoints="1"/>
            </p:cNvSpPr>
            <p:nvPr/>
          </p:nvSpPr>
          <p:spPr bwMode="auto">
            <a:xfrm>
              <a:off x="14938376" y="2219325"/>
              <a:ext cx="2335213" cy="2338388"/>
            </a:xfrm>
            <a:custGeom>
              <a:avLst/>
              <a:gdLst>
                <a:gd name="T0" fmla="*/ 1055 w 1079"/>
                <a:gd name="T1" fmla="*/ 442 h 1083"/>
                <a:gd name="T2" fmla="*/ 981 w 1079"/>
                <a:gd name="T3" fmla="*/ 488 h 1083"/>
                <a:gd name="T4" fmla="*/ 993 w 1079"/>
                <a:gd name="T5" fmla="*/ 623 h 1083"/>
                <a:gd name="T6" fmla="*/ 1069 w 1079"/>
                <a:gd name="T7" fmla="*/ 687 h 1083"/>
                <a:gd name="T8" fmla="*/ 976 w 1079"/>
                <a:gd name="T9" fmla="*/ 823 h 1083"/>
                <a:gd name="T10" fmla="*/ 896 w 1079"/>
                <a:gd name="T11" fmla="*/ 807 h 1083"/>
                <a:gd name="T12" fmla="*/ 802 w 1079"/>
                <a:gd name="T13" fmla="*/ 919 h 1083"/>
                <a:gd name="T14" fmla="*/ 807 w 1079"/>
                <a:gd name="T15" fmla="*/ 1016 h 1083"/>
                <a:gd name="T16" fmla="*/ 647 w 1079"/>
                <a:gd name="T17" fmla="*/ 1045 h 1083"/>
                <a:gd name="T18" fmla="*/ 607 w 1079"/>
                <a:gd name="T19" fmla="*/ 979 h 1083"/>
                <a:gd name="T20" fmla="*/ 450 w 1079"/>
                <a:gd name="T21" fmla="*/ 992 h 1083"/>
                <a:gd name="T22" fmla="*/ 380 w 1079"/>
                <a:gd name="T23" fmla="*/ 1075 h 1083"/>
                <a:gd name="T24" fmla="*/ 249 w 1079"/>
                <a:gd name="T25" fmla="*/ 979 h 1083"/>
                <a:gd name="T26" fmla="*/ 275 w 1079"/>
                <a:gd name="T27" fmla="*/ 890 h 1083"/>
                <a:gd name="T28" fmla="*/ 171 w 1079"/>
                <a:gd name="T29" fmla="*/ 800 h 1083"/>
                <a:gd name="T30" fmla="*/ 66 w 1079"/>
                <a:gd name="T31" fmla="*/ 804 h 1083"/>
                <a:gd name="T32" fmla="*/ 42 w 1079"/>
                <a:gd name="T33" fmla="*/ 646 h 1083"/>
                <a:gd name="T34" fmla="*/ 113 w 1079"/>
                <a:gd name="T35" fmla="*/ 603 h 1083"/>
                <a:gd name="T36" fmla="*/ 103 w 1079"/>
                <a:gd name="T37" fmla="*/ 451 h 1083"/>
                <a:gd name="T38" fmla="*/ 9 w 1079"/>
                <a:gd name="T39" fmla="*/ 375 h 1083"/>
                <a:gd name="T40" fmla="*/ 105 w 1079"/>
                <a:gd name="T41" fmla="*/ 245 h 1083"/>
                <a:gd name="T42" fmla="*/ 207 w 1079"/>
                <a:gd name="T43" fmla="*/ 274 h 1083"/>
                <a:gd name="T44" fmla="*/ 298 w 1079"/>
                <a:gd name="T45" fmla="*/ 167 h 1083"/>
                <a:gd name="T46" fmla="*/ 289 w 1079"/>
                <a:gd name="T47" fmla="*/ 62 h 1083"/>
                <a:gd name="T48" fmla="*/ 449 w 1079"/>
                <a:gd name="T49" fmla="*/ 32 h 1083"/>
                <a:gd name="T50" fmla="*/ 498 w 1079"/>
                <a:gd name="T51" fmla="*/ 114 h 1083"/>
                <a:gd name="T52" fmla="*/ 630 w 1079"/>
                <a:gd name="T53" fmla="*/ 103 h 1083"/>
                <a:gd name="T54" fmla="*/ 705 w 1079"/>
                <a:gd name="T55" fmla="*/ 9 h 1083"/>
                <a:gd name="T56" fmla="*/ 837 w 1079"/>
                <a:gd name="T57" fmla="*/ 100 h 1083"/>
                <a:gd name="T58" fmla="*/ 814 w 1079"/>
                <a:gd name="T59" fmla="*/ 201 h 1083"/>
                <a:gd name="T60" fmla="*/ 929 w 1079"/>
                <a:gd name="T61" fmla="*/ 295 h 1083"/>
                <a:gd name="T62" fmla="*/ 1028 w 1079"/>
                <a:gd name="T63" fmla="*/ 290 h 1083"/>
                <a:gd name="T64" fmla="*/ 1079 w 1079"/>
                <a:gd name="T65" fmla="*/ 421 h 1083"/>
                <a:gd name="T66" fmla="*/ 535 w 1079"/>
                <a:gd name="T67" fmla="*/ 281 h 1083"/>
                <a:gd name="T68" fmla="*/ 552 w 1079"/>
                <a:gd name="T69" fmla="*/ 818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9" h="1083">
                  <a:moveTo>
                    <a:pt x="1079" y="421"/>
                  </a:moveTo>
                  <a:cubicBezTo>
                    <a:pt x="1072" y="427"/>
                    <a:pt x="1065" y="437"/>
                    <a:pt x="1055" y="442"/>
                  </a:cubicBezTo>
                  <a:cubicBezTo>
                    <a:pt x="1036" y="451"/>
                    <a:pt x="1015" y="459"/>
                    <a:pt x="994" y="466"/>
                  </a:cubicBezTo>
                  <a:cubicBezTo>
                    <a:pt x="983" y="470"/>
                    <a:pt x="980" y="477"/>
                    <a:pt x="981" y="488"/>
                  </a:cubicBezTo>
                  <a:cubicBezTo>
                    <a:pt x="982" y="526"/>
                    <a:pt x="982" y="564"/>
                    <a:pt x="981" y="602"/>
                  </a:cubicBezTo>
                  <a:cubicBezTo>
                    <a:pt x="981" y="613"/>
                    <a:pt x="982" y="619"/>
                    <a:pt x="993" y="623"/>
                  </a:cubicBezTo>
                  <a:cubicBezTo>
                    <a:pt x="1013" y="631"/>
                    <a:pt x="1032" y="641"/>
                    <a:pt x="1051" y="649"/>
                  </a:cubicBezTo>
                  <a:cubicBezTo>
                    <a:pt x="1070" y="656"/>
                    <a:pt x="1076" y="670"/>
                    <a:pt x="1069" y="687"/>
                  </a:cubicBezTo>
                  <a:cubicBezTo>
                    <a:pt x="1052" y="729"/>
                    <a:pt x="1034" y="771"/>
                    <a:pt x="1015" y="812"/>
                  </a:cubicBezTo>
                  <a:cubicBezTo>
                    <a:pt x="1008" y="828"/>
                    <a:pt x="992" y="830"/>
                    <a:pt x="976" y="823"/>
                  </a:cubicBezTo>
                  <a:cubicBezTo>
                    <a:pt x="958" y="816"/>
                    <a:pt x="940" y="809"/>
                    <a:pt x="923" y="801"/>
                  </a:cubicBezTo>
                  <a:cubicBezTo>
                    <a:pt x="911" y="795"/>
                    <a:pt x="905" y="797"/>
                    <a:pt x="896" y="807"/>
                  </a:cubicBezTo>
                  <a:cubicBezTo>
                    <a:pt x="868" y="837"/>
                    <a:pt x="838" y="866"/>
                    <a:pt x="808" y="894"/>
                  </a:cubicBezTo>
                  <a:cubicBezTo>
                    <a:pt x="800" y="902"/>
                    <a:pt x="796" y="908"/>
                    <a:pt x="802" y="919"/>
                  </a:cubicBezTo>
                  <a:cubicBezTo>
                    <a:pt x="810" y="939"/>
                    <a:pt x="817" y="959"/>
                    <a:pt x="824" y="979"/>
                  </a:cubicBezTo>
                  <a:cubicBezTo>
                    <a:pt x="831" y="997"/>
                    <a:pt x="824" y="1009"/>
                    <a:pt x="807" y="1016"/>
                  </a:cubicBezTo>
                  <a:cubicBezTo>
                    <a:pt x="767" y="1032"/>
                    <a:pt x="727" y="1047"/>
                    <a:pt x="686" y="1063"/>
                  </a:cubicBezTo>
                  <a:cubicBezTo>
                    <a:pt x="666" y="1070"/>
                    <a:pt x="655" y="1065"/>
                    <a:pt x="647" y="1045"/>
                  </a:cubicBezTo>
                  <a:cubicBezTo>
                    <a:pt x="639" y="1027"/>
                    <a:pt x="632" y="1008"/>
                    <a:pt x="624" y="990"/>
                  </a:cubicBezTo>
                  <a:cubicBezTo>
                    <a:pt x="621" y="985"/>
                    <a:pt x="613" y="979"/>
                    <a:pt x="607" y="979"/>
                  </a:cubicBezTo>
                  <a:cubicBezTo>
                    <a:pt x="562" y="978"/>
                    <a:pt x="518" y="979"/>
                    <a:pt x="473" y="977"/>
                  </a:cubicBezTo>
                  <a:cubicBezTo>
                    <a:pt x="460" y="977"/>
                    <a:pt x="454" y="979"/>
                    <a:pt x="450" y="992"/>
                  </a:cubicBezTo>
                  <a:cubicBezTo>
                    <a:pt x="442" y="1014"/>
                    <a:pt x="432" y="1036"/>
                    <a:pt x="422" y="1058"/>
                  </a:cubicBezTo>
                  <a:cubicBezTo>
                    <a:pt x="413" y="1078"/>
                    <a:pt x="400" y="1083"/>
                    <a:pt x="380" y="1075"/>
                  </a:cubicBezTo>
                  <a:cubicBezTo>
                    <a:pt x="342" y="1059"/>
                    <a:pt x="304" y="1042"/>
                    <a:pt x="267" y="1025"/>
                  </a:cubicBezTo>
                  <a:cubicBezTo>
                    <a:pt x="243" y="1015"/>
                    <a:pt x="239" y="1003"/>
                    <a:pt x="249" y="979"/>
                  </a:cubicBezTo>
                  <a:cubicBezTo>
                    <a:pt x="259" y="956"/>
                    <a:pt x="270" y="933"/>
                    <a:pt x="279" y="910"/>
                  </a:cubicBezTo>
                  <a:cubicBezTo>
                    <a:pt x="281" y="904"/>
                    <a:pt x="279" y="895"/>
                    <a:pt x="275" y="890"/>
                  </a:cubicBezTo>
                  <a:cubicBezTo>
                    <a:pt x="248" y="861"/>
                    <a:pt x="221" y="833"/>
                    <a:pt x="193" y="806"/>
                  </a:cubicBezTo>
                  <a:cubicBezTo>
                    <a:pt x="188" y="801"/>
                    <a:pt x="178" y="798"/>
                    <a:pt x="171" y="800"/>
                  </a:cubicBezTo>
                  <a:cubicBezTo>
                    <a:pt x="150" y="806"/>
                    <a:pt x="130" y="815"/>
                    <a:pt x="110" y="823"/>
                  </a:cubicBezTo>
                  <a:cubicBezTo>
                    <a:pt x="86" y="832"/>
                    <a:pt x="75" y="827"/>
                    <a:pt x="66" y="804"/>
                  </a:cubicBezTo>
                  <a:cubicBezTo>
                    <a:pt x="51" y="766"/>
                    <a:pt x="36" y="729"/>
                    <a:pt x="22" y="691"/>
                  </a:cubicBezTo>
                  <a:cubicBezTo>
                    <a:pt x="13" y="666"/>
                    <a:pt x="18" y="656"/>
                    <a:pt x="42" y="646"/>
                  </a:cubicBezTo>
                  <a:cubicBezTo>
                    <a:pt x="61" y="638"/>
                    <a:pt x="80" y="630"/>
                    <a:pt x="100" y="623"/>
                  </a:cubicBezTo>
                  <a:cubicBezTo>
                    <a:pt x="110" y="620"/>
                    <a:pt x="113" y="614"/>
                    <a:pt x="113" y="603"/>
                  </a:cubicBezTo>
                  <a:cubicBezTo>
                    <a:pt x="113" y="560"/>
                    <a:pt x="114" y="516"/>
                    <a:pt x="117" y="473"/>
                  </a:cubicBezTo>
                  <a:cubicBezTo>
                    <a:pt x="117" y="462"/>
                    <a:pt x="115" y="455"/>
                    <a:pt x="103" y="451"/>
                  </a:cubicBezTo>
                  <a:cubicBezTo>
                    <a:pt x="77" y="440"/>
                    <a:pt x="52" y="429"/>
                    <a:pt x="26" y="418"/>
                  </a:cubicBezTo>
                  <a:cubicBezTo>
                    <a:pt x="5" y="409"/>
                    <a:pt x="0" y="396"/>
                    <a:pt x="9" y="375"/>
                  </a:cubicBezTo>
                  <a:cubicBezTo>
                    <a:pt x="25" y="338"/>
                    <a:pt x="41" y="300"/>
                    <a:pt x="58" y="263"/>
                  </a:cubicBezTo>
                  <a:cubicBezTo>
                    <a:pt x="69" y="238"/>
                    <a:pt x="78" y="235"/>
                    <a:pt x="105" y="245"/>
                  </a:cubicBezTo>
                  <a:cubicBezTo>
                    <a:pt x="131" y="256"/>
                    <a:pt x="158" y="267"/>
                    <a:pt x="184" y="279"/>
                  </a:cubicBezTo>
                  <a:cubicBezTo>
                    <a:pt x="194" y="284"/>
                    <a:pt x="199" y="282"/>
                    <a:pt x="207" y="274"/>
                  </a:cubicBezTo>
                  <a:cubicBezTo>
                    <a:pt x="235" y="246"/>
                    <a:pt x="262" y="218"/>
                    <a:pt x="292" y="192"/>
                  </a:cubicBezTo>
                  <a:cubicBezTo>
                    <a:pt x="301" y="184"/>
                    <a:pt x="302" y="178"/>
                    <a:pt x="298" y="167"/>
                  </a:cubicBezTo>
                  <a:cubicBezTo>
                    <a:pt x="288" y="145"/>
                    <a:pt x="280" y="122"/>
                    <a:pt x="272" y="100"/>
                  </a:cubicBezTo>
                  <a:cubicBezTo>
                    <a:pt x="265" y="82"/>
                    <a:pt x="271" y="69"/>
                    <a:pt x="289" y="62"/>
                  </a:cubicBezTo>
                  <a:cubicBezTo>
                    <a:pt x="329" y="45"/>
                    <a:pt x="369" y="29"/>
                    <a:pt x="409" y="14"/>
                  </a:cubicBezTo>
                  <a:cubicBezTo>
                    <a:pt x="429" y="7"/>
                    <a:pt x="440" y="12"/>
                    <a:pt x="449" y="32"/>
                  </a:cubicBezTo>
                  <a:cubicBezTo>
                    <a:pt x="458" y="55"/>
                    <a:pt x="468" y="78"/>
                    <a:pt x="476" y="101"/>
                  </a:cubicBezTo>
                  <a:cubicBezTo>
                    <a:pt x="480" y="111"/>
                    <a:pt x="487" y="114"/>
                    <a:pt x="498" y="114"/>
                  </a:cubicBezTo>
                  <a:cubicBezTo>
                    <a:pt x="535" y="113"/>
                    <a:pt x="572" y="113"/>
                    <a:pt x="609" y="115"/>
                  </a:cubicBezTo>
                  <a:cubicBezTo>
                    <a:pt x="621" y="116"/>
                    <a:pt x="626" y="112"/>
                    <a:pt x="630" y="103"/>
                  </a:cubicBezTo>
                  <a:cubicBezTo>
                    <a:pt x="641" y="76"/>
                    <a:pt x="652" y="50"/>
                    <a:pt x="664" y="24"/>
                  </a:cubicBezTo>
                  <a:cubicBezTo>
                    <a:pt x="673" y="5"/>
                    <a:pt x="685" y="0"/>
                    <a:pt x="705" y="9"/>
                  </a:cubicBezTo>
                  <a:cubicBezTo>
                    <a:pt x="743" y="25"/>
                    <a:pt x="782" y="42"/>
                    <a:pt x="820" y="59"/>
                  </a:cubicBezTo>
                  <a:cubicBezTo>
                    <a:pt x="840" y="67"/>
                    <a:pt x="845" y="79"/>
                    <a:pt x="837" y="100"/>
                  </a:cubicBezTo>
                  <a:cubicBezTo>
                    <a:pt x="828" y="125"/>
                    <a:pt x="818" y="150"/>
                    <a:pt x="806" y="174"/>
                  </a:cubicBezTo>
                  <a:cubicBezTo>
                    <a:pt x="801" y="186"/>
                    <a:pt x="805" y="192"/>
                    <a:pt x="814" y="201"/>
                  </a:cubicBezTo>
                  <a:cubicBezTo>
                    <a:pt x="843" y="229"/>
                    <a:pt x="871" y="257"/>
                    <a:pt x="899" y="287"/>
                  </a:cubicBezTo>
                  <a:cubicBezTo>
                    <a:pt x="908" y="298"/>
                    <a:pt x="916" y="301"/>
                    <a:pt x="929" y="295"/>
                  </a:cubicBezTo>
                  <a:cubicBezTo>
                    <a:pt x="948" y="286"/>
                    <a:pt x="968" y="279"/>
                    <a:pt x="987" y="272"/>
                  </a:cubicBezTo>
                  <a:cubicBezTo>
                    <a:pt x="1010" y="264"/>
                    <a:pt x="1019" y="268"/>
                    <a:pt x="1028" y="290"/>
                  </a:cubicBezTo>
                  <a:cubicBezTo>
                    <a:pt x="1043" y="327"/>
                    <a:pt x="1058" y="364"/>
                    <a:pt x="1072" y="401"/>
                  </a:cubicBezTo>
                  <a:cubicBezTo>
                    <a:pt x="1074" y="406"/>
                    <a:pt x="1075" y="411"/>
                    <a:pt x="1079" y="421"/>
                  </a:cubicBezTo>
                  <a:close/>
                  <a:moveTo>
                    <a:pt x="817" y="550"/>
                  </a:moveTo>
                  <a:cubicBezTo>
                    <a:pt x="819" y="401"/>
                    <a:pt x="693" y="276"/>
                    <a:pt x="535" y="281"/>
                  </a:cubicBezTo>
                  <a:cubicBezTo>
                    <a:pt x="395" y="286"/>
                    <a:pt x="280" y="407"/>
                    <a:pt x="281" y="555"/>
                  </a:cubicBezTo>
                  <a:cubicBezTo>
                    <a:pt x="282" y="699"/>
                    <a:pt x="405" y="819"/>
                    <a:pt x="552" y="818"/>
                  </a:cubicBezTo>
                  <a:cubicBezTo>
                    <a:pt x="696" y="816"/>
                    <a:pt x="818" y="694"/>
                    <a:pt x="817"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50" name="Freeform 7">
              <a:extLst>
                <a:ext uri="{FF2B5EF4-FFF2-40B4-BE49-F238E27FC236}">
                  <a16:creationId xmlns:a16="http://schemas.microsoft.com/office/drawing/2014/main" id="{978D8786-26C8-3A4F-B368-33BB846ABE03}"/>
                </a:ext>
              </a:extLst>
            </p:cNvPr>
            <p:cNvSpPr>
              <a:spLocks/>
            </p:cNvSpPr>
            <p:nvPr/>
          </p:nvSpPr>
          <p:spPr bwMode="auto">
            <a:xfrm>
              <a:off x="14805026" y="5038725"/>
              <a:ext cx="1081088" cy="463550"/>
            </a:xfrm>
            <a:custGeom>
              <a:avLst/>
              <a:gdLst>
                <a:gd name="T0" fmla="*/ 0 w 499"/>
                <a:gd name="T1" fmla="*/ 1 h 215"/>
                <a:gd name="T2" fmla="*/ 89 w 499"/>
                <a:gd name="T3" fmla="*/ 1 h 215"/>
                <a:gd name="T4" fmla="*/ 107 w 499"/>
                <a:gd name="T5" fmla="*/ 8 h 215"/>
                <a:gd name="T6" fmla="*/ 478 w 499"/>
                <a:gd name="T7" fmla="*/ 147 h 215"/>
                <a:gd name="T8" fmla="*/ 498 w 499"/>
                <a:gd name="T9" fmla="*/ 170 h 215"/>
                <a:gd name="T10" fmla="*/ 497 w 499"/>
                <a:gd name="T11" fmla="*/ 215 h 215"/>
                <a:gd name="T12" fmla="*/ 0 w 499"/>
                <a:gd name="T13" fmla="*/ 1 h 215"/>
              </a:gdLst>
              <a:ahLst/>
              <a:cxnLst>
                <a:cxn ang="0">
                  <a:pos x="T0" y="T1"/>
                </a:cxn>
                <a:cxn ang="0">
                  <a:pos x="T2" y="T3"/>
                </a:cxn>
                <a:cxn ang="0">
                  <a:pos x="T4" y="T5"/>
                </a:cxn>
                <a:cxn ang="0">
                  <a:pos x="T6" y="T7"/>
                </a:cxn>
                <a:cxn ang="0">
                  <a:pos x="T8" y="T9"/>
                </a:cxn>
                <a:cxn ang="0">
                  <a:pos x="T10" y="T11"/>
                </a:cxn>
                <a:cxn ang="0">
                  <a:pos x="T12" y="T13"/>
                </a:cxn>
              </a:cxnLst>
              <a:rect l="0" t="0" r="r" b="b"/>
              <a:pathLst>
                <a:path w="499" h="215">
                  <a:moveTo>
                    <a:pt x="0" y="1"/>
                  </a:moveTo>
                  <a:cubicBezTo>
                    <a:pt x="30" y="1"/>
                    <a:pt x="59" y="0"/>
                    <a:pt x="89" y="1"/>
                  </a:cubicBezTo>
                  <a:cubicBezTo>
                    <a:pt x="95" y="1"/>
                    <a:pt x="102" y="5"/>
                    <a:pt x="107" y="8"/>
                  </a:cubicBezTo>
                  <a:cubicBezTo>
                    <a:pt x="221" y="81"/>
                    <a:pt x="345" y="126"/>
                    <a:pt x="478" y="147"/>
                  </a:cubicBezTo>
                  <a:cubicBezTo>
                    <a:pt x="492" y="150"/>
                    <a:pt x="499" y="154"/>
                    <a:pt x="498" y="170"/>
                  </a:cubicBezTo>
                  <a:cubicBezTo>
                    <a:pt x="496" y="184"/>
                    <a:pt x="497" y="199"/>
                    <a:pt x="497" y="215"/>
                  </a:cubicBezTo>
                  <a:cubicBezTo>
                    <a:pt x="310" y="191"/>
                    <a:pt x="144" y="12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51" name="Freeform 8">
              <a:extLst>
                <a:ext uri="{FF2B5EF4-FFF2-40B4-BE49-F238E27FC236}">
                  <a16:creationId xmlns:a16="http://schemas.microsoft.com/office/drawing/2014/main" id="{F3A57986-26D2-4842-A1FA-D3DD88ED9940}"/>
                </a:ext>
              </a:extLst>
            </p:cNvPr>
            <p:cNvSpPr>
              <a:spLocks/>
            </p:cNvSpPr>
            <p:nvPr/>
          </p:nvSpPr>
          <p:spPr bwMode="auto">
            <a:xfrm>
              <a:off x="14814551" y="1292225"/>
              <a:ext cx="1065213" cy="449263"/>
            </a:xfrm>
            <a:custGeom>
              <a:avLst/>
              <a:gdLst>
                <a:gd name="T0" fmla="*/ 0 w 492"/>
                <a:gd name="T1" fmla="*/ 207 h 208"/>
                <a:gd name="T2" fmla="*/ 492 w 492"/>
                <a:gd name="T3" fmla="*/ 0 h 208"/>
                <a:gd name="T4" fmla="*/ 492 w 492"/>
                <a:gd name="T5" fmla="*/ 60 h 208"/>
                <a:gd name="T6" fmla="*/ 351 w 492"/>
                <a:gd name="T7" fmla="*/ 92 h 208"/>
                <a:gd name="T8" fmla="*/ 122 w 492"/>
                <a:gd name="T9" fmla="*/ 193 h 208"/>
                <a:gd name="T10" fmla="*/ 74 w 492"/>
                <a:gd name="T11" fmla="*/ 207 h 208"/>
                <a:gd name="T12" fmla="*/ 0 w 492"/>
                <a:gd name="T13" fmla="*/ 207 h 208"/>
              </a:gdLst>
              <a:ahLst/>
              <a:cxnLst>
                <a:cxn ang="0">
                  <a:pos x="T0" y="T1"/>
                </a:cxn>
                <a:cxn ang="0">
                  <a:pos x="T2" y="T3"/>
                </a:cxn>
                <a:cxn ang="0">
                  <a:pos x="T4" y="T5"/>
                </a:cxn>
                <a:cxn ang="0">
                  <a:pos x="T6" y="T7"/>
                </a:cxn>
                <a:cxn ang="0">
                  <a:pos x="T8" y="T9"/>
                </a:cxn>
                <a:cxn ang="0">
                  <a:pos x="T10" y="T11"/>
                </a:cxn>
                <a:cxn ang="0">
                  <a:pos x="T12" y="T13"/>
                </a:cxn>
              </a:cxnLst>
              <a:rect l="0" t="0" r="r" b="b"/>
              <a:pathLst>
                <a:path w="492" h="208">
                  <a:moveTo>
                    <a:pt x="0" y="207"/>
                  </a:moveTo>
                  <a:cubicBezTo>
                    <a:pt x="92" y="126"/>
                    <a:pt x="276" y="24"/>
                    <a:pt x="492" y="0"/>
                  </a:cubicBezTo>
                  <a:cubicBezTo>
                    <a:pt x="492" y="20"/>
                    <a:pt x="492" y="40"/>
                    <a:pt x="492" y="60"/>
                  </a:cubicBezTo>
                  <a:cubicBezTo>
                    <a:pt x="445" y="71"/>
                    <a:pt x="397" y="79"/>
                    <a:pt x="351" y="92"/>
                  </a:cubicBezTo>
                  <a:cubicBezTo>
                    <a:pt x="270" y="115"/>
                    <a:pt x="193" y="147"/>
                    <a:pt x="122" y="193"/>
                  </a:cubicBezTo>
                  <a:cubicBezTo>
                    <a:pt x="107" y="203"/>
                    <a:pt x="92" y="208"/>
                    <a:pt x="74" y="207"/>
                  </a:cubicBezTo>
                  <a:cubicBezTo>
                    <a:pt x="51" y="206"/>
                    <a:pt x="28" y="207"/>
                    <a:pt x="0"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53" name="Freeform 9">
              <a:extLst>
                <a:ext uri="{FF2B5EF4-FFF2-40B4-BE49-F238E27FC236}">
                  <a16:creationId xmlns:a16="http://schemas.microsoft.com/office/drawing/2014/main" id="{38CEAFCB-0D61-FE47-B2D8-3881BB6CF377}"/>
                </a:ext>
              </a:extLst>
            </p:cNvPr>
            <p:cNvSpPr>
              <a:spLocks/>
            </p:cNvSpPr>
            <p:nvPr/>
          </p:nvSpPr>
          <p:spPr bwMode="auto">
            <a:xfrm>
              <a:off x="16373476" y="5043488"/>
              <a:ext cx="1082675" cy="457200"/>
            </a:xfrm>
            <a:custGeom>
              <a:avLst/>
              <a:gdLst>
                <a:gd name="T0" fmla="*/ 2 w 500"/>
                <a:gd name="T1" fmla="*/ 212 h 212"/>
                <a:gd name="T2" fmla="*/ 1 w 500"/>
                <a:gd name="T3" fmla="*/ 198 h 212"/>
                <a:gd name="T4" fmla="*/ 1 w 500"/>
                <a:gd name="T5" fmla="*/ 154 h 212"/>
                <a:gd name="T6" fmla="*/ 166 w 500"/>
                <a:gd name="T7" fmla="*/ 113 h 212"/>
                <a:gd name="T8" fmla="*/ 377 w 500"/>
                <a:gd name="T9" fmla="*/ 14 h 212"/>
                <a:gd name="T10" fmla="*/ 424 w 500"/>
                <a:gd name="T11" fmla="*/ 1 h 212"/>
                <a:gd name="T12" fmla="*/ 500 w 500"/>
                <a:gd name="T13" fmla="*/ 1 h 212"/>
                <a:gd name="T14" fmla="*/ 2 w 500"/>
                <a:gd name="T15" fmla="*/ 212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0" h="212">
                  <a:moveTo>
                    <a:pt x="2" y="212"/>
                  </a:moveTo>
                  <a:cubicBezTo>
                    <a:pt x="1" y="207"/>
                    <a:pt x="1" y="202"/>
                    <a:pt x="1" y="198"/>
                  </a:cubicBezTo>
                  <a:cubicBezTo>
                    <a:pt x="0" y="182"/>
                    <a:pt x="1" y="167"/>
                    <a:pt x="1" y="154"/>
                  </a:cubicBezTo>
                  <a:cubicBezTo>
                    <a:pt x="57" y="140"/>
                    <a:pt x="113" y="129"/>
                    <a:pt x="166" y="113"/>
                  </a:cubicBezTo>
                  <a:cubicBezTo>
                    <a:pt x="241" y="90"/>
                    <a:pt x="311" y="57"/>
                    <a:pt x="377" y="14"/>
                  </a:cubicBezTo>
                  <a:cubicBezTo>
                    <a:pt x="392" y="5"/>
                    <a:pt x="406" y="0"/>
                    <a:pt x="424" y="1"/>
                  </a:cubicBezTo>
                  <a:cubicBezTo>
                    <a:pt x="448" y="2"/>
                    <a:pt x="472" y="1"/>
                    <a:pt x="500" y="1"/>
                  </a:cubicBezTo>
                  <a:cubicBezTo>
                    <a:pt x="353" y="119"/>
                    <a:pt x="187" y="189"/>
                    <a:pt x="2"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55" name="Freeform 10">
              <a:extLst>
                <a:ext uri="{FF2B5EF4-FFF2-40B4-BE49-F238E27FC236}">
                  <a16:creationId xmlns:a16="http://schemas.microsoft.com/office/drawing/2014/main" id="{7A19A94F-528E-1C4B-9F69-D72D27FD7D65}"/>
                </a:ext>
              </a:extLst>
            </p:cNvPr>
            <p:cNvSpPr>
              <a:spLocks/>
            </p:cNvSpPr>
            <p:nvPr/>
          </p:nvSpPr>
          <p:spPr bwMode="auto">
            <a:xfrm>
              <a:off x="16378238" y="1290638"/>
              <a:ext cx="1054100" cy="471488"/>
            </a:xfrm>
            <a:custGeom>
              <a:avLst/>
              <a:gdLst>
                <a:gd name="T0" fmla="*/ 0 w 487"/>
                <a:gd name="T1" fmla="*/ 62 h 218"/>
                <a:gd name="T2" fmla="*/ 0 w 487"/>
                <a:gd name="T3" fmla="*/ 15 h 218"/>
                <a:gd name="T4" fmla="*/ 1 w 487"/>
                <a:gd name="T5" fmla="*/ 0 h 218"/>
                <a:gd name="T6" fmla="*/ 487 w 487"/>
                <a:gd name="T7" fmla="*/ 206 h 218"/>
                <a:gd name="T8" fmla="*/ 360 w 487"/>
                <a:gd name="T9" fmla="*/ 190 h 218"/>
                <a:gd name="T10" fmla="*/ 24 w 487"/>
                <a:gd name="T11" fmla="*/ 67 h 218"/>
                <a:gd name="T12" fmla="*/ 0 w 487"/>
                <a:gd name="T13" fmla="*/ 62 h 218"/>
              </a:gdLst>
              <a:ahLst/>
              <a:cxnLst>
                <a:cxn ang="0">
                  <a:pos x="T0" y="T1"/>
                </a:cxn>
                <a:cxn ang="0">
                  <a:pos x="T2" y="T3"/>
                </a:cxn>
                <a:cxn ang="0">
                  <a:pos x="T4" y="T5"/>
                </a:cxn>
                <a:cxn ang="0">
                  <a:pos x="T6" y="T7"/>
                </a:cxn>
                <a:cxn ang="0">
                  <a:pos x="T8" y="T9"/>
                </a:cxn>
                <a:cxn ang="0">
                  <a:pos x="T10" y="T11"/>
                </a:cxn>
                <a:cxn ang="0">
                  <a:pos x="T12" y="T13"/>
                </a:cxn>
              </a:cxnLst>
              <a:rect l="0" t="0" r="r" b="b"/>
              <a:pathLst>
                <a:path w="487" h="218">
                  <a:moveTo>
                    <a:pt x="0" y="62"/>
                  </a:moveTo>
                  <a:cubicBezTo>
                    <a:pt x="0" y="46"/>
                    <a:pt x="0" y="31"/>
                    <a:pt x="0" y="15"/>
                  </a:cubicBezTo>
                  <a:cubicBezTo>
                    <a:pt x="0" y="11"/>
                    <a:pt x="0" y="6"/>
                    <a:pt x="1" y="0"/>
                  </a:cubicBezTo>
                  <a:cubicBezTo>
                    <a:pt x="183" y="23"/>
                    <a:pt x="345" y="91"/>
                    <a:pt x="487" y="206"/>
                  </a:cubicBezTo>
                  <a:cubicBezTo>
                    <a:pt x="444" y="203"/>
                    <a:pt x="402" y="218"/>
                    <a:pt x="360" y="190"/>
                  </a:cubicBezTo>
                  <a:cubicBezTo>
                    <a:pt x="258" y="124"/>
                    <a:pt x="144" y="85"/>
                    <a:pt x="24" y="67"/>
                  </a:cubicBezTo>
                  <a:cubicBezTo>
                    <a:pt x="17" y="66"/>
                    <a:pt x="9" y="64"/>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88" name="Freeform 11">
              <a:extLst>
                <a:ext uri="{FF2B5EF4-FFF2-40B4-BE49-F238E27FC236}">
                  <a16:creationId xmlns:a16="http://schemas.microsoft.com/office/drawing/2014/main" id="{E863CBC3-ED63-6240-9D22-A61EC1E4D744}"/>
                </a:ext>
              </a:extLst>
            </p:cNvPr>
            <p:cNvSpPr>
              <a:spLocks/>
            </p:cNvSpPr>
            <p:nvPr/>
          </p:nvSpPr>
          <p:spPr bwMode="auto">
            <a:xfrm>
              <a:off x="17753013" y="3619500"/>
              <a:ext cx="481013" cy="928688"/>
            </a:xfrm>
            <a:custGeom>
              <a:avLst/>
              <a:gdLst>
                <a:gd name="T0" fmla="*/ 222 w 222"/>
                <a:gd name="T1" fmla="*/ 5 h 430"/>
                <a:gd name="T2" fmla="*/ 84 w 222"/>
                <a:gd name="T3" fmla="*/ 411 h 430"/>
                <a:gd name="T4" fmla="*/ 52 w 222"/>
                <a:gd name="T5" fmla="*/ 429 h 430"/>
                <a:gd name="T6" fmla="*/ 0 w 222"/>
                <a:gd name="T7" fmla="*/ 429 h 430"/>
                <a:gd name="T8" fmla="*/ 44 w 222"/>
                <a:gd name="T9" fmla="*/ 355 h 430"/>
                <a:gd name="T10" fmla="*/ 160 w 222"/>
                <a:gd name="T11" fmla="*/ 19 h 430"/>
                <a:gd name="T12" fmla="*/ 181 w 222"/>
                <a:gd name="T13" fmla="*/ 2 h 430"/>
                <a:gd name="T14" fmla="*/ 222 w 222"/>
                <a:gd name="T15" fmla="*/ 5 h 4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2" h="430">
                  <a:moveTo>
                    <a:pt x="222" y="5"/>
                  </a:moveTo>
                  <a:cubicBezTo>
                    <a:pt x="207" y="153"/>
                    <a:pt x="159" y="287"/>
                    <a:pt x="84" y="411"/>
                  </a:cubicBezTo>
                  <a:cubicBezTo>
                    <a:pt x="76" y="424"/>
                    <a:pt x="67" y="430"/>
                    <a:pt x="52" y="429"/>
                  </a:cubicBezTo>
                  <a:cubicBezTo>
                    <a:pt x="36" y="427"/>
                    <a:pt x="19" y="429"/>
                    <a:pt x="0" y="429"/>
                  </a:cubicBezTo>
                  <a:cubicBezTo>
                    <a:pt x="16" y="402"/>
                    <a:pt x="31" y="379"/>
                    <a:pt x="44" y="355"/>
                  </a:cubicBezTo>
                  <a:cubicBezTo>
                    <a:pt x="105" y="251"/>
                    <a:pt x="142" y="138"/>
                    <a:pt x="160" y="19"/>
                  </a:cubicBezTo>
                  <a:cubicBezTo>
                    <a:pt x="162" y="5"/>
                    <a:pt x="167" y="0"/>
                    <a:pt x="181" y="2"/>
                  </a:cubicBezTo>
                  <a:cubicBezTo>
                    <a:pt x="194" y="4"/>
                    <a:pt x="208" y="4"/>
                    <a:pt x="2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89" name="Freeform 12">
              <a:extLst>
                <a:ext uri="{FF2B5EF4-FFF2-40B4-BE49-F238E27FC236}">
                  <a16:creationId xmlns:a16="http://schemas.microsoft.com/office/drawing/2014/main" id="{27546929-B94F-4F47-9504-2169B5456AAE}"/>
                </a:ext>
              </a:extLst>
            </p:cNvPr>
            <p:cNvSpPr>
              <a:spLocks/>
            </p:cNvSpPr>
            <p:nvPr/>
          </p:nvSpPr>
          <p:spPr bwMode="auto">
            <a:xfrm>
              <a:off x="14017626" y="2227263"/>
              <a:ext cx="490538" cy="900113"/>
            </a:xfrm>
            <a:custGeom>
              <a:avLst/>
              <a:gdLst>
                <a:gd name="T0" fmla="*/ 0 w 227"/>
                <a:gd name="T1" fmla="*/ 416 h 417"/>
                <a:gd name="T2" fmla="*/ 42 w 227"/>
                <a:gd name="T3" fmla="*/ 240 h 417"/>
                <a:gd name="T4" fmla="*/ 147 w 227"/>
                <a:gd name="T5" fmla="*/ 17 h 417"/>
                <a:gd name="T6" fmla="*/ 176 w 227"/>
                <a:gd name="T7" fmla="*/ 1 h 417"/>
                <a:gd name="T8" fmla="*/ 227 w 227"/>
                <a:gd name="T9" fmla="*/ 1 h 417"/>
                <a:gd name="T10" fmla="*/ 156 w 227"/>
                <a:gd name="T11" fmla="*/ 127 h 417"/>
                <a:gd name="T12" fmla="*/ 70 w 227"/>
                <a:gd name="T13" fmla="*/ 397 h 417"/>
                <a:gd name="T14" fmla="*/ 47 w 227"/>
                <a:gd name="T15" fmla="*/ 416 h 417"/>
                <a:gd name="T16" fmla="*/ 0 w 227"/>
                <a:gd name="T17" fmla="*/ 416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 h="417">
                  <a:moveTo>
                    <a:pt x="0" y="416"/>
                  </a:moveTo>
                  <a:cubicBezTo>
                    <a:pt x="15" y="354"/>
                    <a:pt x="26" y="296"/>
                    <a:pt x="42" y="240"/>
                  </a:cubicBezTo>
                  <a:cubicBezTo>
                    <a:pt x="66" y="161"/>
                    <a:pt x="103" y="87"/>
                    <a:pt x="147" y="17"/>
                  </a:cubicBezTo>
                  <a:cubicBezTo>
                    <a:pt x="154" y="5"/>
                    <a:pt x="162" y="0"/>
                    <a:pt x="176" y="1"/>
                  </a:cubicBezTo>
                  <a:cubicBezTo>
                    <a:pt x="193" y="2"/>
                    <a:pt x="210" y="1"/>
                    <a:pt x="227" y="1"/>
                  </a:cubicBezTo>
                  <a:cubicBezTo>
                    <a:pt x="203" y="44"/>
                    <a:pt x="178" y="85"/>
                    <a:pt x="156" y="127"/>
                  </a:cubicBezTo>
                  <a:cubicBezTo>
                    <a:pt x="112" y="212"/>
                    <a:pt x="84" y="303"/>
                    <a:pt x="70" y="397"/>
                  </a:cubicBezTo>
                  <a:cubicBezTo>
                    <a:pt x="67" y="413"/>
                    <a:pt x="62" y="417"/>
                    <a:pt x="47" y="416"/>
                  </a:cubicBezTo>
                  <a:cubicBezTo>
                    <a:pt x="34" y="415"/>
                    <a:pt x="20" y="416"/>
                    <a:pt x="0" y="4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90" name="Freeform 13">
              <a:extLst>
                <a:ext uri="{FF2B5EF4-FFF2-40B4-BE49-F238E27FC236}">
                  <a16:creationId xmlns:a16="http://schemas.microsoft.com/office/drawing/2014/main" id="{5B6F8AE6-3DB3-6A4A-8FE5-6BE08AD36D85}"/>
                </a:ext>
              </a:extLst>
            </p:cNvPr>
            <p:cNvSpPr>
              <a:spLocks/>
            </p:cNvSpPr>
            <p:nvPr/>
          </p:nvSpPr>
          <p:spPr bwMode="auto">
            <a:xfrm>
              <a:off x="14020801" y="3619500"/>
              <a:ext cx="473075" cy="920750"/>
            </a:xfrm>
            <a:custGeom>
              <a:avLst/>
              <a:gdLst>
                <a:gd name="T0" fmla="*/ 218 w 218"/>
                <a:gd name="T1" fmla="*/ 425 h 426"/>
                <a:gd name="T2" fmla="*/ 158 w 218"/>
                <a:gd name="T3" fmla="*/ 425 h 426"/>
                <a:gd name="T4" fmla="*/ 143 w 218"/>
                <a:gd name="T5" fmla="*/ 415 h 426"/>
                <a:gd name="T6" fmla="*/ 7 w 218"/>
                <a:gd name="T7" fmla="*/ 47 h 426"/>
                <a:gd name="T8" fmla="*/ 3 w 218"/>
                <a:gd name="T9" fmla="*/ 25 h 426"/>
                <a:gd name="T10" fmla="*/ 0 w 218"/>
                <a:gd name="T11" fmla="*/ 2 h 426"/>
                <a:gd name="T12" fmla="*/ 50 w 218"/>
                <a:gd name="T13" fmla="*/ 2 h 426"/>
                <a:gd name="T14" fmla="*/ 63 w 218"/>
                <a:gd name="T15" fmla="*/ 20 h 426"/>
                <a:gd name="T16" fmla="*/ 142 w 218"/>
                <a:gd name="T17" fmla="*/ 285 h 426"/>
                <a:gd name="T18" fmla="*/ 218 w 218"/>
                <a:gd name="T19" fmla="*/ 425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426">
                  <a:moveTo>
                    <a:pt x="218" y="425"/>
                  </a:moveTo>
                  <a:cubicBezTo>
                    <a:pt x="199" y="425"/>
                    <a:pt x="178" y="426"/>
                    <a:pt x="158" y="425"/>
                  </a:cubicBezTo>
                  <a:cubicBezTo>
                    <a:pt x="152" y="425"/>
                    <a:pt x="146" y="419"/>
                    <a:pt x="143" y="415"/>
                  </a:cubicBezTo>
                  <a:cubicBezTo>
                    <a:pt x="73" y="301"/>
                    <a:pt x="27" y="179"/>
                    <a:pt x="7" y="47"/>
                  </a:cubicBezTo>
                  <a:cubicBezTo>
                    <a:pt x="6" y="40"/>
                    <a:pt x="4" y="33"/>
                    <a:pt x="3" y="25"/>
                  </a:cubicBezTo>
                  <a:cubicBezTo>
                    <a:pt x="2" y="18"/>
                    <a:pt x="1" y="11"/>
                    <a:pt x="0" y="2"/>
                  </a:cubicBezTo>
                  <a:cubicBezTo>
                    <a:pt x="17" y="2"/>
                    <a:pt x="34" y="0"/>
                    <a:pt x="50" y="2"/>
                  </a:cubicBezTo>
                  <a:cubicBezTo>
                    <a:pt x="55" y="3"/>
                    <a:pt x="62" y="14"/>
                    <a:pt x="63" y="20"/>
                  </a:cubicBezTo>
                  <a:cubicBezTo>
                    <a:pt x="77" y="112"/>
                    <a:pt x="102" y="201"/>
                    <a:pt x="142" y="285"/>
                  </a:cubicBezTo>
                  <a:cubicBezTo>
                    <a:pt x="165" y="332"/>
                    <a:pt x="192" y="377"/>
                    <a:pt x="218" y="4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91" name="Freeform 14">
              <a:extLst>
                <a:ext uri="{FF2B5EF4-FFF2-40B4-BE49-F238E27FC236}">
                  <a16:creationId xmlns:a16="http://schemas.microsoft.com/office/drawing/2014/main" id="{709A7174-DC93-1D43-995D-3ADDFF13DB19}"/>
                </a:ext>
              </a:extLst>
            </p:cNvPr>
            <p:cNvSpPr>
              <a:spLocks/>
            </p:cNvSpPr>
            <p:nvPr/>
          </p:nvSpPr>
          <p:spPr bwMode="auto">
            <a:xfrm>
              <a:off x="17748251" y="2238375"/>
              <a:ext cx="485775" cy="889000"/>
            </a:xfrm>
            <a:custGeom>
              <a:avLst/>
              <a:gdLst>
                <a:gd name="T0" fmla="*/ 224 w 224"/>
                <a:gd name="T1" fmla="*/ 412 h 412"/>
                <a:gd name="T2" fmla="*/ 169 w 224"/>
                <a:gd name="T3" fmla="*/ 412 h 412"/>
                <a:gd name="T4" fmla="*/ 106 w 224"/>
                <a:gd name="T5" fmla="*/ 200 h 412"/>
                <a:gd name="T6" fmla="*/ 0 w 224"/>
                <a:gd name="T7" fmla="*/ 1 h 412"/>
                <a:gd name="T8" fmla="*/ 69 w 224"/>
                <a:gd name="T9" fmla="*/ 1 h 412"/>
                <a:gd name="T10" fmla="*/ 80 w 224"/>
                <a:gd name="T11" fmla="*/ 12 h 412"/>
                <a:gd name="T12" fmla="*/ 224 w 224"/>
                <a:gd name="T13" fmla="*/ 412 h 412"/>
              </a:gdLst>
              <a:ahLst/>
              <a:cxnLst>
                <a:cxn ang="0">
                  <a:pos x="T0" y="T1"/>
                </a:cxn>
                <a:cxn ang="0">
                  <a:pos x="T2" y="T3"/>
                </a:cxn>
                <a:cxn ang="0">
                  <a:pos x="T4" y="T5"/>
                </a:cxn>
                <a:cxn ang="0">
                  <a:pos x="T6" y="T7"/>
                </a:cxn>
                <a:cxn ang="0">
                  <a:pos x="T8" y="T9"/>
                </a:cxn>
                <a:cxn ang="0">
                  <a:pos x="T10" y="T11"/>
                </a:cxn>
                <a:cxn ang="0">
                  <a:pos x="T12" y="T13"/>
                </a:cxn>
              </a:cxnLst>
              <a:rect l="0" t="0" r="r" b="b"/>
              <a:pathLst>
                <a:path w="224" h="412">
                  <a:moveTo>
                    <a:pt x="224" y="412"/>
                  </a:moveTo>
                  <a:cubicBezTo>
                    <a:pt x="204" y="412"/>
                    <a:pt x="184" y="412"/>
                    <a:pt x="169" y="412"/>
                  </a:cubicBezTo>
                  <a:cubicBezTo>
                    <a:pt x="148" y="340"/>
                    <a:pt x="129" y="269"/>
                    <a:pt x="106" y="200"/>
                  </a:cubicBezTo>
                  <a:cubicBezTo>
                    <a:pt x="82" y="130"/>
                    <a:pt x="45" y="65"/>
                    <a:pt x="0" y="1"/>
                  </a:cubicBezTo>
                  <a:cubicBezTo>
                    <a:pt x="25" y="1"/>
                    <a:pt x="47" y="0"/>
                    <a:pt x="69" y="1"/>
                  </a:cubicBezTo>
                  <a:cubicBezTo>
                    <a:pt x="73" y="1"/>
                    <a:pt x="77" y="7"/>
                    <a:pt x="80" y="12"/>
                  </a:cubicBezTo>
                  <a:cubicBezTo>
                    <a:pt x="157" y="135"/>
                    <a:pt x="205" y="268"/>
                    <a:pt x="224" y="4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92" name="Freeform 15">
              <a:extLst>
                <a:ext uri="{FF2B5EF4-FFF2-40B4-BE49-F238E27FC236}">
                  <a16:creationId xmlns:a16="http://schemas.microsoft.com/office/drawing/2014/main" id="{26233FD9-4955-9544-8BDB-AEB737EE4DC3}"/>
                </a:ext>
              </a:extLst>
            </p:cNvPr>
            <p:cNvSpPr>
              <a:spLocks/>
            </p:cNvSpPr>
            <p:nvPr/>
          </p:nvSpPr>
          <p:spPr bwMode="auto">
            <a:xfrm>
              <a:off x="18103851" y="3262313"/>
              <a:ext cx="225425" cy="225425"/>
            </a:xfrm>
            <a:custGeom>
              <a:avLst/>
              <a:gdLst>
                <a:gd name="T0" fmla="*/ 0 w 104"/>
                <a:gd name="T1" fmla="*/ 0 h 105"/>
                <a:gd name="T2" fmla="*/ 104 w 104"/>
                <a:gd name="T3" fmla="*/ 0 h 105"/>
                <a:gd name="T4" fmla="*/ 104 w 104"/>
                <a:gd name="T5" fmla="*/ 105 h 105"/>
                <a:gd name="T6" fmla="*/ 0 w 104"/>
                <a:gd name="T7" fmla="*/ 105 h 105"/>
                <a:gd name="T8" fmla="*/ 0 w 104"/>
                <a:gd name="T9" fmla="*/ 0 h 105"/>
              </a:gdLst>
              <a:ahLst/>
              <a:cxnLst>
                <a:cxn ang="0">
                  <a:pos x="T0" y="T1"/>
                </a:cxn>
                <a:cxn ang="0">
                  <a:pos x="T2" y="T3"/>
                </a:cxn>
                <a:cxn ang="0">
                  <a:pos x="T4" y="T5"/>
                </a:cxn>
                <a:cxn ang="0">
                  <a:pos x="T6" y="T7"/>
                </a:cxn>
                <a:cxn ang="0">
                  <a:pos x="T8" y="T9"/>
                </a:cxn>
              </a:cxnLst>
              <a:rect l="0" t="0" r="r" b="b"/>
              <a:pathLst>
                <a:path w="104" h="105">
                  <a:moveTo>
                    <a:pt x="0" y="0"/>
                  </a:moveTo>
                  <a:cubicBezTo>
                    <a:pt x="36" y="0"/>
                    <a:pt x="69" y="0"/>
                    <a:pt x="104" y="0"/>
                  </a:cubicBezTo>
                  <a:cubicBezTo>
                    <a:pt x="104" y="35"/>
                    <a:pt x="104" y="69"/>
                    <a:pt x="104" y="105"/>
                  </a:cubicBezTo>
                  <a:cubicBezTo>
                    <a:pt x="69" y="105"/>
                    <a:pt x="35" y="105"/>
                    <a:pt x="0" y="105"/>
                  </a:cubicBezTo>
                  <a:cubicBezTo>
                    <a:pt x="0" y="70"/>
                    <a:pt x="0" y="3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93" name="Freeform 16">
              <a:extLst>
                <a:ext uri="{FF2B5EF4-FFF2-40B4-BE49-F238E27FC236}">
                  <a16:creationId xmlns:a16="http://schemas.microsoft.com/office/drawing/2014/main" id="{E4A72969-AE76-584F-9D7E-E1C813EA4155}"/>
                </a:ext>
              </a:extLst>
            </p:cNvPr>
            <p:cNvSpPr>
              <a:spLocks/>
            </p:cNvSpPr>
            <p:nvPr/>
          </p:nvSpPr>
          <p:spPr bwMode="auto">
            <a:xfrm>
              <a:off x="16016288" y="5335588"/>
              <a:ext cx="225425" cy="225425"/>
            </a:xfrm>
            <a:custGeom>
              <a:avLst/>
              <a:gdLst>
                <a:gd name="T0" fmla="*/ 104 w 104"/>
                <a:gd name="T1" fmla="*/ 104 h 104"/>
                <a:gd name="T2" fmla="*/ 0 w 104"/>
                <a:gd name="T3" fmla="*/ 104 h 104"/>
                <a:gd name="T4" fmla="*/ 0 w 104"/>
                <a:gd name="T5" fmla="*/ 0 h 104"/>
                <a:gd name="T6" fmla="*/ 104 w 104"/>
                <a:gd name="T7" fmla="*/ 0 h 104"/>
                <a:gd name="T8" fmla="*/ 104 w 104"/>
                <a:gd name="T9" fmla="*/ 104 h 104"/>
              </a:gdLst>
              <a:ahLst/>
              <a:cxnLst>
                <a:cxn ang="0">
                  <a:pos x="T0" y="T1"/>
                </a:cxn>
                <a:cxn ang="0">
                  <a:pos x="T2" y="T3"/>
                </a:cxn>
                <a:cxn ang="0">
                  <a:pos x="T4" y="T5"/>
                </a:cxn>
                <a:cxn ang="0">
                  <a:pos x="T6" y="T7"/>
                </a:cxn>
                <a:cxn ang="0">
                  <a:pos x="T8" y="T9"/>
                </a:cxn>
              </a:cxnLst>
              <a:rect l="0" t="0" r="r" b="b"/>
              <a:pathLst>
                <a:path w="104" h="104">
                  <a:moveTo>
                    <a:pt x="104" y="104"/>
                  </a:moveTo>
                  <a:cubicBezTo>
                    <a:pt x="69" y="104"/>
                    <a:pt x="35" y="104"/>
                    <a:pt x="0" y="104"/>
                  </a:cubicBezTo>
                  <a:cubicBezTo>
                    <a:pt x="0" y="69"/>
                    <a:pt x="0" y="35"/>
                    <a:pt x="0" y="0"/>
                  </a:cubicBezTo>
                  <a:cubicBezTo>
                    <a:pt x="34" y="0"/>
                    <a:pt x="68" y="0"/>
                    <a:pt x="104" y="0"/>
                  </a:cubicBezTo>
                  <a:cubicBezTo>
                    <a:pt x="104" y="33"/>
                    <a:pt x="104" y="68"/>
                    <a:pt x="104"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94" name="Freeform 17">
              <a:extLst>
                <a:ext uri="{FF2B5EF4-FFF2-40B4-BE49-F238E27FC236}">
                  <a16:creationId xmlns:a16="http://schemas.microsoft.com/office/drawing/2014/main" id="{C394142C-4BF9-D144-8194-272289D3D099}"/>
                </a:ext>
              </a:extLst>
            </p:cNvPr>
            <p:cNvSpPr>
              <a:spLocks/>
            </p:cNvSpPr>
            <p:nvPr/>
          </p:nvSpPr>
          <p:spPr bwMode="auto">
            <a:xfrm>
              <a:off x="16016288" y="1231900"/>
              <a:ext cx="225425" cy="222250"/>
            </a:xfrm>
            <a:custGeom>
              <a:avLst/>
              <a:gdLst>
                <a:gd name="T0" fmla="*/ 104 w 104"/>
                <a:gd name="T1" fmla="*/ 103 h 103"/>
                <a:gd name="T2" fmla="*/ 0 w 104"/>
                <a:gd name="T3" fmla="*/ 103 h 103"/>
                <a:gd name="T4" fmla="*/ 0 w 104"/>
                <a:gd name="T5" fmla="*/ 0 h 103"/>
                <a:gd name="T6" fmla="*/ 104 w 104"/>
                <a:gd name="T7" fmla="*/ 0 h 103"/>
                <a:gd name="T8" fmla="*/ 104 w 104"/>
                <a:gd name="T9" fmla="*/ 103 h 103"/>
              </a:gdLst>
              <a:ahLst/>
              <a:cxnLst>
                <a:cxn ang="0">
                  <a:pos x="T0" y="T1"/>
                </a:cxn>
                <a:cxn ang="0">
                  <a:pos x="T2" y="T3"/>
                </a:cxn>
                <a:cxn ang="0">
                  <a:pos x="T4" y="T5"/>
                </a:cxn>
                <a:cxn ang="0">
                  <a:pos x="T6" y="T7"/>
                </a:cxn>
                <a:cxn ang="0">
                  <a:pos x="T8" y="T9"/>
                </a:cxn>
              </a:cxnLst>
              <a:rect l="0" t="0" r="r" b="b"/>
              <a:pathLst>
                <a:path w="104" h="103">
                  <a:moveTo>
                    <a:pt x="104" y="103"/>
                  </a:moveTo>
                  <a:cubicBezTo>
                    <a:pt x="69" y="103"/>
                    <a:pt x="35" y="103"/>
                    <a:pt x="0" y="103"/>
                  </a:cubicBezTo>
                  <a:cubicBezTo>
                    <a:pt x="0" y="69"/>
                    <a:pt x="0" y="36"/>
                    <a:pt x="0" y="0"/>
                  </a:cubicBezTo>
                  <a:cubicBezTo>
                    <a:pt x="34" y="0"/>
                    <a:pt x="69" y="0"/>
                    <a:pt x="104" y="0"/>
                  </a:cubicBezTo>
                  <a:cubicBezTo>
                    <a:pt x="104" y="35"/>
                    <a:pt x="104" y="68"/>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95" name="Freeform 18">
              <a:extLst>
                <a:ext uri="{FF2B5EF4-FFF2-40B4-BE49-F238E27FC236}">
                  <a16:creationId xmlns:a16="http://schemas.microsoft.com/office/drawing/2014/main" id="{859A95DA-F717-AD40-874F-76C8B1EFAEA9}"/>
                </a:ext>
              </a:extLst>
            </p:cNvPr>
            <p:cNvSpPr>
              <a:spLocks/>
            </p:cNvSpPr>
            <p:nvPr/>
          </p:nvSpPr>
          <p:spPr bwMode="auto">
            <a:xfrm>
              <a:off x="14506576" y="1860550"/>
              <a:ext cx="227013" cy="222250"/>
            </a:xfrm>
            <a:custGeom>
              <a:avLst/>
              <a:gdLst>
                <a:gd name="T0" fmla="*/ 0 w 105"/>
                <a:gd name="T1" fmla="*/ 0 h 103"/>
                <a:gd name="T2" fmla="*/ 105 w 105"/>
                <a:gd name="T3" fmla="*/ 0 h 103"/>
                <a:gd name="T4" fmla="*/ 105 w 105"/>
                <a:gd name="T5" fmla="*/ 103 h 103"/>
                <a:gd name="T6" fmla="*/ 0 w 105"/>
                <a:gd name="T7" fmla="*/ 103 h 103"/>
                <a:gd name="T8" fmla="*/ 0 w 105"/>
                <a:gd name="T9" fmla="*/ 0 h 103"/>
              </a:gdLst>
              <a:ahLst/>
              <a:cxnLst>
                <a:cxn ang="0">
                  <a:pos x="T0" y="T1"/>
                </a:cxn>
                <a:cxn ang="0">
                  <a:pos x="T2" y="T3"/>
                </a:cxn>
                <a:cxn ang="0">
                  <a:pos x="T4" y="T5"/>
                </a:cxn>
                <a:cxn ang="0">
                  <a:pos x="T6" y="T7"/>
                </a:cxn>
                <a:cxn ang="0">
                  <a:pos x="T8" y="T9"/>
                </a:cxn>
              </a:cxnLst>
              <a:rect l="0" t="0" r="r" b="b"/>
              <a:pathLst>
                <a:path w="105" h="103">
                  <a:moveTo>
                    <a:pt x="0" y="0"/>
                  </a:moveTo>
                  <a:cubicBezTo>
                    <a:pt x="37" y="0"/>
                    <a:pt x="70" y="0"/>
                    <a:pt x="105" y="0"/>
                  </a:cubicBezTo>
                  <a:cubicBezTo>
                    <a:pt x="105" y="35"/>
                    <a:pt x="105" y="68"/>
                    <a:pt x="105" y="103"/>
                  </a:cubicBezTo>
                  <a:cubicBezTo>
                    <a:pt x="70" y="103"/>
                    <a:pt x="36" y="103"/>
                    <a:pt x="0" y="103"/>
                  </a:cubicBezTo>
                  <a:cubicBezTo>
                    <a:pt x="0" y="68"/>
                    <a:pt x="0" y="3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96" name="Freeform 19">
              <a:extLst>
                <a:ext uri="{FF2B5EF4-FFF2-40B4-BE49-F238E27FC236}">
                  <a16:creationId xmlns:a16="http://schemas.microsoft.com/office/drawing/2014/main" id="{12FAC3CD-42C6-CF4A-9BA8-67FD0D13BEF6}"/>
                </a:ext>
              </a:extLst>
            </p:cNvPr>
            <p:cNvSpPr>
              <a:spLocks/>
            </p:cNvSpPr>
            <p:nvPr/>
          </p:nvSpPr>
          <p:spPr bwMode="auto">
            <a:xfrm>
              <a:off x="13935076" y="3262313"/>
              <a:ext cx="220663" cy="225425"/>
            </a:xfrm>
            <a:custGeom>
              <a:avLst/>
              <a:gdLst>
                <a:gd name="T0" fmla="*/ 0 w 102"/>
                <a:gd name="T1" fmla="*/ 0 h 105"/>
                <a:gd name="T2" fmla="*/ 102 w 102"/>
                <a:gd name="T3" fmla="*/ 0 h 105"/>
                <a:gd name="T4" fmla="*/ 102 w 102"/>
                <a:gd name="T5" fmla="*/ 105 h 105"/>
                <a:gd name="T6" fmla="*/ 0 w 102"/>
                <a:gd name="T7" fmla="*/ 105 h 105"/>
                <a:gd name="T8" fmla="*/ 0 w 102"/>
                <a:gd name="T9" fmla="*/ 0 h 105"/>
              </a:gdLst>
              <a:ahLst/>
              <a:cxnLst>
                <a:cxn ang="0">
                  <a:pos x="T0" y="T1"/>
                </a:cxn>
                <a:cxn ang="0">
                  <a:pos x="T2" y="T3"/>
                </a:cxn>
                <a:cxn ang="0">
                  <a:pos x="T4" y="T5"/>
                </a:cxn>
                <a:cxn ang="0">
                  <a:pos x="T6" y="T7"/>
                </a:cxn>
                <a:cxn ang="0">
                  <a:pos x="T8" y="T9"/>
                </a:cxn>
              </a:cxnLst>
              <a:rect l="0" t="0" r="r" b="b"/>
              <a:pathLst>
                <a:path w="102" h="105">
                  <a:moveTo>
                    <a:pt x="0" y="0"/>
                  </a:moveTo>
                  <a:cubicBezTo>
                    <a:pt x="35" y="0"/>
                    <a:pt x="68" y="0"/>
                    <a:pt x="102" y="0"/>
                  </a:cubicBezTo>
                  <a:cubicBezTo>
                    <a:pt x="102" y="35"/>
                    <a:pt x="102" y="69"/>
                    <a:pt x="102" y="105"/>
                  </a:cubicBezTo>
                  <a:cubicBezTo>
                    <a:pt x="68" y="105"/>
                    <a:pt x="34" y="105"/>
                    <a:pt x="0" y="105"/>
                  </a:cubicBezTo>
                  <a:cubicBezTo>
                    <a:pt x="0" y="70"/>
                    <a:pt x="0" y="3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97" name="Freeform 20">
              <a:extLst>
                <a:ext uri="{FF2B5EF4-FFF2-40B4-BE49-F238E27FC236}">
                  <a16:creationId xmlns:a16="http://schemas.microsoft.com/office/drawing/2014/main" id="{AE0CE7F2-8156-D94B-ACEE-47E414C4DB88}"/>
                </a:ext>
              </a:extLst>
            </p:cNvPr>
            <p:cNvSpPr>
              <a:spLocks/>
            </p:cNvSpPr>
            <p:nvPr/>
          </p:nvSpPr>
          <p:spPr bwMode="auto">
            <a:xfrm>
              <a:off x="14508163" y="4675188"/>
              <a:ext cx="225425" cy="222250"/>
            </a:xfrm>
            <a:custGeom>
              <a:avLst/>
              <a:gdLst>
                <a:gd name="T0" fmla="*/ 0 w 104"/>
                <a:gd name="T1" fmla="*/ 0 h 103"/>
                <a:gd name="T2" fmla="*/ 104 w 104"/>
                <a:gd name="T3" fmla="*/ 0 h 103"/>
                <a:gd name="T4" fmla="*/ 104 w 104"/>
                <a:gd name="T5" fmla="*/ 103 h 103"/>
                <a:gd name="T6" fmla="*/ 0 w 104"/>
                <a:gd name="T7" fmla="*/ 103 h 103"/>
                <a:gd name="T8" fmla="*/ 0 w 104"/>
                <a:gd name="T9" fmla="*/ 0 h 103"/>
              </a:gdLst>
              <a:ahLst/>
              <a:cxnLst>
                <a:cxn ang="0">
                  <a:pos x="T0" y="T1"/>
                </a:cxn>
                <a:cxn ang="0">
                  <a:pos x="T2" y="T3"/>
                </a:cxn>
                <a:cxn ang="0">
                  <a:pos x="T4" y="T5"/>
                </a:cxn>
                <a:cxn ang="0">
                  <a:pos x="T6" y="T7"/>
                </a:cxn>
                <a:cxn ang="0">
                  <a:pos x="T8" y="T9"/>
                </a:cxn>
              </a:cxnLst>
              <a:rect l="0" t="0" r="r" b="b"/>
              <a:pathLst>
                <a:path w="104" h="103">
                  <a:moveTo>
                    <a:pt x="0" y="0"/>
                  </a:moveTo>
                  <a:cubicBezTo>
                    <a:pt x="35" y="0"/>
                    <a:pt x="68" y="0"/>
                    <a:pt x="104" y="0"/>
                  </a:cubicBezTo>
                  <a:cubicBezTo>
                    <a:pt x="104" y="34"/>
                    <a:pt x="104" y="68"/>
                    <a:pt x="104" y="103"/>
                  </a:cubicBezTo>
                  <a:cubicBezTo>
                    <a:pt x="70" y="103"/>
                    <a:pt x="36" y="103"/>
                    <a:pt x="0" y="103"/>
                  </a:cubicBezTo>
                  <a:cubicBezTo>
                    <a:pt x="0" y="70"/>
                    <a:pt x="0" y="3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98" name="Freeform 21">
              <a:extLst>
                <a:ext uri="{FF2B5EF4-FFF2-40B4-BE49-F238E27FC236}">
                  <a16:creationId xmlns:a16="http://schemas.microsoft.com/office/drawing/2014/main" id="{20D9B511-3DB7-0F4D-9BFB-444B9BABF23F}"/>
                </a:ext>
              </a:extLst>
            </p:cNvPr>
            <p:cNvSpPr>
              <a:spLocks/>
            </p:cNvSpPr>
            <p:nvPr/>
          </p:nvSpPr>
          <p:spPr bwMode="auto">
            <a:xfrm>
              <a:off x="17460913" y="1860550"/>
              <a:ext cx="222250" cy="222250"/>
            </a:xfrm>
            <a:custGeom>
              <a:avLst/>
              <a:gdLst>
                <a:gd name="T0" fmla="*/ 0 w 103"/>
                <a:gd name="T1" fmla="*/ 0 h 103"/>
                <a:gd name="T2" fmla="*/ 103 w 103"/>
                <a:gd name="T3" fmla="*/ 0 h 103"/>
                <a:gd name="T4" fmla="*/ 103 w 103"/>
                <a:gd name="T5" fmla="*/ 103 h 103"/>
                <a:gd name="T6" fmla="*/ 0 w 103"/>
                <a:gd name="T7" fmla="*/ 103 h 103"/>
                <a:gd name="T8" fmla="*/ 0 w 103"/>
                <a:gd name="T9" fmla="*/ 0 h 103"/>
              </a:gdLst>
              <a:ahLst/>
              <a:cxnLst>
                <a:cxn ang="0">
                  <a:pos x="T0" y="T1"/>
                </a:cxn>
                <a:cxn ang="0">
                  <a:pos x="T2" y="T3"/>
                </a:cxn>
                <a:cxn ang="0">
                  <a:pos x="T4" y="T5"/>
                </a:cxn>
                <a:cxn ang="0">
                  <a:pos x="T6" y="T7"/>
                </a:cxn>
                <a:cxn ang="0">
                  <a:pos x="T8" y="T9"/>
                </a:cxn>
              </a:cxnLst>
              <a:rect l="0" t="0" r="r" b="b"/>
              <a:pathLst>
                <a:path w="103" h="103">
                  <a:moveTo>
                    <a:pt x="0" y="0"/>
                  </a:moveTo>
                  <a:cubicBezTo>
                    <a:pt x="35" y="0"/>
                    <a:pt x="68" y="0"/>
                    <a:pt x="103" y="0"/>
                  </a:cubicBezTo>
                  <a:cubicBezTo>
                    <a:pt x="103" y="34"/>
                    <a:pt x="103" y="68"/>
                    <a:pt x="103" y="103"/>
                  </a:cubicBezTo>
                  <a:cubicBezTo>
                    <a:pt x="69" y="103"/>
                    <a:pt x="35" y="103"/>
                    <a:pt x="0" y="103"/>
                  </a:cubicBezTo>
                  <a:cubicBezTo>
                    <a:pt x="0" y="69"/>
                    <a:pt x="0" y="3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sp>
          <p:nvSpPr>
            <p:cNvPr id="99" name="Freeform 22">
              <a:extLst>
                <a:ext uri="{FF2B5EF4-FFF2-40B4-BE49-F238E27FC236}">
                  <a16:creationId xmlns:a16="http://schemas.microsoft.com/office/drawing/2014/main" id="{592FFFFA-1BB7-1D43-BB25-5E8719AE6BF3}"/>
                </a:ext>
              </a:extLst>
            </p:cNvPr>
            <p:cNvSpPr>
              <a:spLocks/>
            </p:cNvSpPr>
            <p:nvPr/>
          </p:nvSpPr>
          <p:spPr bwMode="auto">
            <a:xfrm>
              <a:off x="17462501" y="4678363"/>
              <a:ext cx="220663" cy="222250"/>
            </a:xfrm>
            <a:custGeom>
              <a:avLst/>
              <a:gdLst>
                <a:gd name="T0" fmla="*/ 102 w 102"/>
                <a:gd name="T1" fmla="*/ 103 h 103"/>
                <a:gd name="T2" fmla="*/ 0 w 102"/>
                <a:gd name="T3" fmla="*/ 103 h 103"/>
                <a:gd name="T4" fmla="*/ 0 w 102"/>
                <a:gd name="T5" fmla="*/ 0 h 103"/>
                <a:gd name="T6" fmla="*/ 102 w 102"/>
                <a:gd name="T7" fmla="*/ 0 h 103"/>
                <a:gd name="T8" fmla="*/ 102 w 102"/>
                <a:gd name="T9" fmla="*/ 103 h 103"/>
              </a:gdLst>
              <a:ahLst/>
              <a:cxnLst>
                <a:cxn ang="0">
                  <a:pos x="T0" y="T1"/>
                </a:cxn>
                <a:cxn ang="0">
                  <a:pos x="T2" y="T3"/>
                </a:cxn>
                <a:cxn ang="0">
                  <a:pos x="T4" y="T5"/>
                </a:cxn>
                <a:cxn ang="0">
                  <a:pos x="T6" y="T7"/>
                </a:cxn>
                <a:cxn ang="0">
                  <a:pos x="T8" y="T9"/>
                </a:cxn>
              </a:cxnLst>
              <a:rect l="0" t="0" r="r" b="b"/>
              <a:pathLst>
                <a:path w="102" h="103">
                  <a:moveTo>
                    <a:pt x="102" y="103"/>
                  </a:moveTo>
                  <a:cubicBezTo>
                    <a:pt x="67" y="103"/>
                    <a:pt x="34" y="103"/>
                    <a:pt x="0" y="103"/>
                  </a:cubicBezTo>
                  <a:cubicBezTo>
                    <a:pt x="0" y="69"/>
                    <a:pt x="0" y="35"/>
                    <a:pt x="0" y="0"/>
                  </a:cubicBezTo>
                  <a:cubicBezTo>
                    <a:pt x="33" y="0"/>
                    <a:pt x="67" y="0"/>
                    <a:pt x="102" y="0"/>
                  </a:cubicBezTo>
                  <a:cubicBezTo>
                    <a:pt x="102" y="34"/>
                    <a:pt x="102" y="67"/>
                    <a:pt x="102"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
              </a:endParaRPr>
            </a:p>
          </p:txBody>
        </p:sp>
      </p:grpSp>
      <p:grpSp>
        <p:nvGrpSpPr>
          <p:cNvPr id="100" name="Group 99">
            <a:extLst>
              <a:ext uri="{FF2B5EF4-FFF2-40B4-BE49-F238E27FC236}">
                <a16:creationId xmlns:a16="http://schemas.microsoft.com/office/drawing/2014/main" id="{FA028516-DDEA-6749-B695-FA95E744C69B}"/>
              </a:ext>
            </a:extLst>
          </p:cNvPr>
          <p:cNvGrpSpPr>
            <a:grpSpLocks noChangeAspect="1"/>
          </p:cNvGrpSpPr>
          <p:nvPr/>
        </p:nvGrpSpPr>
        <p:grpSpPr>
          <a:xfrm>
            <a:off x="2696240" y="5043471"/>
            <a:ext cx="624432" cy="797444"/>
            <a:chOff x="-13469938" y="3414713"/>
            <a:chExt cx="2125663" cy="2714625"/>
          </a:xfrm>
          <a:solidFill>
            <a:schemeClr val="accent5"/>
          </a:solidFill>
        </p:grpSpPr>
        <p:sp>
          <p:nvSpPr>
            <p:cNvPr id="101" name="Freeform 22">
              <a:extLst>
                <a:ext uri="{FF2B5EF4-FFF2-40B4-BE49-F238E27FC236}">
                  <a16:creationId xmlns:a16="http://schemas.microsoft.com/office/drawing/2014/main" id="{9B31FB49-F564-694C-9C72-828F0E54E690}"/>
                </a:ext>
              </a:extLst>
            </p:cNvPr>
            <p:cNvSpPr>
              <a:spLocks noEditPoints="1"/>
            </p:cNvSpPr>
            <p:nvPr/>
          </p:nvSpPr>
          <p:spPr bwMode="auto">
            <a:xfrm>
              <a:off x="-13098463" y="3716338"/>
              <a:ext cx="1585913" cy="1574800"/>
            </a:xfrm>
            <a:custGeom>
              <a:avLst/>
              <a:gdLst>
                <a:gd name="T0" fmla="*/ 584 w 1189"/>
                <a:gd name="T1" fmla="*/ 1178 h 1183"/>
                <a:gd name="T2" fmla="*/ 600 w 1189"/>
                <a:gd name="T3" fmla="*/ 1 h 1183"/>
                <a:gd name="T4" fmla="*/ 373 w 1189"/>
                <a:gd name="T5" fmla="*/ 440 h 1183"/>
                <a:gd name="T6" fmla="*/ 434 w 1189"/>
                <a:gd name="T7" fmla="*/ 603 h 1183"/>
                <a:gd name="T8" fmla="*/ 726 w 1189"/>
                <a:gd name="T9" fmla="*/ 498 h 1183"/>
                <a:gd name="T10" fmla="*/ 684 w 1189"/>
                <a:gd name="T11" fmla="*/ 365 h 1183"/>
                <a:gd name="T12" fmla="*/ 373 w 1189"/>
                <a:gd name="T13" fmla="*/ 440 h 1183"/>
                <a:gd name="T14" fmla="*/ 798 w 1189"/>
                <a:gd name="T15" fmla="*/ 750 h 1183"/>
                <a:gd name="T16" fmla="*/ 777 w 1189"/>
                <a:gd name="T17" fmla="*/ 590 h 1183"/>
                <a:gd name="T18" fmla="*/ 527 w 1189"/>
                <a:gd name="T19" fmla="*/ 657 h 1183"/>
                <a:gd name="T20" fmla="*/ 523 w 1189"/>
                <a:gd name="T21" fmla="*/ 851 h 1183"/>
                <a:gd name="T22" fmla="*/ 1069 w 1189"/>
                <a:gd name="T23" fmla="*/ 462 h 1183"/>
                <a:gd name="T24" fmla="*/ 853 w 1189"/>
                <a:gd name="T25" fmla="*/ 557 h 1183"/>
                <a:gd name="T26" fmla="*/ 909 w 1189"/>
                <a:gd name="T27" fmla="*/ 729 h 1183"/>
                <a:gd name="T28" fmla="*/ 1085 w 1189"/>
                <a:gd name="T29" fmla="*/ 711 h 1183"/>
                <a:gd name="T30" fmla="*/ 1082 w 1189"/>
                <a:gd name="T31" fmla="*/ 460 h 1183"/>
                <a:gd name="T32" fmla="*/ 120 w 1189"/>
                <a:gd name="T33" fmla="*/ 716 h 1183"/>
                <a:gd name="T34" fmla="*/ 334 w 1189"/>
                <a:gd name="T35" fmla="*/ 618 h 1183"/>
                <a:gd name="T36" fmla="*/ 277 w 1189"/>
                <a:gd name="T37" fmla="*/ 448 h 1183"/>
                <a:gd name="T38" fmla="*/ 103 w 1189"/>
                <a:gd name="T39" fmla="*/ 468 h 1183"/>
                <a:gd name="T40" fmla="*/ 105 w 1189"/>
                <a:gd name="T41" fmla="*/ 717 h 1183"/>
                <a:gd name="T42" fmla="*/ 831 w 1189"/>
                <a:gd name="T43" fmla="*/ 460 h 1183"/>
                <a:gd name="T44" fmla="*/ 1047 w 1189"/>
                <a:gd name="T45" fmla="*/ 367 h 1183"/>
                <a:gd name="T46" fmla="*/ 874 w 1189"/>
                <a:gd name="T47" fmla="*/ 181 h 1183"/>
                <a:gd name="T48" fmla="*/ 743 w 1189"/>
                <a:gd name="T49" fmla="*/ 298 h 1183"/>
                <a:gd name="T50" fmla="*/ 824 w 1189"/>
                <a:gd name="T51" fmla="*/ 461 h 1183"/>
                <a:gd name="T52" fmla="*/ 296 w 1189"/>
                <a:gd name="T53" fmla="*/ 996 h 1183"/>
                <a:gd name="T54" fmla="*/ 439 w 1189"/>
                <a:gd name="T55" fmla="*/ 900 h 1183"/>
                <a:gd name="T56" fmla="*/ 373 w 1189"/>
                <a:gd name="T57" fmla="*/ 728 h 1183"/>
                <a:gd name="T58" fmla="*/ 223 w 1189"/>
                <a:gd name="T59" fmla="*/ 767 h 1183"/>
                <a:gd name="T60" fmla="*/ 617 w 1189"/>
                <a:gd name="T61" fmla="*/ 257 h 1183"/>
                <a:gd name="T62" fmla="*/ 386 w 1189"/>
                <a:gd name="T63" fmla="*/ 153 h 1183"/>
                <a:gd name="T64" fmla="*/ 366 w 1189"/>
                <a:gd name="T65" fmla="*/ 348 h 1183"/>
                <a:gd name="T66" fmla="*/ 570 w 1189"/>
                <a:gd name="T67" fmla="*/ 921 h 1183"/>
                <a:gd name="T68" fmla="*/ 703 w 1189"/>
                <a:gd name="T69" fmla="*/ 1054 h 1183"/>
                <a:gd name="T70" fmla="*/ 809 w 1189"/>
                <a:gd name="T71" fmla="*/ 1009 h 1183"/>
                <a:gd name="T72" fmla="*/ 820 w 1189"/>
                <a:gd name="T73" fmla="*/ 830 h 1183"/>
                <a:gd name="T74" fmla="*/ 282 w 1189"/>
                <a:gd name="T75" fmla="*/ 192 h 1183"/>
                <a:gd name="T76" fmla="*/ 282 w 1189"/>
                <a:gd name="T77" fmla="*/ 366 h 1183"/>
                <a:gd name="T78" fmla="*/ 1049 w 1189"/>
                <a:gd name="T79" fmla="*/ 809 h 1183"/>
                <a:gd name="T80" fmla="*/ 926 w 1189"/>
                <a:gd name="T81" fmla="*/ 812 h 1183"/>
                <a:gd name="T82" fmla="*/ 907 w 1189"/>
                <a:gd name="T83" fmla="*/ 942 h 1183"/>
                <a:gd name="T84" fmla="*/ 1049 w 1189"/>
                <a:gd name="T85" fmla="*/ 809 h 1183"/>
                <a:gd name="T86" fmla="*/ 388 w 1189"/>
                <a:gd name="T87" fmla="*/ 1049 h 1183"/>
                <a:gd name="T88" fmla="*/ 606 w 1189"/>
                <a:gd name="T89" fmla="*/ 1087 h 1183"/>
                <a:gd name="T90" fmla="*/ 487 w 1189"/>
                <a:gd name="T91" fmla="*/ 968 h 1183"/>
                <a:gd name="T92" fmla="*/ 803 w 1189"/>
                <a:gd name="T93" fmla="*/ 136 h 1183"/>
                <a:gd name="T94" fmla="*/ 584 w 1189"/>
                <a:gd name="T95" fmla="*/ 93 h 1183"/>
                <a:gd name="T96" fmla="*/ 704 w 1189"/>
                <a:gd name="T97" fmla="*/ 208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9" h="1183">
                  <a:moveTo>
                    <a:pt x="1182" y="580"/>
                  </a:moveTo>
                  <a:cubicBezTo>
                    <a:pt x="1189" y="911"/>
                    <a:pt x="917" y="1183"/>
                    <a:pt x="584" y="1178"/>
                  </a:cubicBezTo>
                  <a:cubicBezTo>
                    <a:pt x="273" y="1173"/>
                    <a:pt x="0" y="920"/>
                    <a:pt x="5" y="578"/>
                  </a:cubicBezTo>
                  <a:cubicBezTo>
                    <a:pt x="10" y="262"/>
                    <a:pt x="263" y="0"/>
                    <a:pt x="600" y="1"/>
                  </a:cubicBezTo>
                  <a:cubicBezTo>
                    <a:pt x="915" y="1"/>
                    <a:pt x="1182" y="266"/>
                    <a:pt x="1182" y="580"/>
                  </a:cubicBezTo>
                  <a:close/>
                  <a:moveTo>
                    <a:pt x="373" y="440"/>
                  </a:moveTo>
                  <a:cubicBezTo>
                    <a:pt x="386" y="489"/>
                    <a:pt x="400" y="541"/>
                    <a:pt x="413" y="594"/>
                  </a:cubicBezTo>
                  <a:cubicBezTo>
                    <a:pt x="416" y="606"/>
                    <a:pt x="424" y="607"/>
                    <a:pt x="434" y="603"/>
                  </a:cubicBezTo>
                  <a:cubicBezTo>
                    <a:pt x="448" y="598"/>
                    <a:pt x="463" y="593"/>
                    <a:pt x="477" y="588"/>
                  </a:cubicBezTo>
                  <a:cubicBezTo>
                    <a:pt x="560" y="558"/>
                    <a:pt x="643" y="527"/>
                    <a:pt x="726" y="498"/>
                  </a:cubicBezTo>
                  <a:cubicBezTo>
                    <a:pt x="739" y="493"/>
                    <a:pt x="742" y="488"/>
                    <a:pt x="735" y="475"/>
                  </a:cubicBezTo>
                  <a:cubicBezTo>
                    <a:pt x="717" y="438"/>
                    <a:pt x="701" y="401"/>
                    <a:pt x="684" y="365"/>
                  </a:cubicBezTo>
                  <a:cubicBezTo>
                    <a:pt x="678" y="352"/>
                    <a:pt x="670" y="341"/>
                    <a:pt x="666" y="334"/>
                  </a:cubicBezTo>
                  <a:cubicBezTo>
                    <a:pt x="568" y="370"/>
                    <a:pt x="473" y="404"/>
                    <a:pt x="373" y="440"/>
                  </a:cubicBezTo>
                  <a:close/>
                  <a:moveTo>
                    <a:pt x="523" y="851"/>
                  </a:moveTo>
                  <a:cubicBezTo>
                    <a:pt x="614" y="805"/>
                    <a:pt x="704" y="772"/>
                    <a:pt x="798" y="750"/>
                  </a:cubicBezTo>
                  <a:cubicBezTo>
                    <a:pt x="812" y="747"/>
                    <a:pt x="814" y="740"/>
                    <a:pt x="811" y="727"/>
                  </a:cubicBezTo>
                  <a:cubicBezTo>
                    <a:pt x="799" y="681"/>
                    <a:pt x="787" y="636"/>
                    <a:pt x="777" y="590"/>
                  </a:cubicBezTo>
                  <a:cubicBezTo>
                    <a:pt x="773" y="573"/>
                    <a:pt x="765" y="571"/>
                    <a:pt x="750" y="577"/>
                  </a:cubicBezTo>
                  <a:cubicBezTo>
                    <a:pt x="676" y="604"/>
                    <a:pt x="601" y="630"/>
                    <a:pt x="527" y="657"/>
                  </a:cubicBezTo>
                  <a:cubicBezTo>
                    <a:pt x="500" y="667"/>
                    <a:pt x="474" y="677"/>
                    <a:pt x="445" y="688"/>
                  </a:cubicBezTo>
                  <a:cubicBezTo>
                    <a:pt x="471" y="743"/>
                    <a:pt x="496" y="796"/>
                    <a:pt x="523" y="851"/>
                  </a:cubicBezTo>
                  <a:close/>
                  <a:moveTo>
                    <a:pt x="1082" y="460"/>
                  </a:moveTo>
                  <a:cubicBezTo>
                    <a:pt x="1077" y="461"/>
                    <a:pt x="1073" y="461"/>
                    <a:pt x="1069" y="462"/>
                  </a:cubicBezTo>
                  <a:cubicBezTo>
                    <a:pt x="1001" y="487"/>
                    <a:pt x="932" y="512"/>
                    <a:pt x="864" y="536"/>
                  </a:cubicBezTo>
                  <a:cubicBezTo>
                    <a:pt x="852" y="540"/>
                    <a:pt x="850" y="547"/>
                    <a:pt x="853" y="557"/>
                  </a:cubicBezTo>
                  <a:cubicBezTo>
                    <a:pt x="866" y="611"/>
                    <a:pt x="879" y="664"/>
                    <a:pt x="893" y="717"/>
                  </a:cubicBezTo>
                  <a:cubicBezTo>
                    <a:pt x="895" y="723"/>
                    <a:pt x="904" y="729"/>
                    <a:pt x="909" y="729"/>
                  </a:cubicBezTo>
                  <a:cubicBezTo>
                    <a:pt x="961" y="729"/>
                    <a:pt x="1014" y="726"/>
                    <a:pt x="1066" y="725"/>
                  </a:cubicBezTo>
                  <a:cubicBezTo>
                    <a:pt x="1077" y="725"/>
                    <a:pt x="1083" y="723"/>
                    <a:pt x="1085" y="711"/>
                  </a:cubicBezTo>
                  <a:cubicBezTo>
                    <a:pt x="1087" y="694"/>
                    <a:pt x="1092" y="678"/>
                    <a:pt x="1095" y="662"/>
                  </a:cubicBezTo>
                  <a:cubicBezTo>
                    <a:pt x="1106" y="594"/>
                    <a:pt x="1101" y="527"/>
                    <a:pt x="1082" y="460"/>
                  </a:cubicBezTo>
                  <a:close/>
                  <a:moveTo>
                    <a:pt x="105" y="717"/>
                  </a:moveTo>
                  <a:cubicBezTo>
                    <a:pt x="112" y="717"/>
                    <a:pt x="116" y="717"/>
                    <a:pt x="120" y="716"/>
                  </a:cubicBezTo>
                  <a:cubicBezTo>
                    <a:pt x="188" y="691"/>
                    <a:pt x="257" y="666"/>
                    <a:pt x="326" y="642"/>
                  </a:cubicBezTo>
                  <a:cubicBezTo>
                    <a:pt x="340" y="637"/>
                    <a:pt x="337" y="628"/>
                    <a:pt x="334" y="618"/>
                  </a:cubicBezTo>
                  <a:cubicBezTo>
                    <a:pt x="321" y="566"/>
                    <a:pt x="308" y="515"/>
                    <a:pt x="296" y="463"/>
                  </a:cubicBezTo>
                  <a:cubicBezTo>
                    <a:pt x="293" y="452"/>
                    <a:pt x="289" y="448"/>
                    <a:pt x="277" y="448"/>
                  </a:cubicBezTo>
                  <a:cubicBezTo>
                    <a:pt x="226" y="450"/>
                    <a:pt x="174" y="452"/>
                    <a:pt x="122" y="453"/>
                  </a:cubicBezTo>
                  <a:cubicBezTo>
                    <a:pt x="110" y="453"/>
                    <a:pt x="105" y="456"/>
                    <a:pt x="103" y="468"/>
                  </a:cubicBezTo>
                  <a:cubicBezTo>
                    <a:pt x="101" y="484"/>
                    <a:pt x="96" y="500"/>
                    <a:pt x="94" y="516"/>
                  </a:cubicBezTo>
                  <a:cubicBezTo>
                    <a:pt x="82" y="584"/>
                    <a:pt x="88" y="650"/>
                    <a:pt x="105" y="717"/>
                  </a:cubicBezTo>
                  <a:close/>
                  <a:moveTo>
                    <a:pt x="824" y="461"/>
                  </a:moveTo>
                  <a:cubicBezTo>
                    <a:pt x="828" y="460"/>
                    <a:pt x="829" y="460"/>
                    <a:pt x="831" y="460"/>
                  </a:cubicBezTo>
                  <a:cubicBezTo>
                    <a:pt x="901" y="434"/>
                    <a:pt x="972" y="409"/>
                    <a:pt x="1042" y="383"/>
                  </a:cubicBezTo>
                  <a:cubicBezTo>
                    <a:pt x="1046" y="382"/>
                    <a:pt x="1049" y="370"/>
                    <a:pt x="1047" y="367"/>
                  </a:cubicBezTo>
                  <a:cubicBezTo>
                    <a:pt x="1011" y="292"/>
                    <a:pt x="960" y="230"/>
                    <a:pt x="893" y="182"/>
                  </a:cubicBezTo>
                  <a:cubicBezTo>
                    <a:pt x="888" y="179"/>
                    <a:pt x="878" y="178"/>
                    <a:pt x="874" y="181"/>
                  </a:cubicBezTo>
                  <a:cubicBezTo>
                    <a:pt x="831" y="213"/>
                    <a:pt x="789" y="247"/>
                    <a:pt x="747" y="281"/>
                  </a:cubicBezTo>
                  <a:cubicBezTo>
                    <a:pt x="743" y="284"/>
                    <a:pt x="741" y="294"/>
                    <a:pt x="743" y="298"/>
                  </a:cubicBezTo>
                  <a:cubicBezTo>
                    <a:pt x="767" y="350"/>
                    <a:pt x="791" y="401"/>
                    <a:pt x="816" y="451"/>
                  </a:cubicBezTo>
                  <a:cubicBezTo>
                    <a:pt x="818" y="456"/>
                    <a:pt x="822" y="459"/>
                    <a:pt x="824" y="461"/>
                  </a:cubicBezTo>
                  <a:close/>
                  <a:moveTo>
                    <a:pt x="135" y="799"/>
                  </a:moveTo>
                  <a:cubicBezTo>
                    <a:pt x="172" y="882"/>
                    <a:pt x="226" y="945"/>
                    <a:pt x="296" y="996"/>
                  </a:cubicBezTo>
                  <a:cubicBezTo>
                    <a:pt x="300" y="1000"/>
                    <a:pt x="312" y="998"/>
                    <a:pt x="317" y="995"/>
                  </a:cubicBezTo>
                  <a:cubicBezTo>
                    <a:pt x="358" y="964"/>
                    <a:pt x="398" y="931"/>
                    <a:pt x="439" y="900"/>
                  </a:cubicBezTo>
                  <a:cubicBezTo>
                    <a:pt x="448" y="893"/>
                    <a:pt x="450" y="888"/>
                    <a:pt x="445" y="877"/>
                  </a:cubicBezTo>
                  <a:cubicBezTo>
                    <a:pt x="420" y="828"/>
                    <a:pt x="397" y="778"/>
                    <a:pt x="373" y="728"/>
                  </a:cubicBezTo>
                  <a:cubicBezTo>
                    <a:pt x="369" y="718"/>
                    <a:pt x="365" y="716"/>
                    <a:pt x="354" y="720"/>
                  </a:cubicBezTo>
                  <a:cubicBezTo>
                    <a:pt x="311" y="736"/>
                    <a:pt x="267" y="752"/>
                    <a:pt x="223" y="767"/>
                  </a:cubicBezTo>
                  <a:cubicBezTo>
                    <a:pt x="194" y="778"/>
                    <a:pt x="166" y="788"/>
                    <a:pt x="135" y="799"/>
                  </a:cubicBezTo>
                  <a:close/>
                  <a:moveTo>
                    <a:pt x="617" y="257"/>
                  </a:moveTo>
                  <a:cubicBezTo>
                    <a:pt x="577" y="202"/>
                    <a:pt x="537" y="150"/>
                    <a:pt x="475" y="120"/>
                  </a:cubicBezTo>
                  <a:cubicBezTo>
                    <a:pt x="435" y="101"/>
                    <a:pt x="406" y="112"/>
                    <a:pt x="386" y="153"/>
                  </a:cubicBezTo>
                  <a:cubicBezTo>
                    <a:pt x="363" y="202"/>
                    <a:pt x="362" y="254"/>
                    <a:pt x="361" y="307"/>
                  </a:cubicBezTo>
                  <a:cubicBezTo>
                    <a:pt x="361" y="320"/>
                    <a:pt x="364" y="334"/>
                    <a:pt x="366" y="348"/>
                  </a:cubicBezTo>
                  <a:cubicBezTo>
                    <a:pt x="454" y="328"/>
                    <a:pt x="537" y="299"/>
                    <a:pt x="617" y="257"/>
                  </a:cubicBezTo>
                  <a:close/>
                  <a:moveTo>
                    <a:pt x="570" y="921"/>
                  </a:moveTo>
                  <a:cubicBezTo>
                    <a:pt x="582" y="936"/>
                    <a:pt x="591" y="950"/>
                    <a:pt x="602" y="962"/>
                  </a:cubicBezTo>
                  <a:cubicBezTo>
                    <a:pt x="631" y="998"/>
                    <a:pt x="663" y="1031"/>
                    <a:pt x="703" y="1054"/>
                  </a:cubicBezTo>
                  <a:cubicBezTo>
                    <a:pt x="750" y="1080"/>
                    <a:pt x="783" y="1069"/>
                    <a:pt x="805" y="1020"/>
                  </a:cubicBezTo>
                  <a:cubicBezTo>
                    <a:pt x="806" y="1016"/>
                    <a:pt x="807" y="1013"/>
                    <a:pt x="809" y="1009"/>
                  </a:cubicBezTo>
                  <a:cubicBezTo>
                    <a:pt x="828" y="955"/>
                    <a:pt x="826" y="899"/>
                    <a:pt x="825" y="843"/>
                  </a:cubicBezTo>
                  <a:cubicBezTo>
                    <a:pt x="825" y="839"/>
                    <a:pt x="822" y="835"/>
                    <a:pt x="820" y="830"/>
                  </a:cubicBezTo>
                  <a:cubicBezTo>
                    <a:pt x="733" y="851"/>
                    <a:pt x="651" y="880"/>
                    <a:pt x="570" y="921"/>
                  </a:cubicBezTo>
                  <a:close/>
                  <a:moveTo>
                    <a:pt x="282" y="192"/>
                  </a:moveTo>
                  <a:cubicBezTo>
                    <a:pt x="221" y="239"/>
                    <a:pt x="174" y="298"/>
                    <a:pt x="137" y="374"/>
                  </a:cubicBezTo>
                  <a:cubicBezTo>
                    <a:pt x="188" y="371"/>
                    <a:pt x="233" y="369"/>
                    <a:pt x="282" y="366"/>
                  </a:cubicBezTo>
                  <a:cubicBezTo>
                    <a:pt x="282" y="307"/>
                    <a:pt x="282" y="251"/>
                    <a:pt x="282" y="192"/>
                  </a:cubicBezTo>
                  <a:close/>
                  <a:moveTo>
                    <a:pt x="1049" y="809"/>
                  </a:moveTo>
                  <a:cubicBezTo>
                    <a:pt x="1038" y="807"/>
                    <a:pt x="1031" y="806"/>
                    <a:pt x="1024" y="806"/>
                  </a:cubicBezTo>
                  <a:cubicBezTo>
                    <a:pt x="991" y="808"/>
                    <a:pt x="959" y="811"/>
                    <a:pt x="926" y="812"/>
                  </a:cubicBezTo>
                  <a:cubicBezTo>
                    <a:pt x="911" y="813"/>
                    <a:pt x="907" y="817"/>
                    <a:pt x="908" y="832"/>
                  </a:cubicBezTo>
                  <a:cubicBezTo>
                    <a:pt x="909" y="869"/>
                    <a:pt x="908" y="905"/>
                    <a:pt x="907" y="942"/>
                  </a:cubicBezTo>
                  <a:cubicBezTo>
                    <a:pt x="907" y="956"/>
                    <a:pt x="904" y="969"/>
                    <a:pt x="903" y="983"/>
                  </a:cubicBezTo>
                  <a:cubicBezTo>
                    <a:pt x="968" y="938"/>
                    <a:pt x="1014" y="881"/>
                    <a:pt x="1049" y="809"/>
                  </a:cubicBezTo>
                  <a:close/>
                  <a:moveTo>
                    <a:pt x="386" y="1041"/>
                  </a:moveTo>
                  <a:cubicBezTo>
                    <a:pt x="387" y="1044"/>
                    <a:pt x="387" y="1047"/>
                    <a:pt x="388" y="1049"/>
                  </a:cubicBezTo>
                  <a:cubicBezTo>
                    <a:pt x="457" y="1082"/>
                    <a:pt x="530" y="1096"/>
                    <a:pt x="607" y="1094"/>
                  </a:cubicBezTo>
                  <a:cubicBezTo>
                    <a:pt x="606" y="1090"/>
                    <a:pt x="607" y="1088"/>
                    <a:pt x="606" y="1087"/>
                  </a:cubicBezTo>
                  <a:cubicBezTo>
                    <a:pt x="571" y="1048"/>
                    <a:pt x="537" y="1008"/>
                    <a:pt x="502" y="970"/>
                  </a:cubicBezTo>
                  <a:cubicBezTo>
                    <a:pt x="499" y="967"/>
                    <a:pt x="490" y="966"/>
                    <a:pt x="487" y="968"/>
                  </a:cubicBezTo>
                  <a:cubicBezTo>
                    <a:pt x="453" y="992"/>
                    <a:pt x="420" y="1017"/>
                    <a:pt x="386" y="1041"/>
                  </a:cubicBezTo>
                  <a:close/>
                  <a:moveTo>
                    <a:pt x="803" y="136"/>
                  </a:moveTo>
                  <a:cubicBezTo>
                    <a:pt x="774" y="105"/>
                    <a:pt x="620" y="73"/>
                    <a:pt x="581" y="88"/>
                  </a:cubicBezTo>
                  <a:cubicBezTo>
                    <a:pt x="582" y="90"/>
                    <a:pt x="582" y="92"/>
                    <a:pt x="584" y="93"/>
                  </a:cubicBezTo>
                  <a:cubicBezTo>
                    <a:pt x="617" y="131"/>
                    <a:pt x="650" y="169"/>
                    <a:pt x="684" y="206"/>
                  </a:cubicBezTo>
                  <a:cubicBezTo>
                    <a:pt x="688" y="210"/>
                    <a:pt x="700" y="211"/>
                    <a:pt x="704" y="208"/>
                  </a:cubicBezTo>
                  <a:cubicBezTo>
                    <a:pt x="737" y="186"/>
                    <a:pt x="769" y="161"/>
                    <a:pt x="803"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Arial "/>
                <a:ea typeface="+mn-ea"/>
              </a:endParaRPr>
            </a:p>
          </p:txBody>
        </p:sp>
        <p:sp>
          <p:nvSpPr>
            <p:cNvPr id="102" name="Freeform 23">
              <a:extLst>
                <a:ext uri="{FF2B5EF4-FFF2-40B4-BE49-F238E27FC236}">
                  <a16:creationId xmlns:a16="http://schemas.microsoft.com/office/drawing/2014/main" id="{92949F6E-B936-D845-8E67-0F874649ED85}"/>
                </a:ext>
              </a:extLst>
            </p:cNvPr>
            <p:cNvSpPr>
              <a:spLocks/>
            </p:cNvSpPr>
            <p:nvPr/>
          </p:nvSpPr>
          <p:spPr bwMode="auto">
            <a:xfrm>
              <a:off x="-13469938" y="3414713"/>
              <a:ext cx="2125663" cy="2714625"/>
            </a:xfrm>
            <a:custGeom>
              <a:avLst/>
              <a:gdLst>
                <a:gd name="T0" fmla="*/ 831 w 1594"/>
                <a:gd name="T1" fmla="*/ 1956 h 2040"/>
                <a:gd name="T2" fmla="*/ 831 w 1594"/>
                <a:gd name="T3" fmla="*/ 1675 h 2040"/>
                <a:gd name="T4" fmla="*/ 737 w 1594"/>
                <a:gd name="T5" fmla="*/ 1664 h 2040"/>
                <a:gd name="T6" fmla="*/ 357 w 1594"/>
                <a:gd name="T7" fmla="*/ 1503 h 2040"/>
                <a:gd name="T8" fmla="*/ 33 w 1594"/>
                <a:gd name="T9" fmla="*/ 1022 h 2040"/>
                <a:gd name="T10" fmla="*/ 13 w 1594"/>
                <a:gd name="T11" fmla="*/ 701 h 2040"/>
                <a:gd name="T12" fmla="*/ 176 w 1594"/>
                <a:gd name="T13" fmla="*/ 292 h 2040"/>
                <a:gd name="T14" fmla="*/ 531 w 1594"/>
                <a:gd name="T15" fmla="*/ 11 h 2040"/>
                <a:gd name="T16" fmla="*/ 590 w 1594"/>
                <a:gd name="T17" fmla="*/ 30 h 2040"/>
                <a:gd name="T18" fmla="*/ 565 w 1594"/>
                <a:gd name="T19" fmla="*/ 86 h 2040"/>
                <a:gd name="T20" fmla="*/ 389 w 1594"/>
                <a:gd name="T21" fmla="*/ 191 h 2040"/>
                <a:gd name="T22" fmla="*/ 103 w 1594"/>
                <a:gd name="T23" fmla="*/ 663 h 2040"/>
                <a:gd name="T24" fmla="*/ 238 w 1594"/>
                <a:gd name="T25" fmla="*/ 1265 h 2040"/>
                <a:gd name="T26" fmla="*/ 741 w 1594"/>
                <a:gd name="T27" fmla="*/ 1579 h 2040"/>
                <a:gd name="T28" fmla="*/ 1451 w 1594"/>
                <a:gd name="T29" fmla="*/ 1337 h 2040"/>
                <a:gd name="T30" fmla="*/ 1509 w 1594"/>
                <a:gd name="T31" fmla="*/ 1265 h 2040"/>
                <a:gd name="T32" fmla="*/ 1573 w 1594"/>
                <a:gd name="T33" fmla="*/ 1249 h 2040"/>
                <a:gd name="T34" fmla="*/ 1576 w 1594"/>
                <a:gd name="T35" fmla="*/ 1315 h 2040"/>
                <a:gd name="T36" fmla="*/ 1061 w 1594"/>
                <a:gd name="T37" fmla="*/ 1653 h 2040"/>
                <a:gd name="T38" fmla="*/ 916 w 1594"/>
                <a:gd name="T39" fmla="*/ 1676 h 2040"/>
                <a:gd name="T40" fmla="*/ 916 w 1594"/>
                <a:gd name="T41" fmla="*/ 1956 h 2040"/>
                <a:gd name="T42" fmla="*/ 937 w 1594"/>
                <a:gd name="T43" fmla="*/ 1956 h 2040"/>
                <a:gd name="T44" fmla="*/ 1145 w 1594"/>
                <a:gd name="T45" fmla="*/ 1956 h 2040"/>
                <a:gd name="T46" fmla="*/ 1187 w 1594"/>
                <a:gd name="T47" fmla="*/ 2018 h 2040"/>
                <a:gd name="T48" fmla="*/ 1143 w 1594"/>
                <a:gd name="T49" fmla="*/ 2040 h 2040"/>
                <a:gd name="T50" fmla="*/ 651 w 1594"/>
                <a:gd name="T51" fmla="*/ 2040 h 2040"/>
                <a:gd name="T52" fmla="*/ 593 w 1594"/>
                <a:gd name="T53" fmla="*/ 2039 h 2040"/>
                <a:gd name="T54" fmla="*/ 556 w 1594"/>
                <a:gd name="T55" fmla="*/ 2011 h 2040"/>
                <a:gd name="T56" fmla="*/ 570 w 1594"/>
                <a:gd name="T57" fmla="*/ 1966 h 2040"/>
                <a:gd name="T58" fmla="*/ 605 w 1594"/>
                <a:gd name="T59" fmla="*/ 1957 h 2040"/>
                <a:gd name="T60" fmla="*/ 807 w 1594"/>
                <a:gd name="T61" fmla="*/ 1956 h 2040"/>
                <a:gd name="T62" fmla="*/ 831 w 1594"/>
                <a:gd name="T63" fmla="*/ 1956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4" h="2040">
                  <a:moveTo>
                    <a:pt x="831" y="1956"/>
                  </a:moveTo>
                  <a:cubicBezTo>
                    <a:pt x="831" y="1861"/>
                    <a:pt x="831" y="1768"/>
                    <a:pt x="831" y="1675"/>
                  </a:cubicBezTo>
                  <a:cubicBezTo>
                    <a:pt x="799" y="1671"/>
                    <a:pt x="768" y="1669"/>
                    <a:pt x="737" y="1664"/>
                  </a:cubicBezTo>
                  <a:cubicBezTo>
                    <a:pt x="598" y="1641"/>
                    <a:pt x="470" y="1589"/>
                    <a:pt x="357" y="1503"/>
                  </a:cubicBezTo>
                  <a:cubicBezTo>
                    <a:pt x="193" y="1380"/>
                    <a:pt x="85" y="1220"/>
                    <a:pt x="33" y="1022"/>
                  </a:cubicBezTo>
                  <a:cubicBezTo>
                    <a:pt x="6" y="916"/>
                    <a:pt x="0" y="809"/>
                    <a:pt x="13" y="701"/>
                  </a:cubicBezTo>
                  <a:cubicBezTo>
                    <a:pt x="32" y="550"/>
                    <a:pt x="86" y="414"/>
                    <a:pt x="176" y="292"/>
                  </a:cubicBezTo>
                  <a:cubicBezTo>
                    <a:pt x="269" y="166"/>
                    <a:pt x="388" y="73"/>
                    <a:pt x="531" y="11"/>
                  </a:cubicBezTo>
                  <a:cubicBezTo>
                    <a:pt x="556" y="0"/>
                    <a:pt x="580" y="8"/>
                    <a:pt x="590" y="30"/>
                  </a:cubicBezTo>
                  <a:cubicBezTo>
                    <a:pt x="599" y="51"/>
                    <a:pt x="590" y="75"/>
                    <a:pt x="565" y="86"/>
                  </a:cubicBezTo>
                  <a:cubicBezTo>
                    <a:pt x="503" y="115"/>
                    <a:pt x="443" y="148"/>
                    <a:pt x="389" y="191"/>
                  </a:cubicBezTo>
                  <a:cubicBezTo>
                    <a:pt x="236" y="314"/>
                    <a:pt x="139" y="470"/>
                    <a:pt x="103" y="663"/>
                  </a:cubicBezTo>
                  <a:cubicBezTo>
                    <a:pt x="63" y="882"/>
                    <a:pt x="108" y="1084"/>
                    <a:pt x="238" y="1265"/>
                  </a:cubicBezTo>
                  <a:cubicBezTo>
                    <a:pt x="362" y="1438"/>
                    <a:pt x="531" y="1545"/>
                    <a:pt x="741" y="1579"/>
                  </a:cubicBezTo>
                  <a:cubicBezTo>
                    <a:pt x="1019" y="1624"/>
                    <a:pt x="1257" y="1540"/>
                    <a:pt x="1451" y="1337"/>
                  </a:cubicBezTo>
                  <a:cubicBezTo>
                    <a:pt x="1472" y="1314"/>
                    <a:pt x="1490" y="1289"/>
                    <a:pt x="1509" y="1265"/>
                  </a:cubicBezTo>
                  <a:cubicBezTo>
                    <a:pt x="1529" y="1240"/>
                    <a:pt x="1554" y="1234"/>
                    <a:pt x="1573" y="1249"/>
                  </a:cubicBezTo>
                  <a:cubicBezTo>
                    <a:pt x="1593" y="1265"/>
                    <a:pt x="1594" y="1290"/>
                    <a:pt x="1576" y="1315"/>
                  </a:cubicBezTo>
                  <a:cubicBezTo>
                    <a:pt x="1446" y="1491"/>
                    <a:pt x="1275" y="1604"/>
                    <a:pt x="1061" y="1653"/>
                  </a:cubicBezTo>
                  <a:cubicBezTo>
                    <a:pt x="1014" y="1664"/>
                    <a:pt x="966" y="1668"/>
                    <a:pt x="916" y="1676"/>
                  </a:cubicBezTo>
                  <a:cubicBezTo>
                    <a:pt x="916" y="1768"/>
                    <a:pt x="916" y="1860"/>
                    <a:pt x="916" y="1956"/>
                  </a:cubicBezTo>
                  <a:cubicBezTo>
                    <a:pt x="923" y="1956"/>
                    <a:pt x="930" y="1956"/>
                    <a:pt x="937" y="1956"/>
                  </a:cubicBezTo>
                  <a:cubicBezTo>
                    <a:pt x="1007" y="1956"/>
                    <a:pt x="1076" y="1956"/>
                    <a:pt x="1145" y="1956"/>
                  </a:cubicBezTo>
                  <a:cubicBezTo>
                    <a:pt x="1183" y="1957"/>
                    <a:pt x="1203" y="1987"/>
                    <a:pt x="1187" y="2018"/>
                  </a:cubicBezTo>
                  <a:cubicBezTo>
                    <a:pt x="1178" y="2036"/>
                    <a:pt x="1162" y="2040"/>
                    <a:pt x="1143" y="2040"/>
                  </a:cubicBezTo>
                  <a:cubicBezTo>
                    <a:pt x="979" y="2040"/>
                    <a:pt x="815" y="2040"/>
                    <a:pt x="651" y="2040"/>
                  </a:cubicBezTo>
                  <a:cubicBezTo>
                    <a:pt x="632" y="2040"/>
                    <a:pt x="612" y="2040"/>
                    <a:pt x="593" y="2039"/>
                  </a:cubicBezTo>
                  <a:cubicBezTo>
                    <a:pt x="574" y="2039"/>
                    <a:pt x="562" y="2028"/>
                    <a:pt x="556" y="2011"/>
                  </a:cubicBezTo>
                  <a:cubicBezTo>
                    <a:pt x="550" y="1994"/>
                    <a:pt x="554" y="1976"/>
                    <a:pt x="570" y="1966"/>
                  </a:cubicBezTo>
                  <a:cubicBezTo>
                    <a:pt x="580" y="1960"/>
                    <a:pt x="593" y="1957"/>
                    <a:pt x="605" y="1957"/>
                  </a:cubicBezTo>
                  <a:cubicBezTo>
                    <a:pt x="673" y="1956"/>
                    <a:pt x="740" y="1956"/>
                    <a:pt x="807" y="1956"/>
                  </a:cubicBezTo>
                  <a:cubicBezTo>
                    <a:pt x="814" y="1956"/>
                    <a:pt x="822" y="1956"/>
                    <a:pt x="831" y="19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Arial "/>
                <a:ea typeface="+mn-ea"/>
              </a:endParaRPr>
            </a:p>
          </p:txBody>
        </p:sp>
      </p:grpSp>
    </p:spTree>
    <p:extLst>
      <p:ext uri="{BB962C8B-B14F-4D97-AF65-F5344CB8AC3E}">
        <p14:creationId xmlns:p14="http://schemas.microsoft.com/office/powerpoint/2010/main" val="3514439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4">
            <a:extLst>
              <a:ext uri="{FF2B5EF4-FFF2-40B4-BE49-F238E27FC236}">
                <a16:creationId xmlns:a16="http://schemas.microsoft.com/office/drawing/2014/main" id="{F2596971-D400-4913-B728-18122866CEE2}"/>
              </a:ext>
            </a:extLst>
          </p:cNvPr>
          <p:cNvSpPr>
            <a:spLocks noChangeArrowheads="1"/>
          </p:cNvSpPr>
          <p:nvPr/>
        </p:nvSpPr>
        <p:spPr bwMode="gray">
          <a:xfrm>
            <a:off x="310896" y="2278995"/>
            <a:ext cx="3305392" cy="153888"/>
          </a:xfrm>
          <a:prstGeom prst="rect">
            <a:avLst/>
          </a:prstGeom>
          <a:noFill/>
          <a:ln w="9525">
            <a:noFill/>
            <a:miter lim="800000"/>
            <a:headEnd/>
            <a:tailEnd/>
          </a:ln>
        </p:spPr>
        <p:txBody>
          <a:bodyPr wrap="none" lIns="0" tIns="0" rIns="0" bIns="0" anchor="b">
            <a:spAutoFit/>
          </a:bodyPr>
          <a:lstStyle/>
          <a:p>
            <a:pPr>
              <a:spcBef>
                <a:spcPts val="0"/>
              </a:spcBef>
              <a:spcAft>
                <a:spcPts val="0"/>
              </a:spcAft>
              <a:buClr>
                <a:srgbClr val="969696"/>
              </a:buClr>
              <a:buSzPct val="60000"/>
              <a:defRPr/>
            </a:pPr>
            <a:r>
              <a:rPr lang="en-US" sz="1000" b="1" dirty="0">
                <a:solidFill>
                  <a:srgbClr val="3F3F3F"/>
                </a:solidFill>
              </a:rPr>
              <a:t>Some of the findings in this report, among others, are:</a:t>
            </a:r>
          </a:p>
        </p:txBody>
      </p:sp>
      <p:grpSp>
        <p:nvGrpSpPr>
          <p:cNvPr id="6" name="Group 5">
            <a:extLst>
              <a:ext uri="{FF2B5EF4-FFF2-40B4-BE49-F238E27FC236}">
                <a16:creationId xmlns:a16="http://schemas.microsoft.com/office/drawing/2014/main" id="{494CD2E2-FC36-8647-9A9B-11B02C3A20B8}"/>
              </a:ext>
            </a:extLst>
          </p:cNvPr>
          <p:cNvGrpSpPr/>
          <p:nvPr/>
        </p:nvGrpSpPr>
        <p:grpSpPr>
          <a:xfrm>
            <a:off x="0" y="3432494"/>
            <a:ext cx="12191999" cy="757371"/>
            <a:chOff x="0" y="3384970"/>
            <a:chExt cx="12191999" cy="757371"/>
          </a:xfrm>
        </p:grpSpPr>
        <p:sp>
          <p:nvSpPr>
            <p:cNvPr id="7" name="TextBox 6">
              <a:extLst>
                <a:ext uri="{FF2B5EF4-FFF2-40B4-BE49-F238E27FC236}">
                  <a16:creationId xmlns:a16="http://schemas.microsoft.com/office/drawing/2014/main" id="{4C51769B-1A75-4312-B44F-AD99D27B944F}"/>
                </a:ext>
              </a:extLst>
            </p:cNvPr>
            <p:cNvSpPr txBox="1"/>
            <p:nvPr/>
          </p:nvSpPr>
          <p:spPr>
            <a:xfrm>
              <a:off x="1914779" y="3437981"/>
              <a:ext cx="9991471" cy="704360"/>
            </a:xfrm>
            <a:prstGeom prst="rect">
              <a:avLst/>
            </a:prstGeom>
            <a:noFill/>
          </p:spPr>
          <p:txBody>
            <a:bodyPr wrap="square" lIns="0" tIns="0" rIns="0" bIns="0" rtlCol="0">
              <a:spAutoFit/>
            </a:bodyPr>
            <a:lstStyle/>
            <a:p>
              <a:pPr marL="118872" lvl="1" indent="-118872">
                <a:lnSpc>
                  <a:spcPct val="117000"/>
                </a:lnSpc>
                <a:spcAft>
                  <a:spcPts val="0"/>
                </a:spcAft>
                <a:buClr>
                  <a:srgbClr val="005A8C"/>
                </a:buClr>
                <a:buSzPct val="70000"/>
                <a:buFont typeface="Wingdings" pitchFamily="2" charset="2"/>
                <a:buChar char="l"/>
                <a:defRPr/>
              </a:pPr>
              <a:r>
                <a:rPr lang="en-US" sz="1000" dirty="0">
                  <a:latin typeface="Arial "/>
                </a:rPr>
                <a:t>The R&amp;R market grew at a rate of 9-11% in 2020, as enterprises globally grappled with COVID-19 but continued focusing on an enhanced employee experience </a:t>
              </a:r>
            </a:p>
            <a:p>
              <a:pPr marL="118872" lvl="1" indent="-118872">
                <a:lnSpc>
                  <a:spcPct val="117000"/>
                </a:lnSpc>
                <a:spcAft>
                  <a:spcPts val="0"/>
                </a:spcAft>
                <a:buClr>
                  <a:srgbClr val="005A8C"/>
                </a:buClr>
                <a:buSzPct val="70000"/>
                <a:buFont typeface="Wingdings" pitchFamily="2" charset="2"/>
                <a:buChar char="l"/>
                <a:defRPr/>
              </a:pPr>
              <a:r>
                <a:rPr lang="en-US" sz="1000" dirty="0">
                  <a:latin typeface="Arial "/>
                </a:rPr>
                <a:t>The majority of enterprises adopting R&amp;R solutions were small- or mid-sized enterprises. Buyers from manufacturing, financial services, and healthcare industries have led the adoption of R&amp;R solutions, while newer industries have experienced a rise in demand </a:t>
              </a:r>
            </a:p>
            <a:p>
              <a:pPr marL="118872" lvl="1" indent="-118872">
                <a:lnSpc>
                  <a:spcPct val="117000"/>
                </a:lnSpc>
                <a:spcAft>
                  <a:spcPts val="0"/>
                </a:spcAft>
                <a:buClr>
                  <a:srgbClr val="005A8C"/>
                </a:buClr>
                <a:buSzPct val="70000"/>
                <a:buFont typeface="Wingdings" pitchFamily="2" charset="2"/>
                <a:buChar char="l"/>
                <a:defRPr/>
              </a:pPr>
              <a:r>
                <a:rPr lang="en-US" sz="1000" dirty="0">
                  <a:latin typeface="Arial "/>
                </a:rPr>
                <a:t>North America continues to constitute the largest market and has the highest revenue contribution; whereas the</a:t>
              </a:r>
              <a:r>
                <a:rPr lang="en-US" sz="1000" dirty="0">
                  <a:solidFill>
                    <a:srgbClr val="FF0000"/>
                  </a:solidFill>
                  <a:latin typeface="Arial "/>
                </a:rPr>
                <a:t> </a:t>
              </a:r>
              <a:r>
                <a:rPr lang="en-US" sz="1000" dirty="0">
                  <a:latin typeface="Arial "/>
                </a:rPr>
                <a:t>UK and Asia Pacific are on a growth trajectory</a:t>
              </a:r>
              <a:endParaRPr lang="en-US" sz="1000" dirty="0">
                <a:solidFill>
                  <a:srgbClr val="3F3F3F"/>
                </a:solidFill>
                <a:latin typeface="Arial"/>
              </a:endParaRPr>
            </a:p>
          </p:txBody>
        </p:sp>
        <p:cxnSp>
          <p:nvCxnSpPr>
            <p:cNvPr id="10" name="Straight Connector 9">
              <a:extLst>
                <a:ext uri="{FF2B5EF4-FFF2-40B4-BE49-F238E27FC236}">
                  <a16:creationId xmlns:a16="http://schemas.microsoft.com/office/drawing/2014/main" id="{D371B6AD-631D-4012-A5EE-CC99860A5C02}"/>
                </a:ext>
              </a:extLst>
            </p:cNvPr>
            <p:cNvCxnSpPr/>
            <p:nvPr/>
          </p:nvCxnSpPr>
          <p:spPr bwMode="auto">
            <a:xfrm>
              <a:off x="292606" y="3384970"/>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0" name="KMA1D1FEAF">
              <a:extLst>
                <a:ext uri="{FF2B5EF4-FFF2-40B4-BE49-F238E27FC236}">
                  <a16:creationId xmlns:a16="http://schemas.microsoft.com/office/drawing/2014/main" id="{7E60A716-5263-40D7-A37B-54040E4316B3}"/>
                </a:ext>
              </a:extLst>
            </p:cNvPr>
            <p:cNvSpPr>
              <a:spLocks noChangeArrowheads="1"/>
            </p:cNvSpPr>
            <p:nvPr>
              <p:custDataLst>
                <p:tags r:id="rId5"/>
              </p:custDataLst>
            </p:nvPr>
          </p:nvSpPr>
          <p:spPr bwMode="gray">
            <a:xfrm>
              <a:off x="0" y="3384970"/>
              <a:ext cx="1728216" cy="485506"/>
            </a:xfrm>
            <a:prstGeom prst="homePlate">
              <a:avLst>
                <a:gd name="adj" fmla="val 43081"/>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000" b="1" dirty="0">
                  <a:solidFill>
                    <a:srgbClr val="FFFFFF"/>
                  </a:solidFill>
                  <a:latin typeface="Arial"/>
                </a:rPr>
                <a:t>R&amp;R market overview</a:t>
              </a:r>
            </a:p>
          </p:txBody>
        </p:sp>
      </p:grpSp>
      <p:grpSp>
        <p:nvGrpSpPr>
          <p:cNvPr id="5" name="Group 4">
            <a:extLst>
              <a:ext uri="{FF2B5EF4-FFF2-40B4-BE49-F238E27FC236}">
                <a16:creationId xmlns:a16="http://schemas.microsoft.com/office/drawing/2014/main" id="{4A2CF09A-4A3F-644B-9276-0188EE899D88}"/>
              </a:ext>
            </a:extLst>
          </p:cNvPr>
          <p:cNvGrpSpPr/>
          <p:nvPr/>
        </p:nvGrpSpPr>
        <p:grpSpPr>
          <a:xfrm>
            <a:off x="0" y="4323011"/>
            <a:ext cx="12191999" cy="485506"/>
            <a:chOff x="0" y="4416418"/>
            <a:chExt cx="12191999" cy="485506"/>
          </a:xfrm>
        </p:grpSpPr>
        <p:sp>
          <p:nvSpPr>
            <p:cNvPr id="8" name="TextBox 7">
              <a:extLst>
                <a:ext uri="{FF2B5EF4-FFF2-40B4-BE49-F238E27FC236}">
                  <a16:creationId xmlns:a16="http://schemas.microsoft.com/office/drawing/2014/main" id="{6E5D878F-44F1-45FD-9C5D-FA05DCBDF0CF}"/>
                </a:ext>
              </a:extLst>
            </p:cNvPr>
            <p:cNvSpPr txBox="1"/>
            <p:nvPr/>
          </p:nvSpPr>
          <p:spPr>
            <a:xfrm>
              <a:off x="1914779" y="4466343"/>
              <a:ext cx="9991471" cy="346249"/>
            </a:xfrm>
            <a:prstGeom prst="rect">
              <a:avLst/>
            </a:prstGeom>
            <a:noFill/>
          </p:spPr>
          <p:txBody>
            <a:bodyPr wrap="square" lIns="0" tIns="0" rIns="0" bIns="0" rtlCol="0">
              <a:spAutoFit/>
            </a:bodyPr>
            <a:lstStyle/>
            <a:p>
              <a:pPr marL="118872" lvl="1" indent="-118872">
                <a:lnSpc>
                  <a:spcPct val="117000"/>
                </a:lnSpc>
                <a:spcAft>
                  <a:spcPts val="0"/>
                </a:spcAft>
                <a:buClr>
                  <a:srgbClr val="005A8C"/>
                </a:buClr>
                <a:buSzPct val="70000"/>
                <a:buFont typeface="Wingdings" pitchFamily="2" charset="2"/>
                <a:buChar char="l"/>
                <a:defRPr/>
              </a:pPr>
              <a:r>
                <a:rPr lang="en-US" sz="1000" dirty="0">
                  <a:latin typeface="Arial "/>
                </a:rPr>
                <a:t>Buyers prioritize flexible solutions to cater to their company-specific requirements, as there is an increased focus on overall employee experience as a part of their HR strategy. </a:t>
              </a:r>
            </a:p>
            <a:p>
              <a:pPr marL="118872" lvl="1" indent="-118872">
                <a:lnSpc>
                  <a:spcPct val="117000"/>
                </a:lnSpc>
                <a:spcAft>
                  <a:spcPts val="0"/>
                </a:spcAft>
                <a:buClr>
                  <a:srgbClr val="005A8C"/>
                </a:buClr>
                <a:buSzPct val="70000"/>
                <a:buFont typeface="Wingdings" pitchFamily="2" charset="2"/>
                <a:buChar char="l"/>
                <a:defRPr/>
              </a:pPr>
              <a:r>
                <a:rPr lang="en-US" sz="1000" dirty="0">
                  <a:latin typeface="Arial "/>
                </a:rPr>
                <a:t>In line with improving buyer satisfaction and serving adoption drivers, R&amp;R providers are adopting a multi-prong approach to revamp their present capabilities </a:t>
              </a:r>
            </a:p>
          </p:txBody>
        </p:sp>
        <p:cxnSp>
          <p:nvCxnSpPr>
            <p:cNvPr id="11" name="Straight Connector 10">
              <a:extLst>
                <a:ext uri="{FF2B5EF4-FFF2-40B4-BE49-F238E27FC236}">
                  <a16:creationId xmlns:a16="http://schemas.microsoft.com/office/drawing/2014/main" id="{9E2458B0-F349-499D-AAA2-28025EF1BC63}"/>
                </a:ext>
              </a:extLst>
            </p:cNvPr>
            <p:cNvCxnSpPr/>
            <p:nvPr/>
          </p:nvCxnSpPr>
          <p:spPr bwMode="auto">
            <a:xfrm>
              <a:off x="292606" y="4416418"/>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1" name="KMA1D1FEAF">
              <a:extLst>
                <a:ext uri="{FF2B5EF4-FFF2-40B4-BE49-F238E27FC236}">
                  <a16:creationId xmlns:a16="http://schemas.microsoft.com/office/drawing/2014/main" id="{170AADAA-B247-4BC4-B3B0-E0510863B815}"/>
                </a:ext>
              </a:extLst>
            </p:cNvPr>
            <p:cNvSpPr>
              <a:spLocks noChangeArrowheads="1"/>
            </p:cNvSpPr>
            <p:nvPr>
              <p:custDataLst>
                <p:tags r:id="rId4"/>
              </p:custDataLst>
            </p:nvPr>
          </p:nvSpPr>
          <p:spPr bwMode="gray">
            <a:xfrm>
              <a:off x="0" y="4416418"/>
              <a:ext cx="1728216" cy="485506"/>
            </a:xfrm>
            <a:prstGeom prst="homePlate">
              <a:avLst>
                <a:gd name="adj" fmla="val 46071"/>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000" b="1" dirty="0">
                  <a:solidFill>
                    <a:srgbClr val="FFFFFF"/>
                  </a:solidFill>
                  <a:latin typeface="Arial"/>
                </a:rPr>
                <a:t>Key trends of the R&amp;R market</a:t>
              </a:r>
            </a:p>
          </p:txBody>
        </p:sp>
      </p:grpSp>
      <p:grpSp>
        <p:nvGrpSpPr>
          <p:cNvPr id="4" name="Group 3">
            <a:extLst>
              <a:ext uri="{FF2B5EF4-FFF2-40B4-BE49-F238E27FC236}">
                <a16:creationId xmlns:a16="http://schemas.microsoft.com/office/drawing/2014/main" id="{53C0F78B-84B1-4D44-88F0-6A0657CAE81E}"/>
              </a:ext>
            </a:extLst>
          </p:cNvPr>
          <p:cNvGrpSpPr/>
          <p:nvPr/>
        </p:nvGrpSpPr>
        <p:grpSpPr>
          <a:xfrm>
            <a:off x="0" y="4941663"/>
            <a:ext cx="12191999" cy="757592"/>
            <a:chOff x="0" y="5095818"/>
            <a:chExt cx="12191999" cy="757592"/>
          </a:xfrm>
        </p:grpSpPr>
        <p:sp>
          <p:nvSpPr>
            <p:cNvPr id="9" name="TextBox 8">
              <a:extLst>
                <a:ext uri="{FF2B5EF4-FFF2-40B4-BE49-F238E27FC236}">
                  <a16:creationId xmlns:a16="http://schemas.microsoft.com/office/drawing/2014/main" id="{9DFF69AF-3FF5-4892-910C-A6AB04917686}"/>
                </a:ext>
              </a:extLst>
            </p:cNvPr>
            <p:cNvSpPr txBox="1"/>
            <p:nvPr/>
          </p:nvSpPr>
          <p:spPr>
            <a:xfrm>
              <a:off x="1914779" y="5149050"/>
              <a:ext cx="9991471" cy="704360"/>
            </a:xfrm>
            <a:prstGeom prst="rect">
              <a:avLst/>
            </a:prstGeom>
            <a:noFill/>
          </p:spPr>
          <p:txBody>
            <a:bodyPr wrap="square" lIns="0" tIns="0" rIns="0" bIns="0" rtlCol="0">
              <a:spAutoFit/>
            </a:bodyPr>
            <a:lstStyle/>
            <a:p>
              <a:pPr marL="118872" lvl="1" indent="-118872">
                <a:lnSpc>
                  <a:spcPct val="117000"/>
                </a:lnSpc>
                <a:spcAft>
                  <a:spcPts val="0"/>
                </a:spcAft>
                <a:buClr>
                  <a:srgbClr val="005A8C"/>
                </a:buClr>
                <a:buSzPct val="70000"/>
                <a:buFont typeface="Wingdings" pitchFamily="2" charset="2"/>
                <a:buChar char="l"/>
                <a:defRPr/>
              </a:pPr>
              <a:r>
                <a:rPr lang="en-US" sz="1000" dirty="0">
                  <a:latin typeface="Arial "/>
                </a:rPr>
                <a:t>Leaders contributed more than 50% of the market share in terms of revenue in 2020 </a:t>
              </a:r>
            </a:p>
            <a:p>
              <a:pPr marL="118872" lvl="1" indent="-118872">
                <a:lnSpc>
                  <a:spcPct val="117000"/>
                </a:lnSpc>
                <a:spcAft>
                  <a:spcPts val="0"/>
                </a:spcAft>
                <a:buClr>
                  <a:srgbClr val="005A8C"/>
                </a:buClr>
                <a:buSzPct val="70000"/>
                <a:buFont typeface="Wingdings" pitchFamily="2" charset="2"/>
                <a:buChar char="l"/>
                <a:defRPr/>
              </a:pPr>
              <a:r>
                <a:rPr lang="en-US" sz="1000" dirty="0">
                  <a:latin typeface="Arial "/>
                </a:rPr>
                <a:t>There is a significant gap between Leaders and Others, owing to Leaders’ increased capabilities and investments leading to attracting more clientele and delivering better value to buyers</a:t>
              </a:r>
            </a:p>
            <a:p>
              <a:pPr marL="118872" lvl="1" indent="-118872">
                <a:lnSpc>
                  <a:spcPct val="117000"/>
                </a:lnSpc>
                <a:spcAft>
                  <a:spcPts val="0"/>
                </a:spcAft>
                <a:buClr>
                  <a:srgbClr val="005A8C"/>
                </a:buClr>
                <a:buSzPct val="70000"/>
                <a:buFont typeface="Wingdings" pitchFamily="2" charset="2"/>
                <a:buChar char="l"/>
                <a:defRPr/>
              </a:pPr>
              <a:r>
                <a:rPr lang="en-US" sz="1000" dirty="0">
                  <a:latin typeface="Arial "/>
                </a:rPr>
                <a:t>Client satisfaction levels of Leaders are significantly higher than Others across the dimensions, with the widest gap in next-generation technologies offered</a:t>
              </a:r>
            </a:p>
          </p:txBody>
        </p:sp>
        <p:cxnSp>
          <p:nvCxnSpPr>
            <p:cNvPr id="12" name="Straight Connector 11">
              <a:extLst>
                <a:ext uri="{FF2B5EF4-FFF2-40B4-BE49-F238E27FC236}">
                  <a16:creationId xmlns:a16="http://schemas.microsoft.com/office/drawing/2014/main" id="{4694C394-1DEB-4D2A-ADF2-0A291DDFF93F}"/>
                </a:ext>
              </a:extLst>
            </p:cNvPr>
            <p:cNvCxnSpPr/>
            <p:nvPr/>
          </p:nvCxnSpPr>
          <p:spPr bwMode="auto">
            <a:xfrm>
              <a:off x="292606" y="5095818"/>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2" name="KMA1D1FEAF">
              <a:extLst>
                <a:ext uri="{FF2B5EF4-FFF2-40B4-BE49-F238E27FC236}">
                  <a16:creationId xmlns:a16="http://schemas.microsoft.com/office/drawing/2014/main" id="{20DEA367-B737-46A0-B9AE-B017D51A0E11}"/>
                </a:ext>
              </a:extLst>
            </p:cNvPr>
            <p:cNvSpPr>
              <a:spLocks noChangeArrowheads="1"/>
            </p:cNvSpPr>
            <p:nvPr>
              <p:custDataLst>
                <p:tags r:id="rId3"/>
              </p:custDataLst>
            </p:nvPr>
          </p:nvSpPr>
          <p:spPr bwMode="gray">
            <a:xfrm>
              <a:off x="0" y="5095818"/>
              <a:ext cx="1728216" cy="485506"/>
            </a:xfrm>
            <a:prstGeom prst="homePlate">
              <a:avLst>
                <a:gd name="adj" fmla="val 45324"/>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000" b="1" dirty="0">
                  <a:solidFill>
                    <a:srgbClr val="FFFFFF"/>
                  </a:solidFill>
                  <a:latin typeface="Arial"/>
                </a:rPr>
                <a:t>Solution provider landscape</a:t>
              </a:r>
            </a:p>
          </p:txBody>
        </p:sp>
      </p:grpSp>
      <p:sp>
        <p:nvSpPr>
          <p:cNvPr id="26" name="object 3">
            <a:extLst>
              <a:ext uri="{FF2B5EF4-FFF2-40B4-BE49-F238E27FC236}">
                <a16:creationId xmlns:a16="http://schemas.microsoft.com/office/drawing/2014/main" id="{CA0451B7-610A-4DBE-ADD3-624003A3D608}"/>
              </a:ext>
            </a:extLst>
          </p:cNvPr>
          <p:cNvSpPr txBox="1"/>
          <p:nvPr/>
        </p:nvSpPr>
        <p:spPr>
          <a:xfrm>
            <a:off x="310896" y="1665758"/>
            <a:ext cx="11612880" cy="524311"/>
          </a:xfrm>
          <a:prstGeom prst="rect">
            <a:avLst/>
          </a:prstGeom>
        </p:spPr>
        <p:txBody>
          <a:bodyPr vert="horz" wrap="square" lIns="0" tIns="0" rIns="0" bIns="0" rtlCol="0">
            <a:spAutoFit/>
          </a:bodyPr>
          <a:lstStyle/>
          <a:p>
            <a:pPr marL="12700" marR="5080">
              <a:lnSpc>
                <a:spcPct val="117000"/>
              </a:lnSpc>
            </a:pPr>
            <a:r>
              <a:rPr lang="en-US" sz="1000" spc="-5" dirty="0">
                <a:solidFill>
                  <a:srgbClr val="3E3E3E"/>
                </a:solidFill>
                <a:cs typeface="Arial"/>
              </a:rPr>
              <a:t>This report examines the global R&amp;R market in detail. It focuses on the impact of COVID-19 on the overall employee experience and hence, the R&amp;R space, key trends and growth in the market, and the evolving buyer asks. It also provides the overall competitive landscape and compares the performance of the Leaders with that of Others (includes Major Contenders and Aspirants). Furthermore, it identifies </a:t>
            </a:r>
            <a:br>
              <a:rPr lang="en-US" sz="1000" spc="-5" dirty="0">
                <a:solidFill>
                  <a:srgbClr val="3E3E3E"/>
                </a:solidFill>
                <a:cs typeface="Arial"/>
              </a:rPr>
            </a:br>
            <a:r>
              <a:rPr lang="en-US" sz="1000" spc="-5" dirty="0">
                <a:solidFill>
                  <a:srgbClr val="3E3E3E"/>
                </a:solidFill>
                <a:cs typeface="Arial"/>
              </a:rPr>
              <a:t>the key implications of the research findings for buyers and R&amp;R providers. </a:t>
            </a:r>
          </a:p>
        </p:txBody>
      </p:sp>
      <p:grpSp>
        <p:nvGrpSpPr>
          <p:cNvPr id="14" name="Group 13">
            <a:extLst>
              <a:ext uri="{FF2B5EF4-FFF2-40B4-BE49-F238E27FC236}">
                <a16:creationId xmlns:a16="http://schemas.microsoft.com/office/drawing/2014/main" id="{30B5D73A-F6B5-DA4B-A44F-355EABD34B57}"/>
              </a:ext>
            </a:extLst>
          </p:cNvPr>
          <p:cNvGrpSpPr/>
          <p:nvPr/>
        </p:nvGrpSpPr>
        <p:grpSpPr>
          <a:xfrm>
            <a:off x="0" y="2536314"/>
            <a:ext cx="12191999" cy="763034"/>
            <a:chOff x="0" y="2536314"/>
            <a:chExt cx="12191999" cy="763034"/>
          </a:xfrm>
        </p:grpSpPr>
        <p:sp>
          <p:nvSpPr>
            <p:cNvPr id="13" name="TextBox 12">
              <a:extLst>
                <a:ext uri="{FF2B5EF4-FFF2-40B4-BE49-F238E27FC236}">
                  <a16:creationId xmlns:a16="http://schemas.microsoft.com/office/drawing/2014/main" id="{D1AEF6A5-A15C-4947-AD35-807CFCA3E699}"/>
                </a:ext>
              </a:extLst>
            </p:cNvPr>
            <p:cNvSpPr txBox="1"/>
            <p:nvPr/>
          </p:nvSpPr>
          <p:spPr>
            <a:xfrm>
              <a:off x="1914779" y="2594988"/>
              <a:ext cx="9991471" cy="704360"/>
            </a:xfrm>
            <a:prstGeom prst="rect">
              <a:avLst/>
            </a:prstGeom>
            <a:noFill/>
          </p:spPr>
          <p:txBody>
            <a:bodyPr wrap="square" lIns="0" tIns="0" rIns="0" bIns="0" rtlCol="0">
              <a:spAutoFit/>
            </a:bodyPr>
            <a:lstStyle/>
            <a:p>
              <a:pPr marL="118872" lvl="1" indent="-118872">
                <a:lnSpc>
                  <a:spcPct val="117000"/>
                </a:lnSpc>
                <a:spcAft>
                  <a:spcPts val="0"/>
                </a:spcAft>
                <a:buClr>
                  <a:srgbClr val="005A8C"/>
                </a:buClr>
                <a:buSzPct val="70000"/>
                <a:buFont typeface="Wingdings" pitchFamily="2" charset="2"/>
                <a:buChar char="l"/>
                <a:defRPr/>
              </a:pPr>
              <a:r>
                <a:rPr lang="en-US" sz="1000" dirty="0">
                  <a:latin typeface="Arial "/>
                </a:rPr>
                <a:t>COVID-19 brought unprecedented uncertainty in many organizations and now buyers are seeking holistic solutions to build employee resilience and future-proof their HR strategies</a:t>
              </a:r>
            </a:p>
            <a:p>
              <a:pPr marL="118872" lvl="1" indent="-118872">
                <a:lnSpc>
                  <a:spcPct val="117000"/>
                </a:lnSpc>
                <a:spcAft>
                  <a:spcPts val="0"/>
                </a:spcAft>
                <a:buClr>
                  <a:srgbClr val="005A8C"/>
                </a:buClr>
                <a:buSzPct val="70000"/>
                <a:buFont typeface="Wingdings" pitchFamily="2" charset="2"/>
                <a:buChar char="l"/>
                <a:defRPr/>
              </a:pPr>
              <a:r>
                <a:rPr lang="en-US" sz="1000" dirty="0">
                  <a:latin typeface="Arial "/>
                </a:rPr>
                <a:t>The need to have tailored and integrated solutions is reflected in how key buyer objectives for outsourcing have evolved to enhance focus on employee experience and build </a:t>
              </a:r>
              <a:br>
                <a:rPr lang="en-US" sz="1000" dirty="0">
                  <a:latin typeface="Arial "/>
                </a:rPr>
              </a:br>
              <a:r>
                <a:rPr lang="en-US" sz="1000" dirty="0">
                  <a:latin typeface="Arial "/>
                </a:rPr>
                <a:t>a resilient organization</a:t>
              </a:r>
              <a:endParaRPr lang="en-US" sz="1000" dirty="0">
                <a:solidFill>
                  <a:srgbClr val="3F3F3F"/>
                </a:solidFill>
                <a:latin typeface="Arial"/>
              </a:endParaRPr>
            </a:p>
          </p:txBody>
        </p:sp>
        <p:cxnSp>
          <p:nvCxnSpPr>
            <p:cNvPr id="27" name="Straight Connector 26">
              <a:extLst>
                <a:ext uri="{FF2B5EF4-FFF2-40B4-BE49-F238E27FC236}">
                  <a16:creationId xmlns:a16="http://schemas.microsoft.com/office/drawing/2014/main" id="{353FD80B-E42C-43D1-B323-E9AE1C6A077B}"/>
                </a:ext>
              </a:extLst>
            </p:cNvPr>
            <p:cNvCxnSpPr/>
            <p:nvPr/>
          </p:nvCxnSpPr>
          <p:spPr bwMode="auto">
            <a:xfrm>
              <a:off x="292606" y="2536314"/>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8" name="KMA1D1FEAF">
              <a:extLst>
                <a:ext uri="{FF2B5EF4-FFF2-40B4-BE49-F238E27FC236}">
                  <a16:creationId xmlns:a16="http://schemas.microsoft.com/office/drawing/2014/main" id="{4D1FE240-2603-47A7-B2EE-9669C334CF77}"/>
                </a:ext>
              </a:extLst>
            </p:cNvPr>
            <p:cNvSpPr>
              <a:spLocks noChangeArrowheads="1"/>
            </p:cNvSpPr>
            <p:nvPr>
              <p:custDataLst>
                <p:tags r:id="rId2"/>
              </p:custDataLst>
            </p:nvPr>
          </p:nvSpPr>
          <p:spPr bwMode="gray">
            <a:xfrm>
              <a:off x="0" y="2536314"/>
              <a:ext cx="1728216" cy="485506"/>
            </a:xfrm>
            <a:prstGeom prst="homePlate">
              <a:avLst>
                <a:gd name="adj" fmla="val 43455"/>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000" b="1" dirty="0">
                  <a:solidFill>
                    <a:srgbClr val="FFFFFF"/>
                  </a:solidFill>
                  <a:latin typeface="Arial"/>
                </a:rPr>
                <a:t>COVID-19 and its implications</a:t>
              </a:r>
            </a:p>
          </p:txBody>
        </p:sp>
      </p:grpSp>
      <p:sp>
        <p:nvSpPr>
          <p:cNvPr id="2" name="Title 1">
            <a:extLst>
              <a:ext uri="{FF2B5EF4-FFF2-40B4-BE49-F238E27FC236}">
                <a16:creationId xmlns:a16="http://schemas.microsoft.com/office/drawing/2014/main" id="{17139ACC-19BA-4BE8-8726-201778DECC45}"/>
              </a:ext>
            </a:extLst>
          </p:cNvPr>
          <p:cNvSpPr>
            <a:spLocks noGrp="1"/>
          </p:cNvSpPr>
          <p:nvPr>
            <p:ph type="title"/>
          </p:nvPr>
        </p:nvSpPr>
        <p:spPr/>
        <p:txBody>
          <a:bodyPr/>
          <a:lstStyle/>
          <a:p>
            <a:r>
              <a:rPr lang="en-US" dirty="0"/>
              <a:t>Overview and abbreviated summary of key messages</a:t>
            </a:r>
            <a:endParaRPr lang="en-IN" dirty="0"/>
          </a:p>
        </p:txBody>
      </p:sp>
      <p:grpSp>
        <p:nvGrpSpPr>
          <p:cNvPr id="15" name="Group 14">
            <a:extLst>
              <a:ext uri="{FF2B5EF4-FFF2-40B4-BE49-F238E27FC236}">
                <a16:creationId xmlns:a16="http://schemas.microsoft.com/office/drawing/2014/main" id="{10D46707-E5CF-ED48-AC11-AF0535FDD962}"/>
              </a:ext>
            </a:extLst>
          </p:cNvPr>
          <p:cNvGrpSpPr/>
          <p:nvPr/>
        </p:nvGrpSpPr>
        <p:grpSpPr>
          <a:xfrm>
            <a:off x="-3683" y="5832401"/>
            <a:ext cx="12191999" cy="577543"/>
            <a:chOff x="-3683" y="5921422"/>
            <a:chExt cx="12191999" cy="577543"/>
          </a:xfrm>
        </p:grpSpPr>
        <p:grpSp>
          <p:nvGrpSpPr>
            <p:cNvPr id="3" name="Group 2">
              <a:extLst>
                <a:ext uri="{FF2B5EF4-FFF2-40B4-BE49-F238E27FC236}">
                  <a16:creationId xmlns:a16="http://schemas.microsoft.com/office/drawing/2014/main" id="{4C680503-32EA-E84F-B6F1-1A3E33C05B69}"/>
                </a:ext>
              </a:extLst>
            </p:cNvPr>
            <p:cNvGrpSpPr/>
            <p:nvPr/>
          </p:nvGrpSpPr>
          <p:grpSpPr>
            <a:xfrm>
              <a:off x="288923" y="5921422"/>
              <a:ext cx="11899393" cy="577543"/>
              <a:chOff x="288923" y="5921422"/>
              <a:chExt cx="11899393" cy="577543"/>
            </a:xfrm>
          </p:grpSpPr>
          <p:sp>
            <p:nvSpPr>
              <p:cNvPr id="19" name="TextBox 18">
                <a:extLst>
                  <a:ext uri="{FF2B5EF4-FFF2-40B4-BE49-F238E27FC236}">
                    <a16:creationId xmlns:a16="http://schemas.microsoft.com/office/drawing/2014/main" id="{29D15A47-6D19-41DE-8022-B37711D2C069}"/>
                  </a:ext>
                </a:extLst>
              </p:cNvPr>
              <p:cNvSpPr txBox="1"/>
              <p:nvPr/>
            </p:nvSpPr>
            <p:spPr>
              <a:xfrm>
                <a:off x="1911096" y="5974654"/>
                <a:ext cx="9991471" cy="524311"/>
              </a:xfrm>
              <a:prstGeom prst="rect">
                <a:avLst/>
              </a:prstGeom>
              <a:noFill/>
            </p:spPr>
            <p:txBody>
              <a:bodyPr wrap="square" lIns="0" tIns="0" rIns="0" bIns="0" rtlCol="0">
                <a:spAutoFit/>
              </a:bodyPr>
              <a:lstStyle/>
              <a:p>
                <a:pPr marL="0" lvl="1">
                  <a:lnSpc>
                    <a:spcPct val="117000"/>
                  </a:lnSpc>
                  <a:spcAft>
                    <a:spcPts val="0"/>
                  </a:spcAft>
                  <a:buClr>
                    <a:srgbClr val="005A8C"/>
                  </a:buClr>
                  <a:buSzPct val="70000"/>
                  <a:defRPr/>
                </a:pPr>
                <a:r>
                  <a:rPr lang="en-US" sz="1000" dirty="0">
                    <a:latin typeface="Arial "/>
                  </a:rPr>
                  <a:t>Challenges faced by enterprises due to the pandemic will have a long-term impact on the way they engage with the employees. They will continue to explore new strategies </a:t>
                </a:r>
                <a:br>
                  <a:rPr lang="en-US" sz="1000" dirty="0">
                    <a:latin typeface="Arial "/>
                  </a:rPr>
                </a:br>
                <a:r>
                  <a:rPr lang="en-US" sz="1000" dirty="0">
                    <a:latin typeface="Arial "/>
                  </a:rPr>
                  <a:t>to deliver a superior employee experience. Enterprises will focus on employees’ mental and physical well-being and will ramp up </a:t>
                </a:r>
                <a:r>
                  <a:rPr lang="en-IN" sz="1000" dirty="0">
                    <a:latin typeface="Arial "/>
                  </a:rPr>
                  <a:t>post-implementation support and internal communication initiatives to promote R&amp;R practices. </a:t>
                </a:r>
                <a:endParaRPr lang="en-US" sz="1000" dirty="0"/>
              </a:p>
            </p:txBody>
          </p:sp>
          <p:cxnSp>
            <p:nvCxnSpPr>
              <p:cNvPr id="23" name="Straight Connector 22">
                <a:extLst>
                  <a:ext uri="{FF2B5EF4-FFF2-40B4-BE49-F238E27FC236}">
                    <a16:creationId xmlns:a16="http://schemas.microsoft.com/office/drawing/2014/main" id="{427A6044-1A3F-4335-B1F2-9783FC248880}"/>
                  </a:ext>
                </a:extLst>
              </p:cNvPr>
              <p:cNvCxnSpPr/>
              <p:nvPr/>
            </p:nvCxnSpPr>
            <p:spPr bwMode="auto">
              <a:xfrm>
                <a:off x="288923" y="5921422"/>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grpSp>
        <p:sp>
          <p:nvSpPr>
            <p:cNvPr id="24" name="KMA1D1FEAF">
              <a:extLst>
                <a:ext uri="{FF2B5EF4-FFF2-40B4-BE49-F238E27FC236}">
                  <a16:creationId xmlns:a16="http://schemas.microsoft.com/office/drawing/2014/main" id="{C3FDA586-8950-4736-9EE4-428C72416000}"/>
                </a:ext>
              </a:extLst>
            </p:cNvPr>
            <p:cNvSpPr>
              <a:spLocks noChangeArrowheads="1"/>
            </p:cNvSpPr>
            <p:nvPr>
              <p:custDataLst>
                <p:tags r:id="rId1"/>
              </p:custDataLst>
            </p:nvPr>
          </p:nvSpPr>
          <p:spPr bwMode="gray">
            <a:xfrm>
              <a:off x="-3683" y="5921422"/>
              <a:ext cx="1728216" cy="485506"/>
            </a:xfrm>
            <a:prstGeom prst="homePlate">
              <a:avLst>
                <a:gd name="adj" fmla="val 45324"/>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000" b="1" dirty="0">
                  <a:solidFill>
                    <a:srgbClr val="FFFFFF"/>
                  </a:solidFill>
                  <a:latin typeface="Arial"/>
                </a:rPr>
                <a:t>Outlook for 2021-22</a:t>
              </a:r>
            </a:p>
          </p:txBody>
        </p:sp>
      </p:grpSp>
    </p:spTree>
    <p:extLst>
      <p:ext uri="{BB962C8B-B14F-4D97-AF65-F5344CB8AC3E}">
        <p14:creationId xmlns:p14="http://schemas.microsoft.com/office/powerpoint/2010/main" val="2889977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able 26">
            <a:extLst>
              <a:ext uri="{FF2B5EF4-FFF2-40B4-BE49-F238E27FC236}">
                <a16:creationId xmlns:a16="http://schemas.microsoft.com/office/drawing/2014/main" id="{1D6C8B76-4277-4DBD-9D74-124E6BA7800C}"/>
              </a:ext>
            </a:extLst>
          </p:cNvPr>
          <p:cNvGraphicFramePr>
            <a:graphicFrameLocks noGrp="1"/>
          </p:cNvGraphicFramePr>
          <p:nvPr>
            <p:extLst>
              <p:ext uri="{D42A27DB-BD31-4B8C-83A1-F6EECF244321}">
                <p14:modId xmlns:p14="http://schemas.microsoft.com/office/powerpoint/2010/main" val="2477722518"/>
              </p:ext>
            </p:extLst>
          </p:nvPr>
        </p:nvGraphicFramePr>
        <p:xfrm>
          <a:off x="307974" y="1657349"/>
          <a:ext cx="11597514" cy="4745884"/>
        </p:xfrm>
        <a:graphic>
          <a:graphicData uri="http://schemas.openxmlformats.org/drawingml/2006/table">
            <a:tbl>
              <a:tblPr firstRow="1" bandRow="1">
                <a:tableStyleId>{5C22544A-7EE6-4342-B048-85BDC9FD1C3A}</a:tableStyleId>
              </a:tblPr>
              <a:tblGrid>
                <a:gridCol w="5798757">
                  <a:extLst>
                    <a:ext uri="{9D8B030D-6E8A-4147-A177-3AD203B41FA5}">
                      <a16:colId xmlns:a16="http://schemas.microsoft.com/office/drawing/2014/main" val="4123634592"/>
                    </a:ext>
                  </a:extLst>
                </a:gridCol>
                <a:gridCol w="5798757">
                  <a:extLst>
                    <a:ext uri="{9D8B030D-6E8A-4147-A177-3AD203B41FA5}">
                      <a16:colId xmlns:a16="http://schemas.microsoft.com/office/drawing/2014/main" val="3598086808"/>
                    </a:ext>
                  </a:extLst>
                </a:gridCol>
              </a:tblGrid>
              <a:tr h="221287">
                <a:tc>
                  <a:txBody>
                    <a:bodyPr/>
                    <a:lstStyle/>
                    <a:p>
                      <a:r>
                        <a:rPr lang="en-US" sz="1100" dirty="0">
                          <a:solidFill>
                            <a:schemeClr val="bg1"/>
                          </a:solidFill>
                        </a:rPr>
                        <a:t>COVID-19 and its implications</a:t>
                      </a:r>
                    </a:p>
                  </a:txBody>
                  <a:tcPr marL="45720" marR="45720" marT="27432" marB="27432">
                    <a:lnL w="9525" cap="flat" cmpd="sng" algn="ctr">
                      <a:solidFill>
                        <a:schemeClr val="bg1">
                          <a:lumMod val="50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r>
                        <a:rPr lang="en-US" sz="1100" dirty="0">
                          <a:solidFill>
                            <a:schemeClr val="bg1"/>
                          </a:solidFill>
                        </a:rPr>
                        <a:t>Adoption by buyer size</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686814725"/>
                  </a:ext>
                </a:extLst>
              </a:tr>
              <a:tr h="2150438">
                <a:tc>
                  <a:txBody>
                    <a:bodyPr/>
                    <a:lstStyle/>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txBody>
                  <a:tcPr marL="45720" marR="45720" marT="27432" marB="27432">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45720" marR="45720" marT="27432" marB="27432">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2930218"/>
                  </a:ext>
                </a:extLst>
              </a:tr>
              <a:tr h="221287">
                <a:tc>
                  <a:txBody>
                    <a:bodyPr/>
                    <a:lstStyle/>
                    <a:p>
                      <a:r>
                        <a:rPr lang="en-US" sz="1100" b="1" dirty="0">
                          <a:solidFill>
                            <a:schemeClr val="bg1"/>
                          </a:solidFill>
                        </a:rPr>
                        <a:t>Key trends in the R&amp;R market</a:t>
                      </a:r>
                    </a:p>
                  </a:txBody>
                  <a:tcPr marL="45720" marR="45720" marT="27432" marB="27432">
                    <a:lnL w="9525" cap="flat" cmpd="sng" algn="ctr">
                      <a:solidFill>
                        <a:schemeClr val="bg1">
                          <a:lumMod val="50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r>
                        <a:rPr lang="en-US" sz="1100" b="1" dirty="0">
                          <a:solidFill>
                            <a:schemeClr val="bg1"/>
                          </a:solidFill>
                        </a:rPr>
                        <a:t>Buyer satisfaction levels</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2551180898"/>
                  </a:ext>
                </a:extLst>
              </a:tr>
              <a:tr h="2150438">
                <a:tc>
                  <a:txBody>
                    <a:bodyPr/>
                    <a:lstStyle/>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txBody>
                  <a:tcPr marL="45720" marR="45720" marT="27432" marB="27432">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45720" marR="45720" marT="27432" marB="27432">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2621175"/>
                  </a:ext>
                </a:extLst>
              </a:tr>
            </a:tbl>
          </a:graphicData>
        </a:graphic>
      </p:graphicFrame>
      <p:sp>
        <p:nvSpPr>
          <p:cNvPr id="3" name="Title 2">
            <a:extLst>
              <a:ext uri="{FF2B5EF4-FFF2-40B4-BE49-F238E27FC236}">
                <a16:creationId xmlns:a16="http://schemas.microsoft.com/office/drawing/2014/main" id="{D076719E-B36E-40E3-97E8-E213435E2096}"/>
              </a:ext>
            </a:extLst>
          </p:cNvPr>
          <p:cNvSpPr>
            <a:spLocks noGrp="1"/>
          </p:cNvSpPr>
          <p:nvPr>
            <p:ph type="title"/>
          </p:nvPr>
        </p:nvSpPr>
        <p:spPr>
          <a:xfrm>
            <a:off x="307975" y="622777"/>
            <a:ext cx="11612880" cy="553998"/>
          </a:xfrm>
          <a:prstGeom prst="rect">
            <a:avLst/>
          </a:prstGeom>
        </p:spPr>
        <p:txBody>
          <a:bodyPr/>
          <a:lstStyle/>
          <a:p>
            <a:r>
              <a:rPr lang="en-US" dirty="0"/>
              <a:t>This study offers four distinct chapters providing a deep dive into key aspects </a:t>
            </a:r>
            <a:br>
              <a:rPr lang="en-US" dirty="0"/>
            </a:br>
            <a:r>
              <a:rPr lang="en-US" dirty="0"/>
              <a:t>of R&amp;R market; below are four charts to illustrate the depth of the report</a:t>
            </a:r>
          </a:p>
        </p:txBody>
      </p:sp>
      <p:grpSp>
        <p:nvGrpSpPr>
          <p:cNvPr id="40" name="Graphic 5">
            <a:extLst>
              <a:ext uri="{FF2B5EF4-FFF2-40B4-BE49-F238E27FC236}">
                <a16:creationId xmlns:a16="http://schemas.microsoft.com/office/drawing/2014/main" id="{5158A260-D528-844B-86CA-7962F5F28F03}"/>
              </a:ext>
            </a:extLst>
          </p:cNvPr>
          <p:cNvGrpSpPr/>
          <p:nvPr/>
        </p:nvGrpSpPr>
        <p:grpSpPr>
          <a:xfrm>
            <a:off x="1360887" y="4420795"/>
            <a:ext cx="563474" cy="563601"/>
            <a:chOff x="5800725" y="3057525"/>
            <a:chExt cx="590550" cy="590683"/>
          </a:xfrm>
          <a:solidFill>
            <a:schemeClr val="accent5">
              <a:lumMod val="50000"/>
            </a:schemeClr>
          </a:solidFill>
        </p:grpSpPr>
        <p:sp>
          <p:nvSpPr>
            <p:cNvPr id="41" name="Graphic 5">
              <a:extLst>
                <a:ext uri="{FF2B5EF4-FFF2-40B4-BE49-F238E27FC236}">
                  <a16:creationId xmlns:a16="http://schemas.microsoft.com/office/drawing/2014/main" id="{A5AFFFEF-38AD-1443-BB07-2F5FCB65A866}"/>
                </a:ext>
              </a:extLst>
            </p:cNvPr>
            <p:cNvSpPr/>
            <p:nvPr/>
          </p:nvSpPr>
          <p:spPr>
            <a:xfrm>
              <a:off x="5838825" y="3057525"/>
              <a:ext cx="514350" cy="323850"/>
            </a:xfrm>
            <a:custGeom>
              <a:avLst/>
              <a:gdLst>
                <a:gd name="connsiteX0" fmla="*/ 121291 w 514350"/>
                <a:gd name="connsiteY0" fmla="*/ 118053 h 323850"/>
                <a:gd name="connsiteX1" fmla="*/ 95250 w 514350"/>
                <a:gd name="connsiteY1" fmla="*/ 126406 h 323850"/>
                <a:gd name="connsiteX2" fmla="*/ 95250 w 514350"/>
                <a:gd name="connsiteY2" fmla="*/ 152400 h 323850"/>
                <a:gd name="connsiteX3" fmla="*/ 55397 w 514350"/>
                <a:gd name="connsiteY3" fmla="*/ 152400 h 323850"/>
                <a:gd name="connsiteX4" fmla="*/ 28575 w 514350"/>
                <a:gd name="connsiteY4" fmla="*/ 133350 h 323850"/>
                <a:gd name="connsiteX5" fmla="*/ 0 w 514350"/>
                <a:gd name="connsiteY5" fmla="*/ 161925 h 323850"/>
                <a:gd name="connsiteX6" fmla="*/ 28575 w 514350"/>
                <a:gd name="connsiteY6" fmla="*/ 190500 h 323850"/>
                <a:gd name="connsiteX7" fmla="*/ 55397 w 514350"/>
                <a:gd name="connsiteY7" fmla="*/ 171450 h 323850"/>
                <a:gd name="connsiteX8" fmla="*/ 95250 w 514350"/>
                <a:gd name="connsiteY8" fmla="*/ 171450 h 323850"/>
                <a:gd name="connsiteX9" fmla="*/ 95250 w 514350"/>
                <a:gd name="connsiteY9" fmla="*/ 197444 h 323850"/>
                <a:gd name="connsiteX10" fmla="*/ 121291 w 514350"/>
                <a:gd name="connsiteY10" fmla="*/ 205788 h 323850"/>
                <a:gd name="connsiteX11" fmla="*/ 130045 w 514350"/>
                <a:gd name="connsiteY11" fmla="*/ 227019 h 323850"/>
                <a:gd name="connsiteX12" fmla="*/ 117548 w 514350"/>
                <a:gd name="connsiteY12" fmla="*/ 251298 h 323850"/>
                <a:gd name="connsiteX13" fmla="*/ 167783 w 514350"/>
                <a:gd name="connsiteY13" fmla="*/ 301533 h 323850"/>
                <a:gd name="connsiteX14" fmla="*/ 192062 w 514350"/>
                <a:gd name="connsiteY14" fmla="*/ 289036 h 323850"/>
                <a:gd name="connsiteX15" fmla="*/ 213293 w 514350"/>
                <a:gd name="connsiteY15" fmla="*/ 297790 h 323850"/>
                <a:gd name="connsiteX16" fmla="*/ 221656 w 514350"/>
                <a:gd name="connsiteY16" fmla="*/ 323850 h 323850"/>
                <a:gd name="connsiteX17" fmla="*/ 292703 w 514350"/>
                <a:gd name="connsiteY17" fmla="*/ 323850 h 323850"/>
                <a:gd name="connsiteX18" fmla="*/ 301047 w 514350"/>
                <a:gd name="connsiteY18" fmla="*/ 297809 h 323850"/>
                <a:gd name="connsiteX19" fmla="*/ 322278 w 514350"/>
                <a:gd name="connsiteY19" fmla="*/ 289055 h 323850"/>
                <a:gd name="connsiteX20" fmla="*/ 346558 w 514350"/>
                <a:gd name="connsiteY20" fmla="*/ 301552 h 323850"/>
                <a:gd name="connsiteX21" fmla="*/ 396792 w 514350"/>
                <a:gd name="connsiteY21" fmla="*/ 251317 h 323850"/>
                <a:gd name="connsiteX22" fmla="*/ 384296 w 514350"/>
                <a:gd name="connsiteY22" fmla="*/ 227038 h 323850"/>
                <a:gd name="connsiteX23" fmla="*/ 393049 w 514350"/>
                <a:gd name="connsiteY23" fmla="*/ 205807 h 323850"/>
                <a:gd name="connsiteX24" fmla="*/ 419100 w 514350"/>
                <a:gd name="connsiteY24" fmla="*/ 197444 h 323850"/>
                <a:gd name="connsiteX25" fmla="*/ 419100 w 514350"/>
                <a:gd name="connsiteY25" fmla="*/ 171450 h 323850"/>
                <a:gd name="connsiteX26" fmla="*/ 458953 w 514350"/>
                <a:gd name="connsiteY26" fmla="*/ 171450 h 323850"/>
                <a:gd name="connsiteX27" fmla="*/ 485775 w 514350"/>
                <a:gd name="connsiteY27" fmla="*/ 190500 h 323850"/>
                <a:gd name="connsiteX28" fmla="*/ 514350 w 514350"/>
                <a:gd name="connsiteY28" fmla="*/ 161925 h 323850"/>
                <a:gd name="connsiteX29" fmla="*/ 485775 w 514350"/>
                <a:gd name="connsiteY29" fmla="*/ 133350 h 323850"/>
                <a:gd name="connsiteX30" fmla="*/ 458953 w 514350"/>
                <a:gd name="connsiteY30" fmla="*/ 152400 h 323850"/>
                <a:gd name="connsiteX31" fmla="*/ 419100 w 514350"/>
                <a:gd name="connsiteY31" fmla="*/ 152400 h 323850"/>
                <a:gd name="connsiteX32" fmla="*/ 419100 w 514350"/>
                <a:gd name="connsiteY32" fmla="*/ 126406 h 323850"/>
                <a:gd name="connsiteX33" fmla="*/ 393059 w 514350"/>
                <a:gd name="connsiteY33" fmla="*/ 118062 h 323850"/>
                <a:gd name="connsiteX34" fmla="*/ 384305 w 514350"/>
                <a:gd name="connsiteY34" fmla="*/ 96831 h 323850"/>
                <a:gd name="connsiteX35" fmla="*/ 396802 w 514350"/>
                <a:gd name="connsiteY35" fmla="*/ 72552 h 323850"/>
                <a:gd name="connsiteX36" fmla="*/ 346567 w 514350"/>
                <a:gd name="connsiteY36" fmla="*/ 22317 h 323850"/>
                <a:gd name="connsiteX37" fmla="*/ 322288 w 514350"/>
                <a:gd name="connsiteY37" fmla="*/ 34814 h 323850"/>
                <a:gd name="connsiteX38" fmla="*/ 301057 w 514350"/>
                <a:gd name="connsiteY38" fmla="*/ 26060 h 323850"/>
                <a:gd name="connsiteX39" fmla="*/ 292694 w 514350"/>
                <a:gd name="connsiteY39" fmla="*/ 0 h 323850"/>
                <a:gd name="connsiteX40" fmla="*/ 221647 w 514350"/>
                <a:gd name="connsiteY40" fmla="*/ 0 h 323850"/>
                <a:gd name="connsiteX41" fmla="*/ 213303 w 514350"/>
                <a:gd name="connsiteY41" fmla="*/ 26041 h 323850"/>
                <a:gd name="connsiteX42" fmla="*/ 192072 w 514350"/>
                <a:gd name="connsiteY42" fmla="*/ 34795 h 323850"/>
                <a:gd name="connsiteX43" fmla="*/ 167792 w 514350"/>
                <a:gd name="connsiteY43" fmla="*/ 22298 h 323850"/>
                <a:gd name="connsiteX44" fmla="*/ 117558 w 514350"/>
                <a:gd name="connsiteY44" fmla="*/ 72533 h 323850"/>
                <a:gd name="connsiteX45" fmla="*/ 130054 w 514350"/>
                <a:gd name="connsiteY45" fmla="*/ 96812 h 323850"/>
                <a:gd name="connsiteX46" fmla="*/ 121291 w 514350"/>
                <a:gd name="connsiteY46" fmla="*/ 118053 h 323850"/>
                <a:gd name="connsiteX47" fmla="*/ 28575 w 514350"/>
                <a:gd name="connsiteY47" fmla="*/ 171450 h 323850"/>
                <a:gd name="connsiteX48" fmla="*/ 19050 w 514350"/>
                <a:gd name="connsiteY48" fmla="*/ 161925 h 323850"/>
                <a:gd name="connsiteX49" fmla="*/ 28575 w 514350"/>
                <a:gd name="connsiteY49" fmla="*/ 152400 h 323850"/>
                <a:gd name="connsiteX50" fmla="*/ 38100 w 514350"/>
                <a:gd name="connsiteY50" fmla="*/ 161925 h 323850"/>
                <a:gd name="connsiteX51" fmla="*/ 28575 w 514350"/>
                <a:gd name="connsiteY51" fmla="*/ 171450 h 323850"/>
                <a:gd name="connsiteX52" fmla="*/ 485775 w 514350"/>
                <a:gd name="connsiteY52" fmla="*/ 152400 h 323850"/>
                <a:gd name="connsiteX53" fmla="*/ 495300 w 514350"/>
                <a:gd name="connsiteY53" fmla="*/ 161925 h 323850"/>
                <a:gd name="connsiteX54" fmla="*/ 485775 w 514350"/>
                <a:gd name="connsiteY54" fmla="*/ 171450 h 323850"/>
                <a:gd name="connsiteX55" fmla="*/ 476250 w 514350"/>
                <a:gd name="connsiteY55" fmla="*/ 161925 h 323850"/>
                <a:gd name="connsiteX56" fmla="*/ 485775 w 514350"/>
                <a:gd name="connsiteY56" fmla="*/ 152400 h 323850"/>
                <a:gd name="connsiteX57" fmla="*/ 342910 w 514350"/>
                <a:gd name="connsiteY57" fmla="*/ 278244 h 323850"/>
                <a:gd name="connsiteX58" fmla="*/ 322002 w 514350"/>
                <a:gd name="connsiteY58" fmla="*/ 267491 h 323850"/>
                <a:gd name="connsiteX59" fmla="*/ 317544 w 514350"/>
                <a:gd name="connsiteY59" fmla="*/ 269986 h 323850"/>
                <a:gd name="connsiteX60" fmla="*/ 290903 w 514350"/>
                <a:gd name="connsiteY60" fmla="*/ 280968 h 323850"/>
                <a:gd name="connsiteX61" fmla="*/ 285979 w 514350"/>
                <a:gd name="connsiteY61" fmla="*/ 282359 h 323850"/>
                <a:gd name="connsiteX62" fmla="*/ 278806 w 514350"/>
                <a:gd name="connsiteY62" fmla="*/ 304800 h 323850"/>
                <a:gd name="connsiteX63" fmla="*/ 235553 w 514350"/>
                <a:gd name="connsiteY63" fmla="*/ 304800 h 323850"/>
                <a:gd name="connsiteX64" fmla="*/ 228371 w 514350"/>
                <a:gd name="connsiteY64" fmla="*/ 282359 h 323850"/>
                <a:gd name="connsiteX65" fmla="*/ 223447 w 514350"/>
                <a:gd name="connsiteY65" fmla="*/ 280968 h 323850"/>
                <a:gd name="connsiteX66" fmla="*/ 196806 w 514350"/>
                <a:gd name="connsiteY66" fmla="*/ 269986 h 323850"/>
                <a:gd name="connsiteX67" fmla="*/ 192348 w 514350"/>
                <a:gd name="connsiteY67" fmla="*/ 267491 h 323850"/>
                <a:gd name="connsiteX68" fmla="*/ 171440 w 514350"/>
                <a:gd name="connsiteY68" fmla="*/ 278244 h 323850"/>
                <a:gd name="connsiteX69" fmla="*/ 140846 w 514350"/>
                <a:gd name="connsiteY69" fmla="*/ 247660 h 323850"/>
                <a:gd name="connsiteX70" fmla="*/ 150657 w 514350"/>
                <a:gd name="connsiteY70" fmla="*/ 228600 h 323850"/>
                <a:gd name="connsiteX71" fmla="*/ 363693 w 514350"/>
                <a:gd name="connsiteY71" fmla="*/ 228600 h 323850"/>
                <a:gd name="connsiteX72" fmla="*/ 373504 w 514350"/>
                <a:gd name="connsiteY72" fmla="*/ 247660 h 323850"/>
                <a:gd name="connsiteX73" fmla="*/ 342910 w 514350"/>
                <a:gd name="connsiteY73" fmla="*/ 278244 h 323850"/>
                <a:gd name="connsiteX74" fmla="*/ 190500 w 514350"/>
                <a:gd name="connsiteY74" fmla="*/ 209550 h 323850"/>
                <a:gd name="connsiteX75" fmla="*/ 171450 w 514350"/>
                <a:gd name="connsiteY75" fmla="*/ 209550 h 323850"/>
                <a:gd name="connsiteX76" fmla="*/ 171450 w 514350"/>
                <a:gd name="connsiteY76" fmla="*/ 133350 h 323850"/>
                <a:gd name="connsiteX77" fmla="*/ 190500 w 514350"/>
                <a:gd name="connsiteY77" fmla="*/ 133350 h 323850"/>
                <a:gd name="connsiteX78" fmla="*/ 190500 w 514350"/>
                <a:gd name="connsiteY78" fmla="*/ 209550 h 323850"/>
                <a:gd name="connsiteX79" fmla="*/ 266700 w 514350"/>
                <a:gd name="connsiteY79" fmla="*/ 209550 h 323850"/>
                <a:gd name="connsiteX80" fmla="*/ 247650 w 514350"/>
                <a:gd name="connsiteY80" fmla="*/ 209550 h 323850"/>
                <a:gd name="connsiteX81" fmla="*/ 247650 w 514350"/>
                <a:gd name="connsiteY81" fmla="*/ 76200 h 323850"/>
                <a:gd name="connsiteX82" fmla="*/ 266700 w 514350"/>
                <a:gd name="connsiteY82" fmla="*/ 76200 h 323850"/>
                <a:gd name="connsiteX83" fmla="*/ 266700 w 514350"/>
                <a:gd name="connsiteY83" fmla="*/ 209550 h 323850"/>
                <a:gd name="connsiteX84" fmla="*/ 342900 w 514350"/>
                <a:gd name="connsiteY84" fmla="*/ 209550 h 323850"/>
                <a:gd name="connsiteX85" fmla="*/ 323850 w 514350"/>
                <a:gd name="connsiteY85" fmla="*/ 209550 h 323850"/>
                <a:gd name="connsiteX86" fmla="*/ 323850 w 514350"/>
                <a:gd name="connsiteY86" fmla="*/ 114300 h 323850"/>
                <a:gd name="connsiteX87" fmla="*/ 342900 w 514350"/>
                <a:gd name="connsiteY87" fmla="*/ 114300 h 323850"/>
                <a:gd name="connsiteX88" fmla="*/ 342900 w 514350"/>
                <a:gd name="connsiteY88" fmla="*/ 209550 h 323850"/>
                <a:gd name="connsiteX89" fmla="*/ 138132 w 514350"/>
                <a:gd name="connsiteY89" fmla="*/ 128187 h 323850"/>
                <a:gd name="connsiteX90" fmla="*/ 149104 w 514350"/>
                <a:gd name="connsiteY90" fmla="*/ 101556 h 323850"/>
                <a:gd name="connsiteX91" fmla="*/ 151609 w 514350"/>
                <a:gd name="connsiteY91" fmla="*/ 97098 h 323850"/>
                <a:gd name="connsiteX92" fmla="*/ 140846 w 514350"/>
                <a:gd name="connsiteY92" fmla="*/ 76190 h 323850"/>
                <a:gd name="connsiteX93" fmla="*/ 171440 w 514350"/>
                <a:gd name="connsiteY93" fmla="*/ 45606 h 323850"/>
                <a:gd name="connsiteX94" fmla="*/ 192338 w 514350"/>
                <a:gd name="connsiteY94" fmla="*/ 56359 h 323850"/>
                <a:gd name="connsiteX95" fmla="*/ 196806 w 514350"/>
                <a:gd name="connsiteY95" fmla="*/ 53864 h 323850"/>
                <a:gd name="connsiteX96" fmla="*/ 223447 w 514350"/>
                <a:gd name="connsiteY96" fmla="*/ 42882 h 323850"/>
                <a:gd name="connsiteX97" fmla="*/ 228371 w 514350"/>
                <a:gd name="connsiteY97" fmla="*/ 41491 h 323850"/>
                <a:gd name="connsiteX98" fmla="*/ 235544 w 514350"/>
                <a:gd name="connsiteY98" fmla="*/ 19050 h 323850"/>
                <a:gd name="connsiteX99" fmla="*/ 278797 w 514350"/>
                <a:gd name="connsiteY99" fmla="*/ 19050 h 323850"/>
                <a:gd name="connsiteX100" fmla="*/ 285979 w 514350"/>
                <a:gd name="connsiteY100" fmla="*/ 41491 h 323850"/>
                <a:gd name="connsiteX101" fmla="*/ 290903 w 514350"/>
                <a:gd name="connsiteY101" fmla="*/ 42882 h 323850"/>
                <a:gd name="connsiteX102" fmla="*/ 317544 w 514350"/>
                <a:gd name="connsiteY102" fmla="*/ 53864 h 323850"/>
                <a:gd name="connsiteX103" fmla="*/ 322012 w 514350"/>
                <a:gd name="connsiteY103" fmla="*/ 56359 h 323850"/>
                <a:gd name="connsiteX104" fmla="*/ 342910 w 514350"/>
                <a:gd name="connsiteY104" fmla="*/ 45606 h 323850"/>
                <a:gd name="connsiteX105" fmla="*/ 373504 w 514350"/>
                <a:gd name="connsiteY105" fmla="*/ 76190 h 323850"/>
                <a:gd name="connsiteX106" fmla="*/ 362741 w 514350"/>
                <a:gd name="connsiteY106" fmla="*/ 97098 h 323850"/>
                <a:gd name="connsiteX107" fmla="*/ 365246 w 514350"/>
                <a:gd name="connsiteY107" fmla="*/ 101556 h 323850"/>
                <a:gd name="connsiteX108" fmla="*/ 376218 w 514350"/>
                <a:gd name="connsiteY108" fmla="*/ 128187 h 323850"/>
                <a:gd name="connsiteX109" fmla="*/ 377609 w 514350"/>
                <a:gd name="connsiteY109" fmla="*/ 133112 h 323850"/>
                <a:gd name="connsiteX110" fmla="*/ 400050 w 514350"/>
                <a:gd name="connsiteY110" fmla="*/ 140294 h 323850"/>
                <a:gd name="connsiteX111" fmla="*/ 400050 w 514350"/>
                <a:gd name="connsiteY111" fmla="*/ 183547 h 323850"/>
                <a:gd name="connsiteX112" fmla="*/ 377609 w 514350"/>
                <a:gd name="connsiteY112" fmla="*/ 190738 h 323850"/>
                <a:gd name="connsiteX113" fmla="*/ 376218 w 514350"/>
                <a:gd name="connsiteY113" fmla="*/ 195663 h 323850"/>
                <a:gd name="connsiteX114" fmla="*/ 371389 w 514350"/>
                <a:gd name="connsiteY114" fmla="*/ 209550 h 323850"/>
                <a:gd name="connsiteX115" fmla="*/ 361950 w 514350"/>
                <a:gd name="connsiteY115" fmla="*/ 209550 h 323850"/>
                <a:gd name="connsiteX116" fmla="*/ 361950 w 514350"/>
                <a:gd name="connsiteY116" fmla="*/ 95250 h 323850"/>
                <a:gd name="connsiteX117" fmla="*/ 304800 w 514350"/>
                <a:gd name="connsiteY117" fmla="*/ 95250 h 323850"/>
                <a:gd name="connsiteX118" fmla="*/ 304800 w 514350"/>
                <a:gd name="connsiteY118" fmla="*/ 209550 h 323850"/>
                <a:gd name="connsiteX119" fmla="*/ 285750 w 514350"/>
                <a:gd name="connsiteY119" fmla="*/ 209550 h 323850"/>
                <a:gd name="connsiteX120" fmla="*/ 285750 w 514350"/>
                <a:gd name="connsiteY120" fmla="*/ 57150 h 323850"/>
                <a:gd name="connsiteX121" fmla="*/ 228600 w 514350"/>
                <a:gd name="connsiteY121" fmla="*/ 57150 h 323850"/>
                <a:gd name="connsiteX122" fmla="*/ 228600 w 514350"/>
                <a:gd name="connsiteY122" fmla="*/ 209550 h 323850"/>
                <a:gd name="connsiteX123" fmla="*/ 209550 w 514350"/>
                <a:gd name="connsiteY123" fmla="*/ 209550 h 323850"/>
                <a:gd name="connsiteX124" fmla="*/ 209550 w 514350"/>
                <a:gd name="connsiteY124" fmla="*/ 114300 h 323850"/>
                <a:gd name="connsiteX125" fmla="*/ 152400 w 514350"/>
                <a:gd name="connsiteY125" fmla="*/ 114300 h 323850"/>
                <a:gd name="connsiteX126" fmla="*/ 152400 w 514350"/>
                <a:gd name="connsiteY126" fmla="*/ 209550 h 323850"/>
                <a:gd name="connsiteX127" fmla="*/ 142951 w 514350"/>
                <a:gd name="connsiteY127" fmla="*/ 209550 h 323850"/>
                <a:gd name="connsiteX128" fmla="*/ 138122 w 514350"/>
                <a:gd name="connsiteY128" fmla="*/ 195663 h 323850"/>
                <a:gd name="connsiteX129" fmla="*/ 136731 w 514350"/>
                <a:gd name="connsiteY129" fmla="*/ 190738 h 323850"/>
                <a:gd name="connsiteX130" fmla="*/ 114300 w 514350"/>
                <a:gd name="connsiteY130" fmla="*/ 183556 h 323850"/>
                <a:gd name="connsiteX131" fmla="*/ 114300 w 514350"/>
                <a:gd name="connsiteY131" fmla="*/ 140303 h 323850"/>
                <a:gd name="connsiteX132" fmla="*/ 136741 w 514350"/>
                <a:gd name="connsiteY132" fmla="*/ 133112 h 323850"/>
                <a:gd name="connsiteX133" fmla="*/ 138132 w 514350"/>
                <a:gd name="connsiteY133" fmla="*/ 128187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514350" h="323850">
                  <a:moveTo>
                    <a:pt x="121291" y="118053"/>
                  </a:moveTo>
                  <a:lnTo>
                    <a:pt x="95250" y="126406"/>
                  </a:lnTo>
                  <a:lnTo>
                    <a:pt x="95250" y="152400"/>
                  </a:lnTo>
                  <a:lnTo>
                    <a:pt x="55397" y="152400"/>
                  </a:lnTo>
                  <a:cubicBezTo>
                    <a:pt x="51454" y="141341"/>
                    <a:pt x="40977" y="133350"/>
                    <a:pt x="28575" y="133350"/>
                  </a:cubicBezTo>
                  <a:cubicBezTo>
                    <a:pt x="12821" y="133350"/>
                    <a:pt x="0" y="146171"/>
                    <a:pt x="0" y="161925"/>
                  </a:cubicBezTo>
                  <a:cubicBezTo>
                    <a:pt x="0" y="177679"/>
                    <a:pt x="12821" y="190500"/>
                    <a:pt x="28575" y="190500"/>
                  </a:cubicBezTo>
                  <a:cubicBezTo>
                    <a:pt x="40977" y="190500"/>
                    <a:pt x="51454" y="182509"/>
                    <a:pt x="55397" y="171450"/>
                  </a:cubicBezTo>
                  <a:lnTo>
                    <a:pt x="95250" y="171450"/>
                  </a:lnTo>
                  <a:lnTo>
                    <a:pt x="95250" y="197444"/>
                  </a:lnTo>
                  <a:lnTo>
                    <a:pt x="121291" y="205788"/>
                  </a:lnTo>
                  <a:cubicBezTo>
                    <a:pt x="123663" y="213160"/>
                    <a:pt x="126597" y="220266"/>
                    <a:pt x="130045" y="227019"/>
                  </a:cubicBezTo>
                  <a:lnTo>
                    <a:pt x="117548" y="251298"/>
                  </a:lnTo>
                  <a:lnTo>
                    <a:pt x="167783" y="301533"/>
                  </a:lnTo>
                  <a:lnTo>
                    <a:pt x="192062" y="289036"/>
                  </a:lnTo>
                  <a:cubicBezTo>
                    <a:pt x="198825" y="292494"/>
                    <a:pt x="205931" y="295418"/>
                    <a:pt x="213293" y="297790"/>
                  </a:cubicBezTo>
                  <a:lnTo>
                    <a:pt x="221656" y="323850"/>
                  </a:lnTo>
                  <a:lnTo>
                    <a:pt x="292703" y="323850"/>
                  </a:lnTo>
                  <a:lnTo>
                    <a:pt x="301047" y="297809"/>
                  </a:lnTo>
                  <a:cubicBezTo>
                    <a:pt x="308410" y="295437"/>
                    <a:pt x="315525" y="292513"/>
                    <a:pt x="322278" y="289055"/>
                  </a:cubicBezTo>
                  <a:lnTo>
                    <a:pt x="346558" y="301552"/>
                  </a:lnTo>
                  <a:lnTo>
                    <a:pt x="396792" y="251317"/>
                  </a:lnTo>
                  <a:lnTo>
                    <a:pt x="384296" y="227038"/>
                  </a:lnTo>
                  <a:cubicBezTo>
                    <a:pt x="387744" y="220285"/>
                    <a:pt x="390677" y="213179"/>
                    <a:pt x="393049" y="205807"/>
                  </a:cubicBezTo>
                  <a:lnTo>
                    <a:pt x="419100" y="197444"/>
                  </a:lnTo>
                  <a:lnTo>
                    <a:pt x="419100" y="171450"/>
                  </a:lnTo>
                  <a:lnTo>
                    <a:pt x="458953" y="171450"/>
                  </a:lnTo>
                  <a:cubicBezTo>
                    <a:pt x="462896" y="182509"/>
                    <a:pt x="473373" y="190500"/>
                    <a:pt x="485775" y="190500"/>
                  </a:cubicBezTo>
                  <a:cubicBezTo>
                    <a:pt x="501529" y="190500"/>
                    <a:pt x="514350" y="177679"/>
                    <a:pt x="514350" y="161925"/>
                  </a:cubicBezTo>
                  <a:cubicBezTo>
                    <a:pt x="514350" y="146171"/>
                    <a:pt x="501529" y="133350"/>
                    <a:pt x="485775" y="133350"/>
                  </a:cubicBezTo>
                  <a:cubicBezTo>
                    <a:pt x="473373" y="133350"/>
                    <a:pt x="462896" y="141341"/>
                    <a:pt x="458953" y="152400"/>
                  </a:cubicBezTo>
                  <a:lnTo>
                    <a:pt x="419100" y="152400"/>
                  </a:lnTo>
                  <a:lnTo>
                    <a:pt x="419100" y="126406"/>
                  </a:lnTo>
                  <a:lnTo>
                    <a:pt x="393059" y="118062"/>
                  </a:lnTo>
                  <a:cubicBezTo>
                    <a:pt x="390687" y="110690"/>
                    <a:pt x="387753" y="103584"/>
                    <a:pt x="384305" y="96831"/>
                  </a:cubicBezTo>
                  <a:lnTo>
                    <a:pt x="396802" y="72552"/>
                  </a:lnTo>
                  <a:lnTo>
                    <a:pt x="346567" y="22317"/>
                  </a:lnTo>
                  <a:lnTo>
                    <a:pt x="322288" y="34814"/>
                  </a:lnTo>
                  <a:cubicBezTo>
                    <a:pt x="315516" y="31356"/>
                    <a:pt x="308410" y="28423"/>
                    <a:pt x="301057" y="26060"/>
                  </a:cubicBezTo>
                  <a:lnTo>
                    <a:pt x="292694" y="0"/>
                  </a:lnTo>
                  <a:lnTo>
                    <a:pt x="221647" y="0"/>
                  </a:lnTo>
                  <a:lnTo>
                    <a:pt x="213303" y="26041"/>
                  </a:lnTo>
                  <a:cubicBezTo>
                    <a:pt x="205950" y="28404"/>
                    <a:pt x="198834" y="31337"/>
                    <a:pt x="192072" y="34795"/>
                  </a:cubicBezTo>
                  <a:lnTo>
                    <a:pt x="167792" y="22298"/>
                  </a:lnTo>
                  <a:lnTo>
                    <a:pt x="117558" y="72533"/>
                  </a:lnTo>
                  <a:lnTo>
                    <a:pt x="130054" y="96812"/>
                  </a:lnTo>
                  <a:cubicBezTo>
                    <a:pt x="126597" y="103575"/>
                    <a:pt x="123663" y="110681"/>
                    <a:pt x="121291" y="118053"/>
                  </a:cubicBezTo>
                  <a:close/>
                  <a:moveTo>
                    <a:pt x="28575" y="171450"/>
                  </a:moveTo>
                  <a:cubicBezTo>
                    <a:pt x="23317" y="171450"/>
                    <a:pt x="19050" y="167173"/>
                    <a:pt x="19050" y="161925"/>
                  </a:cubicBezTo>
                  <a:cubicBezTo>
                    <a:pt x="19050" y="156677"/>
                    <a:pt x="23317" y="152400"/>
                    <a:pt x="28575" y="152400"/>
                  </a:cubicBezTo>
                  <a:cubicBezTo>
                    <a:pt x="33833" y="152400"/>
                    <a:pt x="38100" y="156677"/>
                    <a:pt x="38100" y="161925"/>
                  </a:cubicBezTo>
                  <a:cubicBezTo>
                    <a:pt x="38100" y="167173"/>
                    <a:pt x="33833" y="171450"/>
                    <a:pt x="28575" y="171450"/>
                  </a:cubicBezTo>
                  <a:close/>
                  <a:moveTo>
                    <a:pt x="485775" y="152400"/>
                  </a:moveTo>
                  <a:cubicBezTo>
                    <a:pt x="491033" y="152400"/>
                    <a:pt x="495300" y="156677"/>
                    <a:pt x="495300" y="161925"/>
                  </a:cubicBezTo>
                  <a:cubicBezTo>
                    <a:pt x="495300" y="167173"/>
                    <a:pt x="491033" y="171450"/>
                    <a:pt x="485775" y="171450"/>
                  </a:cubicBezTo>
                  <a:cubicBezTo>
                    <a:pt x="480517" y="171450"/>
                    <a:pt x="476250" y="167173"/>
                    <a:pt x="476250" y="161925"/>
                  </a:cubicBezTo>
                  <a:cubicBezTo>
                    <a:pt x="476250" y="156677"/>
                    <a:pt x="480517" y="152400"/>
                    <a:pt x="485775" y="152400"/>
                  </a:cubicBezTo>
                  <a:close/>
                  <a:moveTo>
                    <a:pt x="342910" y="278244"/>
                  </a:moveTo>
                  <a:lnTo>
                    <a:pt x="322002" y="267491"/>
                  </a:lnTo>
                  <a:lnTo>
                    <a:pt x="317544" y="269986"/>
                  </a:lnTo>
                  <a:cubicBezTo>
                    <a:pt x="309277" y="274615"/>
                    <a:pt x="300314" y="278321"/>
                    <a:pt x="290903" y="280968"/>
                  </a:cubicBezTo>
                  <a:lnTo>
                    <a:pt x="285979" y="282359"/>
                  </a:lnTo>
                  <a:lnTo>
                    <a:pt x="278806" y="304800"/>
                  </a:lnTo>
                  <a:lnTo>
                    <a:pt x="235553" y="304800"/>
                  </a:lnTo>
                  <a:lnTo>
                    <a:pt x="228371" y="282359"/>
                  </a:lnTo>
                  <a:lnTo>
                    <a:pt x="223447" y="280968"/>
                  </a:lnTo>
                  <a:cubicBezTo>
                    <a:pt x="214036" y="278311"/>
                    <a:pt x="205073" y="274615"/>
                    <a:pt x="196806" y="269986"/>
                  </a:cubicBezTo>
                  <a:lnTo>
                    <a:pt x="192348" y="267491"/>
                  </a:lnTo>
                  <a:lnTo>
                    <a:pt x="171440" y="278244"/>
                  </a:lnTo>
                  <a:lnTo>
                    <a:pt x="140846" y="247660"/>
                  </a:lnTo>
                  <a:lnTo>
                    <a:pt x="150657" y="228600"/>
                  </a:lnTo>
                  <a:lnTo>
                    <a:pt x="363693" y="228600"/>
                  </a:lnTo>
                  <a:lnTo>
                    <a:pt x="373504" y="247660"/>
                  </a:lnTo>
                  <a:lnTo>
                    <a:pt x="342910" y="278244"/>
                  </a:lnTo>
                  <a:close/>
                  <a:moveTo>
                    <a:pt x="190500" y="209550"/>
                  </a:moveTo>
                  <a:lnTo>
                    <a:pt x="171450" y="209550"/>
                  </a:lnTo>
                  <a:lnTo>
                    <a:pt x="171450" y="133350"/>
                  </a:lnTo>
                  <a:lnTo>
                    <a:pt x="190500" y="133350"/>
                  </a:lnTo>
                  <a:lnTo>
                    <a:pt x="190500" y="209550"/>
                  </a:lnTo>
                  <a:close/>
                  <a:moveTo>
                    <a:pt x="266700" y="209550"/>
                  </a:moveTo>
                  <a:lnTo>
                    <a:pt x="247650" y="209550"/>
                  </a:lnTo>
                  <a:lnTo>
                    <a:pt x="247650" y="76200"/>
                  </a:lnTo>
                  <a:lnTo>
                    <a:pt x="266700" y="76200"/>
                  </a:lnTo>
                  <a:lnTo>
                    <a:pt x="266700" y="209550"/>
                  </a:lnTo>
                  <a:close/>
                  <a:moveTo>
                    <a:pt x="342900" y="209550"/>
                  </a:moveTo>
                  <a:lnTo>
                    <a:pt x="323850" y="209550"/>
                  </a:lnTo>
                  <a:lnTo>
                    <a:pt x="323850" y="114300"/>
                  </a:lnTo>
                  <a:lnTo>
                    <a:pt x="342900" y="114300"/>
                  </a:lnTo>
                  <a:lnTo>
                    <a:pt x="342900" y="209550"/>
                  </a:lnTo>
                  <a:close/>
                  <a:moveTo>
                    <a:pt x="138132" y="128187"/>
                  </a:moveTo>
                  <a:cubicBezTo>
                    <a:pt x="140799" y="118767"/>
                    <a:pt x="144494" y="109814"/>
                    <a:pt x="149104" y="101556"/>
                  </a:cubicBezTo>
                  <a:lnTo>
                    <a:pt x="151609" y="97098"/>
                  </a:lnTo>
                  <a:lnTo>
                    <a:pt x="140846" y="76190"/>
                  </a:lnTo>
                  <a:lnTo>
                    <a:pt x="171440" y="45606"/>
                  </a:lnTo>
                  <a:lnTo>
                    <a:pt x="192338" y="56359"/>
                  </a:lnTo>
                  <a:lnTo>
                    <a:pt x="196806" y="53864"/>
                  </a:lnTo>
                  <a:cubicBezTo>
                    <a:pt x="205092" y="49225"/>
                    <a:pt x="214055" y="45530"/>
                    <a:pt x="223447" y="42882"/>
                  </a:cubicBezTo>
                  <a:lnTo>
                    <a:pt x="228371" y="41491"/>
                  </a:lnTo>
                  <a:lnTo>
                    <a:pt x="235544" y="19050"/>
                  </a:lnTo>
                  <a:lnTo>
                    <a:pt x="278797" y="19050"/>
                  </a:lnTo>
                  <a:lnTo>
                    <a:pt x="285979" y="41491"/>
                  </a:lnTo>
                  <a:lnTo>
                    <a:pt x="290903" y="42882"/>
                  </a:lnTo>
                  <a:cubicBezTo>
                    <a:pt x="300295" y="45530"/>
                    <a:pt x="309258" y="49235"/>
                    <a:pt x="317544" y="53864"/>
                  </a:cubicBezTo>
                  <a:lnTo>
                    <a:pt x="322012" y="56359"/>
                  </a:lnTo>
                  <a:lnTo>
                    <a:pt x="342910" y="45606"/>
                  </a:lnTo>
                  <a:lnTo>
                    <a:pt x="373504" y="76190"/>
                  </a:lnTo>
                  <a:lnTo>
                    <a:pt x="362741" y="97098"/>
                  </a:lnTo>
                  <a:lnTo>
                    <a:pt x="365246" y="101556"/>
                  </a:lnTo>
                  <a:cubicBezTo>
                    <a:pt x="369856" y="109814"/>
                    <a:pt x="373551" y="118767"/>
                    <a:pt x="376218" y="128187"/>
                  </a:cubicBezTo>
                  <a:lnTo>
                    <a:pt x="377609" y="133112"/>
                  </a:lnTo>
                  <a:lnTo>
                    <a:pt x="400050" y="140294"/>
                  </a:lnTo>
                  <a:lnTo>
                    <a:pt x="400050" y="183547"/>
                  </a:lnTo>
                  <a:lnTo>
                    <a:pt x="377609" y="190738"/>
                  </a:lnTo>
                  <a:lnTo>
                    <a:pt x="376218" y="195663"/>
                  </a:lnTo>
                  <a:cubicBezTo>
                    <a:pt x="374866" y="200425"/>
                    <a:pt x="373256" y="205054"/>
                    <a:pt x="371389" y="209550"/>
                  </a:cubicBezTo>
                  <a:lnTo>
                    <a:pt x="361950" y="209550"/>
                  </a:lnTo>
                  <a:lnTo>
                    <a:pt x="361950" y="95250"/>
                  </a:lnTo>
                  <a:lnTo>
                    <a:pt x="304800" y="95250"/>
                  </a:lnTo>
                  <a:lnTo>
                    <a:pt x="304800" y="209550"/>
                  </a:lnTo>
                  <a:lnTo>
                    <a:pt x="285750" y="209550"/>
                  </a:lnTo>
                  <a:lnTo>
                    <a:pt x="285750" y="57150"/>
                  </a:lnTo>
                  <a:lnTo>
                    <a:pt x="228600" y="57150"/>
                  </a:lnTo>
                  <a:lnTo>
                    <a:pt x="228600" y="209550"/>
                  </a:lnTo>
                  <a:lnTo>
                    <a:pt x="209550" y="209550"/>
                  </a:lnTo>
                  <a:lnTo>
                    <a:pt x="209550" y="114300"/>
                  </a:lnTo>
                  <a:lnTo>
                    <a:pt x="152400" y="114300"/>
                  </a:lnTo>
                  <a:lnTo>
                    <a:pt x="152400" y="209550"/>
                  </a:lnTo>
                  <a:lnTo>
                    <a:pt x="142951" y="209550"/>
                  </a:lnTo>
                  <a:cubicBezTo>
                    <a:pt x="141094" y="205054"/>
                    <a:pt x="139475" y="200425"/>
                    <a:pt x="138122" y="195663"/>
                  </a:cubicBezTo>
                  <a:lnTo>
                    <a:pt x="136731" y="190738"/>
                  </a:lnTo>
                  <a:lnTo>
                    <a:pt x="114300" y="183556"/>
                  </a:lnTo>
                  <a:lnTo>
                    <a:pt x="114300" y="140303"/>
                  </a:lnTo>
                  <a:lnTo>
                    <a:pt x="136741" y="133112"/>
                  </a:lnTo>
                  <a:lnTo>
                    <a:pt x="138132" y="128187"/>
                  </a:lnTo>
                  <a:close/>
                </a:path>
              </a:pathLst>
            </a:custGeom>
            <a:grpFill/>
            <a:ln w="9525" cap="flat">
              <a:noFill/>
              <a:prstDash val="solid"/>
              <a:miter/>
            </a:ln>
          </p:spPr>
          <p:txBody>
            <a:bodyPr rtlCol="0" anchor="ctr"/>
            <a:lstStyle/>
            <a:p>
              <a:endParaRPr lang="en-US"/>
            </a:p>
          </p:txBody>
        </p:sp>
        <p:sp>
          <p:nvSpPr>
            <p:cNvPr id="42" name="Graphic 5">
              <a:extLst>
                <a:ext uri="{FF2B5EF4-FFF2-40B4-BE49-F238E27FC236}">
                  <a16:creationId xmlns:a16="http://schemas.microsoft.com/office/drawing/2014/main" id="{4D3C2894-758F-6345-9B85-8ABF019A66FD}"/>
                </a:ext>
              </a:extLst>
            </p:cNvPr>
            <p:cNvSpPr/>
            <p:nvPr/>
          </p:nvSpPr>
          <p:spPr>
            <a:xfrm>
              <a:off x="6238875" y="3591058"/>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43" name="Graphic 5">
              <a:extLst>
                <a:ext uri="{FF2B5EF4-FFF2-40B4-BE49-F238E27FC236}">
                  <a16:creationId xmlns:a16="http://schemas.microsoft.com/office/drawing/2014/main" id="{0C9A3304-5A6F-7A41-A915-2BFF2F88A94B}"/>
                </a:ext>
              </a:extLst>
            </p:cNvPr>
            <p:cNvSpPr/>
            <p:nvPr/>
          </p:nvSpPr>
          <p:spPr>
            <a:xfrm>
              <a:off x="6276975" y="3591058"/>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44" name="Graphic 5">
              <a:extLst>
                <a:ext uri="{FF2B5EF4-FFF2-40B4-BE49-F238E27FC236}">
                  <a16:creationId xmlns:a16="http://schemas.microsoft.com/office/drawing/2014/main" id="{10078EA3-0EC4-5242-AEF8-3CFA7F21B8A8}"/>
                </a:ext>
              </a:extLst>
            </p:cNvPr>
            <p:cNvSpPr/>
            <p:nvPr/>
          </p:nvSpPr>
          <p:spPr>
            <a:xfrm>
              <a:off x="6315075" y="3591058"/>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45" name="Graphic 5">
              <a:extLst>
                <a:ext uri="{FF2B5EF4-FFF2-40B4-BE49-F238E27FC236}">
                  <a16:creationId xmlns:a16="http://schemas.microsoft.com/office/drawing/2014/main" id="{D6821CFD-3A2C-F046-A168-D77B13B317DC}"/>
                </a:ext>
              </a:extLst>
            </p:cNvPr>
            <p:cNvSpPr/>
            <p:nvPr/>
          </p:nvSpPr>
          <p:spPr>
            <a:xfrm>
              <a:off x="5800725" y="3333750"/>
              <a:ext cx="590550" cy="314458"/>
            </a:xfrm>
            <a:custGeom>
              <a:avLst/>
              <a:gdLst>
                <a:gd name="connsiteX0" fmla="*/ 552450 w 590550"/>
                <a:gd name="connsiteY0" fmla="*/ 0 h 314458"/>
                <a:gd name="connsiteX1" fmla="*/ 533400 w 590550"/>
                <a:gd name="connsiteY1" fmla="*/ 0 h 314458"/>
                <a:gd name="connsiteX2" fmla="*/ 533400 w 590550"/>
                <a:gd name="connsiteY2" fmla="*/ 219208 h 314458"/>
                <a:gd name="connsiteX3" fmla="*/ 57150 w 590550"/>
                <a:gd name="connsiteY3" fmla="*/ 219208 h 314458"/>
                <a:gd name="connsiteX4" fmla="*/ 57150 w 590550"/>
                <a:gd name="connsiteY4" fmla="*/ 0 h 314458"/>
                <a:gd name="connsiteX5" fmla="*/ 38100 w 590550"/>
                <a:gd name="connsiteY5" fmla="*/ 0 h 314458"/>
                <a:gd name="connsiteX6" fmla="*/ 38100 w 590550"/>
                <a:gd name="connsiteY6" fmla="*/ 219208 h 314458"/>
                <a:gd name="connsiteX7" fmla="*/ 0 w 590550"/>
                <a:gd name="connsiteY7" fmla="*/ 219208 h 314458"/>
                <a:gd name="connsiteX8" fmla="*/ 0 w 590550"/>
                <a:gd name="connsiteY8" fmla="*/ 266833 h 314458"/>
                <a:gd name="connsiteX9" fmla="*/ 47625 w 590550"/>
                <a:gd name="connsiteY9" fmla="*/ 314458 h 314458"/>
                <a:gd name="connsiteX10" fmla="*/ 542925 w 590550"/>
                <a:gd name="connsiteY10" fmla="*/ 314458 h 314458"/>
                <a:gd name="connsiteX11" fmla="*/ 590550 w 590550"/>
                <a:gd name="connsiteY11" fmla="*/ 266833 h 314458"/>
                <a:gd name="connsiteX12" fmla="*/ 590550 w 590550"/>
                <a:gd name="connsiteY12" fmla="*/ 219208 h 314458"/>
                <a:gd name="connsiteX13" fmla="*/ 552450 w 590550"/>
                <a:gd name="connsiteY13" fmla="*/ 219208 h 314458"/>
                <a:gd name="connsiteX14" fmla="*/ 552450 w 590550"/>
                <a:gd name="connsiteY14" fmla="*/ 0 h 314458"/>
                <a:gd name="connsiteX15" fmla="*/ 356064 w 590550"/>
                <a:gd name="connsiteY15" fmla="*/ 238258 h 314458"/>
                <a:gd name="connsiteX16" fmla="*/ 346539 w 590550"/>
                <a:gd name="connsiteY16" fmla="*/ 257308 h 314458"/>
                <a:gd name="connsiteX17" fmla="*/ 244011 w 590550"/>
                <a:gd name="connsiteY17" fmla="*/ 257308 h 314458"/>
                <a:gd name="connsiteX18" fmla="*/ 234486 w 590550"/>
                <a:gd name="connsiteY18" fmla="*/ 238258 h 314458"/>
                <a:gd name="connsiteX19" fmla="*/ 356064 w 590550"/>
                <a:gd name="connsiteY19" fmla="*/ 238258 h 314458"/>
                <a:gd name="connsiteX20" fmla="*/ 571500 w 590550"/>
                <a:gd name="connsiteY20" fmla="*/ 266833 h 314458"/>
                <a:gd name="connsiteX21" fmla="*/ 542925 w 590550"/>
                <a:gd name="connsiteY21" fmla="*/ 295408 h 314458"/>
                <a:gd name="connsiteX22" fmla="*/ 47625 w 590550"/>
                <a:gd name="connsiteY22" fmla="*/ 295408 h 314458"/>
                <a:gd name="connsiteX23" fmla="*/ 19050 w 590550"/>
                <a:gd name="connsiteY23" fmla="*/ 266833 h 314458"/>
                <a:gd name="connsiteX24" fmla="*/ 19050 w 590550"/>
                <a:gd name="connsiteY24" fmla="*/ 238258 h 314458"/>
                <a:gd name="connsiteX25" fmla="*/ 213189 w 590550"/>
                <a:gd name="connsiteY25" fmla="*/ 238258 h 314458"/>
                <a:gd name="connsiteX26" fmla="*/ 232239 w 590550"/>
                <a:gd name="connsiteY26" fmla="*/ 276358 h 314458"/>
                <a:gd name="connsiteX27" fmla="*/ 358311 w 590550"/>
                <a:gd name="connsiteY27" fmla="*/ 276358 h 314458"/>
                <a:gd name="connsiteX28" fmla="*/ 377361 w 590550"/>
                <a:gd name="connsiteY28" fmla="*/ 238258 h 314458"/>
                <a:gd name="connsiteX29" fmla="*/ 571500 w 590550"/>
                <a:gd name="connsiteY29" fmla="*/ 238258 h 314458"/>
                <a:gd name="connsiteX30" fmla="*/ 571500 w 590550"/>
                <a:gd name="connsiteY30" fmla="*/ 266833 h 314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90550" h="314458">
                  <a:moveTo>
                    <a:pt x="552450" y="0"/>
                  </a:moveTo>
                  <a:lnTo>
                    <a:pt x="533400" y="0"/>
                  </a:lnTo>
                  <a:lnTo>
                    <a:pt x="533400" y="219208"/>
                  </a:lnTo>
                  <a:lnTo>
                    <a:pt x="57150" y="219208"/>
                  </a:lnTo>
                  <a:lnTo>
                    <a:pt x="57150" y="0"/>
                  </a:lnTo>
                  <a:lnTo>
                    <a:pt x="38100" y="0"/>
                  </a:lnTo>
                  <a:lnTo>
                    <a:pt x="38100" y="219208"/>
                  </a:lnTo>
                  <a:lnTo>
                    <a:pt x="0" y="219208"/>
                  </a:lnTo>
                  <a:lnTo>
                    <a:pt x="0" y="266833"/>
                  </a:lnTo>
                  <a:cubicBezTo>
                    <a:pt x="0" y="293094"/>
                    <a:pt x="21365" y="314458"/>
                    <a:pt x="47625" y="314458"/>
                  </a:cubicBezTo>
                  <a:lnTo>
                    <a:pt x="542925" y="314458"/>
                  </a:lnTo>
                  <a:cubicBezTo>
                    <a:pt x="569185" y="314458"/>
                    <a:pt x="590550" y="293094"/>
                    <a:pt x="590550" y="266833"/>
                  </a:cubicBezTo>
                  <a:lnTo>
                    <a:pt x="590550" y="219208"/>
                  </a:lnTo>
                  <a:lnTo>
                    <a:pt x="552450" y="219208"/>
                  </a:lnTo>
                  <a:lnTo>
                    <a:pt x="552450" y="0"/>
                  </a:lnTo>
                  <a:close/>
                  <a:moveTo>
                    <a:pt x="356064" y="238258"/>
                  </a:moveTo>
                  <a:lnTo>
                    <a:pt x="346539" y="257308"/>
                  </a:lnTo>
                  <a:lnTo>
                    <a:pt x="244011" y="257308"/>
                  </a:lnTo>
                  <a:lnTo>
                    <a:pt x="234486" y="238258"/>
                  </a:lnTo>
                  <a:lnTo>
                    <a:pt x="356064" y="238258"/>
                  </a:lnTo>
                  <a:close/>
                  <a:moveTo>
                    <a:pt x="571500" y="266833"/>
                  </a:moveTo>
                  <a:cubicBezTo>
                    <a:pt x="571500" y="282588"/>
                    <a:pt x="558679" y="295408"/>
                    <a:pt x="542925" y="295408"/>
                  </a:cubicBezTo>
                  <a:lnTo>
                    <a:pt x="47625" y="295408"/>
                  </a:lnTo>
                  <a:cubicBezTo>
                    <a:pt x="31871" y="295408"/>
                    <a:pt x="19050" y="282588"/>
                    <a:pt x="19050" y="266833"/>
                  </a:cubicBezTo>
                  <a:lnTo>
                    <a:pt x="19050" y="238258"/>
                  </a:lnTo>
                  <a:lnTo>
                    <a:pt x="213189" y="238258"/>
                  </a:lnTo>
                  <a:lnTo>
                    <a:pt x="232239" y="276358"/>
                  </a:lnTo>
                  <a:lnTo>
                    <a:pt x="358311" y="276358"/>
                  </a:lnTo>
                  <a:lnTo>
                    <a:pt x="377361" y="238258"/>
                  </a:lnTo>
                  <a:lnTo>
                    <a:pt x="571500" y="238258"/>
                  </a:lnTo>
                  <a:lnTo>
                    <a:pt x="571500" y="266833"/>
                  </a:lnTo>
                  <a:close/>
                </a:path>
              </a:pathLst>
            </a:custGeom>
            <a:grpFill/>
            <a:ln w="9525" cap="flat">
              <a:noFill/>
              <a:prstDash val="solid"/>
              <a:miter/>
            </a:ln>
          </p:spPr>
          <p:txBody>
            <a:bodyPr rtlCol="0" anchor="ctr"/>
            <a:lstStyle/>
            <a:p>
              <a:endParaRPr lang="en-US"/>
            </a:p>
          </p:txBody>
        </p:sp>
        <p:sp>
          <p:nvSpPr>
            <p:cNvPr id="46" name="Graphic 5">
              <a:extLst>
                <a:ext uri="{FF2B5EF4-FFF2-40B4-BE49-F238E27FC236}">
                  <a16:creationId xmlns:a16="http://schemas.microsoft.com/office/drawing/2014/main" id="{782099DC-7FA0-1A41-B167-FE17CE198F45}"/>
                </a:ext>
              </a:extLst>
            </p:cNvPr>
            <p:cNvSpPr/>
            <p:nvPr/>
          </p:nvSpPr>
          <p:spPr>
            <a:xfrm>
              <a:off x="5876925" y="3333750"/>
              <a:ext cx="438150" cy="200158"/>
            </a:xfrm>
            <a:custGeom>
              <a:avLst/>
              <a:gdLst>
                <a:gd name="connsiteX0" fmla="*/ 0 w 438150"/>
                <a:gd name="connsiteY0" fmla="*/ 0 h 200158"/>
                <a:gd name="connsiteX1" fmla="*/ 0 w 438150"/>
                <a:gd name="connsiteY1" fmla="*/ 181108 h 200158"/>
                <a:gd name="connsiteX2" fmla="*/ 19050 w 438150"/>
                <a:gd name="connsiteY2" fmla="*/ 200158 h 200158"/>
                <a:gd name="connsiteX3" fmla="*/ 419100 w 438150"/>
                <a:gd name="connsiteY3" fmla="*/ 200158 h 200158"/>
                <a:gd name="connsiteX4" fmla="*/ 438150 w 438150"/>
                <a:gd name="connsiteY4" fmla="*/ 181108 h 200158"/>
                <a:gd name="connsiteX5" fmla="*/ 438150 w 438150"/>
                <a:gd name="connsiteY5" fmla="*/ 0 h 200158"/>
                <a:gd name="connsiteX6" fmla="*/ 419100 w 438150"/>
                <a:gd name="connsiteY6" fmla="*/ 0 h 200158"/>
                <a:gd name="connsiteX7" fmla="*/ 419100 w 438150"/>
                <a:gd name="connsiteY7" fmla="*/ 181108 h 200158"/>
                <a:gd name="connsiteX8" fmla="*/ 19050 w 438150"/>
                <a:gd name="connsiteY8" fmla="*/ 181108 h 200158"/>
                <a:gd name="connsiteX9" fmla="*/ 19050 w 438150"/>
                <a:gd name="connsiteY9" fmla="*/ 0 h 200158"/>
                <a:gd name="connsiteX10" fmla="*/ 0 w 438150"/>
                <a:gd name="connsiteY10" fmla="*/ 0 h 20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150" h="200158">
                  <a:moveTo>
                    <a:pt x="0" y="0"/>
                  </a:moveTo>
                  <a:lnTo>
                    <a:pt x="0" y="181108"/>
                  </a:lnTo>
                  <a:cubicBezTo>
                    <a:pt x="0" y="191614"/>
                    <a:pt x="8544" y="200158"/>
                    <a:pt x="19050" y="200158"/>
                  </a:cubicBezTo>
                  <a:lnTo>
                    <a:pt x="419100" y="200158"/>
                  </a:lnTo>
                  <a:cubicBezTo>
                    <a:pt x="429606" y="200158"/>
                    <a:pt x="438150" y="191614"/>
                    <a:pt x="438150" y="181108"/>
                  </a:cubicBezTo>
                  <a:lnTo>
                    <a:pt x="438150" y="0"/>
                  </a:lnTo>
                  <a:lnTo>
                    <a:pt x="419100" y="0"/>
                  </a:lnTo>
                  <a:lnTo>
                    <a:pt x="419100" y="181108"/>
                  </a:lnTo>
                  <a:lnTo>
                    <a:pt x="19050" y="181108"/>
                  </a:lnTo>
                  <a:lnTo>
                    <a:pt x="19050" y="0"/>
                  </a:lnTo>
                  <a:lnTo>
                    <a:pt x="0" y="0"/>
                  </a:lnTo>
                  <a:close/>
                </a:path>
              </a:pathLst>
            </a:custGeom>
            <a:grpFill/>
            <a:ln w="9525" cap="flat">
              <a:noFill/>
              <a:prstDash val="solid"/>
              <a:miter/>
            </a:ln>
          </p:spPr>
          <p:txBody>
            <a:bodyPr rtlCol="0" anchor="ctr"/>
            <a:lstStyle/>
            <a:p>
              <a:endParaRPr lang="en-US"/>
            </a:p>
          </p:txBody>
        </p:sp>
        <p:sp>
          <p:nvSpPr>
            <p:cNvPr id="47" name="Graphic 5">
              <a:extLst>
                <a:ext uri="{FF2B5EF4-FFF2-40B4-BE49-F238E27FC236}">
                  <a16:creationId xmlns:a16="http://schemas.microsoft.com/office/drawing/2014/main" id="{93D7EE3E-E112-E949-A587-8A65E7D7A73E}"/>
                </a:ext>
              </a:extLst>
            </p:cNvPr>
            <p:cNvSpPr/>
            <p:nvPr/>
          </p:nvSpPr>
          <p:spPr>
            <a:xfrm>
              <a:off x="6248400" y="3124200"/>
              <a:ext cx="142875" cy="57150"/>
            </a:xfrm>
            <a:custGeom>
              <a:avLst/>
              <a:gdLst>
                <a:gd name="connsiteX0" fmla="*/ 114300 w 142875"/>
                <a:gd name="connsiteY0" fmla="*/ 57150 h 57150"/>
                <a:gd name="connsiteX1" fmla="*/ 142875 w 142875"/>
                <a:gd name="connsiteY1" fmla="*/ 28575 h 57150"/>
                <a:gd name="connsiteX2" fmla="*/ 114300 w 142875"/>
                <a:gd name="connsiteY2" fmla="*/ 0 h 57150"/>
                <a:gd name="connsiteX3" fmla="*/ 87478 w 142875"/>
                <a:gd name="connsiteY3" fmla="*/ 19050 h 57150"/>
                <a:gd name="connsiteX4" fmla="*/ 0 w 142875"/>
                <a:gd name="connsiteY4" fmla="*/ 19050 h 57150"/>
                <a:gd name="connsiteX5" fmla="*/ 0 w 142875"/>
                <a:gd name="connsiteY5" fmla="*/ 38100 h 57150"/>
                <a:gd name="connsiteX6" fmla="*/ 87478 w 142875"/>
                <a:gd name="connsiteY6" fmla="*/ 38100 h 57150"/>
                <a:gd name="connsiteX7" fmla="*/ 114300 w 142875"/>
                <a:gd name="connsiteY7" fmla="*/ 57150 h 57150"/>
                <a:gd name="connsiteX8" fmla="*/ 114300 w 142875"/>
                <a:gd name="connsiteY8" fmla="*/ 19050 h 57150"/>
                <a:gd name="connsiteX9" fmla="*/ 123825 w 142875"/>
                <a:gd name="connsiteY9" fmla="*/ 28575 h 57150"/>
                <a:gd name="connsiteX10" fmla="*/ 114300 w 142875"/>
                <a:gd name="connsiteY10" fmla="*/ 38100 h 57150"/>
                <a:gd name="connsiteX11" fmla="*/ 104775 w 142875"/>
                <a:gd name="connsiteY11" fmla="*/ 28575 h 57150"/>
                <a:gd name="connsiteX12" fmla="*/ 114300 w 142875"/>
                <a:gd name="connsiteY12" fmla="*/ 1905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5" h="57150">
                  <a:moveTo>
                    <a:pt x="114300" y="57150"/>
                  </a:moveTo>
                  <a:cubicBezTo>
                    <a:pt x="130054" y="57150"/>
                    <a:pt x="142875" y="44329"/>
                    <a:pt x="142875" y="28575"/>
                  </a:cubicBezTo>
                  <a:cubicBezTo>
                    <a:pt x="142875" y="12821"/>
                    <a:pt x="130054" y="0"/>
                    <a:pt x="114300" y="0"/>
                  </a:cubicBezTo>
                  <a:cubicBezTo>
                    <a:pt x="101898" y="0"/>
                    <a:pt x="91421" y="7991"/>
                    <a:pt x="87478" y="19050"/>
                  </a:cubicBezTo>
                  <a:lnTo>
                    <a:pt x="0" y="19050"/>
                  </a:lnTo>
                  <a:lnTo>
                    <a:pt x="0" y="38100"/>
                  </a:lnTo>
                  <a:lnTo>
                    <a:pt x="87478" y="38100"/>
                  </a:lnTo>
                  <a:cubicBezTo>
                    <a:pt x="91421" y="49159"/>
                    <a:pt x="101898" y="57150"/>
                    <a:pt x="114300" y="57150"/>
                  </a:cubicBezTo>
                  <a:close/>
                  <a:moveTo>
                    <a:pt x="114300" y="19050"/>
                  </a:moveTo>
                  <a:cubicBezTo>
                    <a:pt x="119558" y="19050"/>
                    <a:pt x="123825" y="23327"/>
                    <a:pt x="123825" y="28575"/>
                  </a:cubicBezTo>
                  <a:cubicBezTo>
                    <a:pt x="123825" y="33823"/>
                    <a:pt x="119558" y="38100"/>
                    <a:pt x="114300" y="38100"/>
                  </a:cubicBezTo>
                  <a:cubicBezTo>
                    <a:pt x="109042" y="38100"/>
                    <a:pt x="104775" y="33823"/>
                    <a:pt x="104775" y="28575"/>
                  </a:cubicBezTo>
                  <a:cubicBezTo>
                    <a:pt x="104775" y="23327"/>
                    <a:pt x="109042" y="19050"/>
                    <a:pt x="114300" y="19050"/>
                  </a:cubicBezTo>
                  <a:close/>
                </a:path>
              </a:pathLst>
            </a:custGeom>
            <a:grpFill/>
            <a:ln w="9525" cap="flat">
              <a:noFill/>
              <a:prstDash val="solid"/>
              <a:miter/>
            </a:ln>
          </p:spPr>
          <p:txBody>
            <a:bodyPr rtlCol="0" anchor="ctr"/>
            <a:lstStyle/>
            <a:p>
              <a:endParaRPr lang="en-US"/>
            </a:p>
          </p:txBody>
        </p:sp>
        <p:sp>
          <p:nvSpPr>
            <p:cNvPr id="48" name="Graphic 5">
              <a:extLst>
                <a:ext uri="{FF2B5EF4-FFF2-40B4-BE49-F238E27FC236}">
                  <a16:creationId xmlns:a16="http://schemas.microsoft.com/office/drawing/2014/main" id="{CD1CB349-A764-374A-9BC1-2B0240AC64A7}"/>
                </a:ext>
              </a:extLst>
            </p:cNvPr>
            <p:cNvSpPr/>
            <p:nvPr/>
          </p:nvSpPr>
          <p:spPr>
            <a:xfrm>
              <a:off x="6248400" y="3257550"/>
              <a:ext cx="142875" cy="57150"/>
            </a:xfrm>
            <a:custGeom>
              <a:avLst/>
              <a:gdLst>
                <a:gd name="connsiteX0" fmla="*/ 114300 w 142875"/>
                <a:gd name="connsiteY0" fmla="*/ 0 h 57150"/>
                <a:gd name="connsiteX1" fmla="*/ 87478 w 142875"/>
                <a:gd name="connsiteY1" fmla="*/ 19050 h 57150"/>
                <a:gd name="connsiteX2" fmla="*/ 0 w 142875"/>
                <a:gd name="connsiteY2" fmla="*/ 19050 h 57150"/>
                <a:gd name="connsiteX3" fmla="*/ 0 w 142875"/>
                <a:gd name="connsiteY3" fmla="*/ 38100 h 57150"/>
                <a:gd name="connsiteX4" fmla="*/ 87478 w 142875"/>
                <a:gd name="connsiteY4" fmla="*/ 38100 h 57150"/>
                <a:gd name="connsiteX5" fmla="*/ 114300 w 142875"/>
                <a:gd name="connsiteY5" fmla="*/ 57150 h 57150"/>
                <a:gd name="connsiteX6" fmla="*/ 142875 w 142875"/>
                <a:gd name="connsiteY6" fmla="*/ 28575 h 57150"/>
                <a:gd name="connsiteX7" fmla="*/ 114300 w 142875"/>
                <a:gd name="connsiteY7" fmla="*/ 0 h 57150"/>
                <a:gd name="connsiteX8" fmla="*/ 114300 w 142875"/>
                <a:gd name="connsiteY8" fmla="*/ 38100 h 57150"/>
                <a:gd name="connsiteX9" fmla="*/ 104775 w 142875"/>
                <a:gd name="connsiteY9" fmla="*/ 28575 h 57150"/>
                <a:gd name="connsiteX10" fmla="*/ 114300 w 142875"/>
                <a:gd name="connsiteY10" fmla="*/ 19050 h 57150"/>
                <a:gd name="connsiteX11" fmla="*/ 123825 w 142875"/>
                <a:gd name="connsiteY11" fmla="*/ 28575 h 57150"/>
                <a:gd name="connsiteX12" fmla="*/ 114300 w 142875"/>
                <a:gd name="connsiteY12" fmla="*/ 3810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5" h="57150">
                  <a:moveTo>
                    <a:pt x="114300" y="0"/>
                  </a:moveTo>
                  <a:cubicBezTo>
                    <a:pt x="101898" y="0"/>
                    <a:pt x="91421" y="7991"/>
                    <a:pt x="87478" y="19050"/>
                  </a:cubicBezTo>
                  <a:lnTo>
                    <a:pt x="0" y="19050"/>
                  </a:lnTo>
                  <a:lnTo>
                    <a:pt x="0" y="38100"/>
                  </a:lnTo>
                  <a:lnTo>
                    <a:pt x="87478" y="38100"/>
                  </a:lnTo>
                  <a:cubicBezTo>
                    <a:pt x="91421" y="49159"/>
                    <a:pt x="101898" y="57150"/>
                    <a:pt x="114300" y="57150"/>
                  </a:cubicBezTo>
                  <a:cubicBezTo>
                    <a:pt x="130054" y="57150"/>
                    <a:pt x="142875" y="44329"/>
                    <a:pt x="142875" y="28575"/>
                  </a:cubicBezTo>
                  <a:cubicBezTo>
                    <a:pt x="142875" y="12821"/>
                    <a:pt x="130054" y="0"/>
                    <a:pt x="114300" y="0"/>
                  </a:cubicBezTo>
                  <a:close/>
                  <a:moveTo>
                    <a:pt x="114300" y="38100"/>
                  </a:moveTo>
                  <a:cubicBezTo>
                    <a:pt x="109042" y="38100"/>
                    <a:pt x="104775" y="33823"/>
                    <a:pt x="104775" y="28575"/>
                  </a:cubicBezTo>
                  <a:cubicBezTo>
                    <a:pt x="104775" y="23327"/>
                    <a:pt x="109042" y="19050"/>
                    <a:pt x="114300" y="19050"/>
                  </a:cubicBezTo>
                  <a:cubicBezTo>
                    <a:pt x="119558" y="19050"/>
                    <a:pt x="123825" y="23327"/>
                    <a:pt x="123825" y="28575"/>
                  </a:cubicBezTo>
                  <a:cubicBezTo>
                    <a:pt x="123825" y="33823"/>
                    <a:pt x="119558" y="38100"/>
                    <a:pt x="114300" y="38100"/>
                  </a:cubicBezTo>
                  <a:close/>
                </a:path>
              </a:pathLst>
            </a:custGeom>
            <a:grpFill/>
            <a:ln w="9525" cap="flat">
              <a:noFill/>
              <a:prstDash val="solid"/>
              <a:miter/>
            </a:ln>
          </p:spPr>
          <p:txBody>
            <a:bodyPr rtlCol="0" anchor="ctr"/>
            <a:lstStyle/>
            <a:p>
              <a:endParaRPr lang="en-US"/>
            </a:p>
          </p:txBody>
        </p:sp>
        <p:sp>
          <p:nvSpPr>
            <p:cNvPr id="49" name="Graphic 5">
              <a:extLst>
                <a:ext uri="{FF2B5EF4-FFF2-40B4-BE49-F238E27FC236}">
                  <a16:creationId xmlns:a16="http://schemas.microsoft.com/office/drawing/2014/main" id="{0A8520D1-233F-E548-8FAF-B0D89F7C6D98}"/>
                </a:ext>
              </a:extLst>
            </p:cNvPr>
            <p:cNvSpPr/>
            <p:nvPr/>
          </p:nvSpPr>
          <p:spPr>
            <a:xfrm>
              <a:off x="5800725" y="3124200"/>
              <a:ext cx="142875" cy="57150"/>
            </a:xfrm>
            <a:custGeom>
              <a:avLst/>
              <a:gdLst>
                <a:gd name="connsiteX0" fmla="*/ 28575 w 142875"/>
                <a:gd name="connsiteY0" fmla="*/ 57150 h 57150"/>
                <a:gd name="connsiteX1" fmla="*/ 55397 w 142875"/>
                <a:gd name="connsiteY1" fmla="*/ 38100 h 57150"/>
                <a:gd name="connsiteX2" fmla="*/ 142875 w 142875"/>
                <a:gd name="connsiteY2" fmla="*/ 38100 h 57150"/>
                <a:gd name="connsiteX3" fmla="*/ 142875 w 142875"/>
                <a:gd name="connsiteY3" fmla="*/ 19050 h 57150"/>
                <a:gd name="connsiteX4" fmla="*/ 55397 w 142875"/>
                <a:gd name="connsiteY4" fmla="*/ 19050 h 57150"/>
                <a:gd name="connsiteX5" fmla="*/ 28575 w 142875"/>
                <a:gd name="connsiteY5" fmla="*/ 0 h 57150"/>
                <a:gd name="connsiteX6" fmla="*/ 0 w 142875"/>
                <a:gd name="connsiteY6" fmla="*/ 28575 h 57150"/>
                <a:gd name="connsiteX7" fmla="*/ 28575 w 142875"/>
                <a:gd name="connsiteY7" fmla="*/ 57150 h 57150"/>
                <a:gd name="connsiteX8" fmla="*/ 28575 w 142875"/>
                <a:gd name="connsiteY8" fmla="*/ 19050 h 57150"/>
                <a:gd name="connsiteX9" fmla="*/ 38100 w 142875"/>
                <a:gd name="connsiteY9" fmla="*/ 28575 h 57150"/>
                <a:gd name="connsiteX10" fmla="*/ 28575 w 142875"/>
                <a:gd name="connsiteY10" fmla="*/ 38100 h 57150"/>
                <a:gd name="connsiteX11" fmla="*/ 19050 w 142875"/>
                <a:gd name="connsiteY11" fmla="*/ 28575 h 57150"/>
                <a:gd name="connsiteX12" fmla="*/ 28575 w 142875"/>
                <a:gd name="connsiteY12" fmla="*/ 1905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5" h="57150">
                  <a:moveTo>
                    <a:pt x="28575" y="57150"/>
                  </a:moveTo>
                  <a:cubicBezTo>
                    <a:pt x="40977" y="57150"/>
                    <a:pt x="51454" y="49159"/>
                    <a:pt x="55397" y="38100"/>
                  </a:cubicBezTo>
                  <a:lnTo>
                    <a:pt x="142875" y="38100"/>
                  </a:lnTo>
                  <a:lnTo>
                    <a:pt x="142875" y="19050"/>
                  </a:lnTo>
                  <a:lnTo>
                    <a:pt x="55397" y="19050"/>
                  </a:lnTo>
                  <a:cubicBezTo>
                    <a:pt x="51454" y="7991"/>
                    <a:pt x="40977" y="0"/>
                    <a:pt x="28575" y="0"/>
                  </a:cubicBezTo>
                  <a:cubicBezTo>
                    <a:pt x="12821" y="0"/>
                    <a:pt x="0" y="12821"/>
                    <a:pt x="0" y="28575"/>
                  </a:cubicBezTo>
                  <a:cubicBezTo>
                    <a:pt x="0" y="44329"/>
                    <a:pt x="12821" y="57150"/>
                    <a:pt x="28575" y="57150"/>
                  </a:cubicBezTo>
                  <a:close/>
                  <a:moveTo>
                    <a:pt x="28575" y="19050"/>
                  </a:moveTo>
                  <a:cubicBezTo>
                    <a:pt x="33833" y="19050"/>
                    <a:pt x="38100" y="23327"/>
                    <a:pt x="38100" y="28575"/>
                  </a:cubicBezTo>
                  <a:cubicBezTo>
                    <a:pt x="38100" y="33823"/>
                    <a:pt x="33833" y="38100"/>
                    <a:pt x="28575" y="38100"/>
                  </a:cubicBezTo>
                  <a:cubicBezTo>
                    <a:pt x="23317" y="38100"/>
                    <a:pt x="19050" y="33823"/>
                    <a:pt x="19050" y="28575"/>
                  </a:cubicBezTo>
                  <a:cubicBezTo>
                    <a:pt x="19050" y="23327"/>
                    <a:pt x="23317" y="19050"/>
                    <a:pt x="28575" y="19050"/>
                  </a:cubicBezTo>
                  <a:close/>
                </a:path>
              </a:pathLst>
            </a:custGeom>
            <a:grpFill/>
            <a:ln w="9525" cap="flat">
              <a:noFill/>
              <a:prstDash val="solid"/>
              <a:miter/>
            </a:ln>
          </p:spPr>
          <p:txBody>
            <a:bodyPr rtlCol="0" anchor="ctr"/>
            <a:lstStyle/>
            <a:p>
              <a:endParaRPr lang="en-US"/>
            </a:p>
          </p:txBody>
        </p:sp>
        <p:sp>
          <p:nvSpPr>
            <p:cNvPr id="50" name="Graphic 5">
              <a:extLst>
                <a:ext uri="{FF2B5EF4-FFF2-40B4-BE49-F238E27FC236}">
                  <a16:creationId xmlns:a16="http://schemas.microsoft.com/office/drawing/2014/main" id="{541C2BA4-282A-9044-B6DF-C898ABDF2733}"/>
                </a:ext>
              </a:extLst>
            </p:cNvPr>
            <p:cNvSpPr/>
            <p:nvPr/>
          </p:nvSpPr>
          <p:spPr>
            <a:xfrm>
              <a:off x="5800725" y="3257550"/>
              <a:ext cx="142875" cy="57150"/>
            </a:xfrm>
            <a:custGeom>
              <a:avLst/>
              <a:gdLst>
                <a:gd name="connsiteX0" fmla="*/ 28575 w 142875"/>
                <a:gd name="connsiteY0" fmla="*/ 57150 h 57150"/>
                <a:gd name="connsiteX1" fmla="*/ 55397 w 142875"/>
                <a:gd name="connsiteY1" fmla="*/ 38100 h 57150"/>
                <a:gd name="connsiteX2" fmla="*/ 142875 w 142875"/>
                <a:gd name="connsiteY2" fmla="*/ 38100 h 57150"/>
                <a:gd name="connsiteX3" fmla="*/ 142875 w 142875"/>
                <a:gd name="connsiteY3" fmla="*/ 19050 h 57150"/>
                <a:gd name="connsiteX4" fmla="*/ 55397 w 142875"/>
                <a:gd name="connsiteY4" fmla="*/ 19050 h 57150"/>
                <a:gd name="connsiteX5" fmla="*/ 28575 w 142875"/>
                <a:gd name="connsiteY5" fmla="*/ 0 h 57150"/>
                <a:gd name="connsiteX6" fmla="*/ 0 w 142875"/>
                <a:gd name="connsiteY6" fmla="*/ 28575 h 57150"/>
                <a:gd name="connsiteX7" fmla="*/ 28575 w 142875"/>
                <a:gd name="connsiteY7" fmla="*/ 57150 h 57150"/>
                <a:gd name="connsiteX8" fmla="*/ 28575 w 142875"/>
                <a:gd name="connsiteY8" fmla="*/ 19050 h 57150"/>
                <a:gd name="connsiteX9" fmla="*/ 38100 w 142875"/>
                <a:gd name="connsiteY9" fmla="*/ 28575 h 57150"/>
                <a:gd name="connsiteX10" fmla="*/ 28575 w 142875"/>
                <a:gd name="connsiteY10" fmla="*/ 38100 h 57150"/>
                <a:gd name="connsiteX11" fmla="*/ 19050 w 142875"/>
                <a:gd name="connsiteY11" fmla="*/ 28575 h 57150"/>
                <a:gd name="connsiteX12" fmla="*/ 28575 w 142875"/>
                <a:gd name="connsiteY12" fmla="*/ 1905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5" h="57150">
                  <a:moveTo>
                    <a:pt x="28575" y="57150"/>
                  </a:moveTo>
                  <a:cubicBezTo>
                    <a:pt x="40977" y="57150"/>
                    <a:pt x="51454" y="49159"/>
                    <a:pt x="55397" y="38100"/>
                  </a:cubicBezTo>
                  <a:lnTo>
                    <a:pt x="142875" y="38100"/>
                  </a:lnTo>
                  <a:lnTo>
                    <a:pt x="142875" y="19050"/>
                  </a:lnTo>
                  <a:lnTo>
                    <a:pt x="55397" y="19050"/>
                  </a:lnTo>
                  <a:cubicBezTo>
                    <a:pt x="51454" y="7991"/>
                    <a:pt x="40977" y="0"/>
                    <a:pt x="28575" y="0"/>
                  </a:cubicBezTo>
                  <a:cubicBezTo>
                    <a:pt x="12821" y="0"/>
                    <a:pt x="0" y="12821"/>
                    <a:pt x="0" y="28575"/>
                  </a:cubicBezTo>
                  <a:cubicBezTo>
                    <a:pt x="0" y="44329"/>
                    <a:pt x="12821" y="57150"/>
                    <a:pt x="28575" y="57150"/>
                  </a:cubicBezTo>
                  <a:close/>
                  <a:moveTo>
                    <a:pt x="28575" y="19050"/>
                  </a:moveTo>
                  <a:cubicBezTo>
                    <a:pt x="33833" y="19050"/>
                    <a:pt x="38100" y="23327"/>
                    <a:pt x="38100" y="28575"/>
                  </a:cubicBezTo>
                  <a:cubicBezTo>
                    <a:pt x="38100" y="33823"/>
                    <a:pt x="33833" y="38100"/>
                    <a:pt x="28575" y="38100"/>
                  </a:cubicBezTo>
                  <a:cubicBezTo>
                    <a:pt x="23317" y="38100"/>
                    <a:pt x="19050" y="33823"/>
                    <a:pt x="19050" y="28575"/>
                  </a:cubicBezTo>
                  <a:cubicBezTo>
                    <a:pt x="19050" y="23327"/>
                    <a:pt x="23317" y="19050"/>
                    <a:pt x="28575" y="19050"/>
                  </a:cubicBezTo>
                  <a:close/>
                </a:path>
              </a:pathLst>
            </a:custGeom>
            <a:grpFill/>
            <a:ln w="9525" cap="flat">
              <a:noFill/>
              <a:prstDash val="solid"/>
              <a:miter/>
            </a:ln>
          </p:spPr>
          <p:txBody>
            <a:bodyPr rtlCol="0" anchor="ctr"/>
            <a:lstStyle/>
            <a:p>
              <a:endParaRPr lang="en-US"/>
            </a:p>
          </p:txBody>
        </p:sp>
        <p:sp>
          <p:nvSpPr>
            <p:cNvPr id="51" name="Graphic 5">
              <a:extLst>
                <a:ext uri="{FF2B5EF4-FFF2-40B4-BE49-F238E27FC236}">
                  <a16:creationId xmlns:a16="http://schemas.microsoft.com/office/drawing/2014/main" id="{67A98562-4A8D-744E-9F3C-535D3083C464}"/>
                </a:ext>
              </a:extLst>
            </p:cNvPr>
            <p:cNvSpPr/>
            <p:nvPr/>
          </p:nvSpPr>
          <p:spPr>
            <a:xfrm>
              <a:off x="5915025" y="3381375"/>
              <a:ext cx="133350" cy="114300"/>
            </a:xfrm>
            <a:custGeom>
              <a:avLst/>
              <a:gdLst>
                <a:gd name="connsiteX0" fmla="*/ 0 w 133350"/>
                <a:gd name="connsiteY0" fmla="*/ 0 h 114300"/>
                <a:gd name="connsiteX1" fmla="*/ 0 w 133350"/>
                <a:gd name="connsiteY1" fmla="*/ 114300 h 114300"/>
                <a:gd name="connsiteX2" fmla="*/ 133350 w 133350"/>
                <a:gd name="connsiteY2" fmla="*/ 114300 h 114300"/>
                <a:gd name="connsiteX3" fmla="*/ 133350 w 133350"/>
                <a:gd name="connsiteY3" fmla="*/ 0 h 114300"/>
                <a:gd name="connsiteX4" fmla="*/ 0 w 133350"/>
                <a:gd name="connsiteY4" fmla="*/ 0 h 114300"/>
                <a:gd name="connsiteX5" fmla="*/ 114300 w 133350"/>
                <a:gd name="connsiteY5" fmla="*/ 95250 h 114300"/>
                <a:gd name="connsiteX6" fmla="*/ 19050 w 133350"/>
                <a:gd name="connsiteY6" fmla="*/ 95250 h 114300"/>
                <a:gd name="connsiteX7" fmla="*/ 19050 w 133350"/>
                <a:gd name="connsiteY7" fmla="*/ 19050 h 114300"/>
                <a:gd name="connsiteX8" fmla="*/ 114300 w 133350"/>
                <a:gd name="connsiteY8" fmla="*/ 19050 h 114300"/>
                <a:gd name="connsiteX9" fmla="*/ 114300 w 133350"/>
                <a:gd name="connsiteY9" fmla="*/ 9525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14300">
                  <a:moveTo>
                    <a:pt x="0" y="0"/>
                  </a:moveTo>
                  <a:lnTo>
                    <a:pt x="0" y="114300"/>
                  </a:lnTo>
                  <a:lnTo>
                    <a:pt x="133350" y="114300"/>
                  </a:lnTo>
                  <a:lnTo>
                    <a:pt x="133350" y="0"/>
                  </a:lnTo>
                  <a:lnTo>
                    <a:pt x="0" y="0"/>
                  </a:lnTo>
                  <a:close/>
                  <a:moveTo>
                    <a:pt x="114300" y="95250"/>
                  </a:moveTo>
                  <a:lnTo>
                    <a:pt x="19050" y="95250"/>
                  </a:lnTo>
                  <a:lnTo>
                    <a:pt x="19050" y="19050"/>
                  </a:lnTo>
                  <a:lnTo>
                    <a:pt x="114300" y="19050"/>
                  </a:lnTo>
                  <a:lnTo>
                    <a:pt x="114300" y="95250"/>
                  </a:lnTo>
                  <a:close/>
                </a:path>
              </a:pathLst>
            </a:custGeom>
            <a:grpFill/>
            <a:ln w="9525" cap="flat">
              <a:noFill/>
              <a:prstDash val="solid"/>
              <a:miter/>
            </a:ln>
          </p:spPr>
          <p:txBody>
            <a:bodyPr rtlCol="0" anchor="ctr"/>
            <a:lstStyle/>
            <a:p>
              <a:endParaRPr lang="en-US"/>
            </a:p>
          </p:txBody>
        </p:sp>
        <p:sp>
          <p:nvSpPr>
            <p:cNvPr id="52" name="Graphic 5">
              <a:extLst>
                <a:ext uri="{FF2B5EF4-FFF2-40B4-BE49-F238E27FC236}">
                  <a16:creationId xmlns:a16="http://schemas.microsoft.com/office/drawing/2014/main" id="{871AA546-60A4-9640-8761-A9F911F48959}"/>
                </a:ext>
              </a:extLst>
            </p:cNvPr>
            <p:cNvSpPr/>
            <p:nvPr/>
          </p:nvSpPr>
          <p:spPr>
            <a:xfrm>
              <a:off x="6067425" y="3400425"/>
              <a:ext cx="209550" cy="19050"/>
            </a:xfrm>
            <a:custGeom>
              <a:avLst/>
              <a:gdLst>
                <a:gd name="connsiteX0" fmla="*/ 0 w 209550"/>
                <a:gd name="connsiteY0" fmla="*/ 0 h 19050"/>
                <a:gd name="connsiteX1" fmla="*/ 209550 w 209550"/>
                <a:gd name="connsiteY1" fmla="*/ 0 h 19050"/>
                <a:gd name="connsiteX2" fmla="*/ 209550 w 209550"/>
                <a:gd name="connsiteY2" fmla="*/ 19050 h 19050"/>
                <a:gd name="connsiteX3" fmla="*/ 0 w 2095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09550" h="19050">
                  <a:moveTo>
                    <a:pt x="0" y="0"/>
                  </a:moveTo>
                  <a:lnTo>
                    <a:pt x="209550" y="0"/>
                  </a:lnTo>
                  <a:lnTo>
                    <a:pt x="209550" y="19050"/>
                  </a:lnTo>
                  <a:lnTo>
                    <a:pt x="0" y="19050"/>
                  </a:lnTo>
                  <a:close/>
                </a:path>
              </a:pathLst>
            </a:custGeom>
            <a:grpFill/>
            <a:ln w="9525" cap="flat">
              <a:noFill/>
              <a:prstDash val="solid"/>
              <a:miter/>
            </a:ln>
          </p:spPr>
          <p:txBody>
            <a:bodyPr rtlCol="0" anchor="ctr"/>
            <a:lstStyle/>
            <a:p>
              <a:endParaRPr lang="en-US"/>
            </a:p>
          </p:txBody>
        </p:sp>
        <p:sp>
          <p:nvSpPr>
            <p:cNvPr id="53" name="Graphic 5">
              <a:extLst>
                <a:ext uri="{FF2B5EF4-FFF2-40B4-BE49-F238E27FC236}">
                  <a16:creationId xmlns:a16="http://schemas.microsoft.com/office/drawing/2014/main" id="{07EEA999-0720-0444-99A7-AB9EFDE26ED4}"/>
                </a:ext>
              </a:extLst>
            </p:cNvPr>
            <p:cNvSpPr/>
            <p:nvPr/>
          </p:nvSpPr>
          <p:spPr>
            <a:xfrm>
              <a:off x="6257925" y="3438525"/>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a:p>
          </p:txBody>
        </p:sp>
        <p:sp>
          <p:nvSpPr>
            <p:cNvPr id="54" name="Graphic 5">
              <a:extLst>
                <a:ext uri="{FF2B5EF4-FFF2-40B4-BE49-F238E27FC236}">
                  <a16:creationId xmlns:a16="http://schemas.microsoft.com/office/drawing/2014/main" id="{73DB6739-63B3-D84B-97F4-F6D309711F7D}"/>
                </a:ext>
              </a:extLst>
            </p:cNvPr>
            <p:cNvSpPr/>
            <p:nvPr/>
          </p:nvSpPr>
          <p:spPr>
            <a:xfrm>
              <a:off x="6067425" y="3438525"/>
              <a:ext cx="171450" cy="19050"/>
            </a:xfrm>
            <a:custGeom>
              <a:avLst/>
              <a:gdLst>
                <a:gd name="connsiteX0" fmla="*/ 0 w 171450"/>
                <a:gd name="connsiteY0" fmla="*/ 0 h 19050"/>
                <a:gd name="connsiteX1" fmla="*/ 171450 w 171450"/>
                <a:gd name="connsiteY1" fmla="*/ 0 h 19050"/>
                <a:gd name="connsiteX2" fmla="*/ 171450 w 171450"/>
                <a:gd name="connsiteY2" fmla="*/ 19050 h 19050"/>
                <a:gd name="connsiteX3" fmla="*/ 0 w 1714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71450" h="19050">
                  <a:moveTo>
                    <a:pt x="0" y="0"/>
                  </a:moveTo>
                  <a:lnTo>
                    <a:pt x="171450" y="0"/>
                  </a:lnTo>
                  <a:lnTo>
                    <a:pt x="171450" y="19050"/>
                  </a:lnTo>
                  <a:lnTo>
                    <a:pt x="0" y="19050"/>
                  </a:lnTo>
                  <a:close/>
                </a:path>
              </a:pathLst>
            </a:custGeom>
            <a:grpFill/>
            <a:ln w="9525" cap="flat">
              <a:noFill/>
              <a:prstDash val="solid"/>
              <a:miter/>
            </a:ln>
          </p:spPr>
          <p:txBody>
            <a:bodyPr rtlCol="0" anchor="ctr"/>
            <a:lstStyle/>
            <a:p>
              <a:endParaRPr lang="en-US"/>
            </a:p>
          </p:txBody>
        </p:sp>
        <p:sp>
          <p:nvSpPr>
            <p:cNvPr id="55" name="Graphic 5">
              <a:extLst>
                <a:ext uri="{FF2B5EF4-FFF2-40B4-BE49-F238E27FC236}">
                  <a16:creationId xmlns:a16="http://schemas.microsoft.com/office/drawing/2014/main" id="{FED82DF6-8E08-B647-942C-6E6A4EF54B79}"/>
                </a:ext>
              </a:extLst>
            </p:cNvPr>
            <p:cNvSpPr/>
            <p:nvPr/>
          </p:nvSpPr>
          <p:spPr>
            <a:xfrm>
              <a:off x="6067425" y="3476625"/>
              <a:ext cx="209550" cy="19050"/>
            </a:xfrm>
            <a:custGeom>
              <a:avLst/>
              <a:gdLst>
                <a:gd name="connsiteX0" fmla="*/ 0 w 209550"/>
                <a:gd name="connsiteY0" fmla="*/ 0 h 19050"/>
                <a:gd name="connsiteX1" fmla="*/ 209550 w 209550"/>
                <a:gd name="connsiteY1" fmla="*/ 0 h 19050"/>
                <a:gd name="connsiteX2" fmla="*/ 209550 w 209550"/>
                <a:gd name="connsiteY2" fmla="*/ 19050 h 19050"/>
                <a:gd name="connsiteX3" fmla="*/ 0 w 2095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09550" h="19050">
                  <a:moveTo>
                    <a:pt x="0" y="0"/>
                  </a:moveTo>
                  <a:lnTo>
                    <a:pt x="209550" y="0"/>
                  </a:lnTo>
                  <a:lnTo>
                    <a:pt x="209550" y="19050"/>
                  </a:lnTo>
                  <a:lnTo>
                    <a:pt x="0" y="19050"/>
                  </a:lnTo>
                  <a:close/>
                </a:path>
              </a:pathLst>
            </a:custGeom>
            <a:grpFill/>
            <a:ln w="9525" cap="flat">
              <a:noFill/>
              <a:prstDash val="solid"/>
              <a:miter/>
            </a:ln>
          </p:spPr>
          <p:txBody>
            <a:bodyPr rtlCol="0" anchor="ctr"/>
            <a:lstStyle/>
            <a:p>
              <a:endParaRPr lang="en-US"/>
            </a:p>
          </p:txBody>
        </p:sp>
      </p:grpSp>
      <p:sp>
        <p:nvSpPr>
          <p:cNvPr id="63" name="Rectangle 62">
            <a:extLst>
              <a:ext uri="{FF2B5EF4-FFF2-40B4-BE49-F238E27FC236}">
                <a16:creationId xmlns:a16="http://schemas.microsoft.com/office/drawing/2014/main" id="{7259D358-3FEE-1540-B867-EF41317107CD}"/>
              </a:ext>
            </a:extLst>
          </p:cNvPr>
          <p:cNvSpPr/>
          <p:nvPr/>
        </p:nvSpPr>
        <p:spPr>
          <a:xfrm>
            <a:off x="612998" y="5054290"/>
            <a:ext cx="2061401" cy="138499"/>
          </a:xfrm>
          <a:prstGeom prst="rect">
            <a:avLst/>
          </a:prstGeom>
        </p:spPr>
        <p:txBody>
          <a:bodyPr wrap="square" lIns="0" tIns="0" rIns="0" bIns="0">
            <a:spAutoFit/>
          </a:bodyPr>
          <a:lstStyle/>
          <a:p>
            <a:r>
              <a:rPr lang="en-US" sz="900" dirty="0"/>
              <a:t>Developing smarter platform capabilities</a:t>
            </a:r>
            <a:endParaRPr lang="en-IN" sz="900" dirty="0">
              <a:latin typeface="+mn-lt"/>
            </a:endParaRPr>
          </a:p>
        </p:txBody>
      </p:sp>
      <p:sp>
        <p:nvSpPr>
          <p:cNvPr id="57" name="Rectangle 56">
            <a:extLst>
              <a:ext uri="{FF2B5EF4-FFF2-40B4-BE49-F238E27FC236}">
                <a16:creationId xmlns:a16="http://schemas.microsoft.com/office/drawing/2014/main" id="{2117A22D-746D-914A-B5E5-5ADCEA423E8F}"/>
              </a:ext>
            </a:extLst>
          </p:cNvPr>
          <p:cNvSpPr/>
          <p:nvPr/>
        </p:nvSpPr>
        <p:spPr>
          <a:xfrm>
            <a:off x="3369347" y="6049995"/>
            <a:ext cx="2536299" cy="138499"/>
          </a:xfrm>
          <a:prstGeom prst="rect">
            <a:avLst/>
          </a:prstGeom>
        </p:spPr>
        <p:txBody>
          <a:bodyPr wrap="square" lIns="0" tIns="0" rIns="0" bIns="0">
            <a:spAutoFit/>
          </a:bodyPr>
          <a:lstStyle/>
          <a:p>
            <a:r>
              <a:rPr lang="en-US" sz="900" dirty="0"/>
              <a:t>Exploring new and innovative commercial models</a:t>
            </a:r>
          </a:p>
        </p:txBody>
      </p:sp>
      <p:sp>
        <p:nvSpPr>
          <p:cNvPr id="58" name="Graphic 11">
            <a:extLst>
              <a:ext uri="{FF2B5EF4-FFF2-40B4-BE49-F238E27FC236}">
                <a16:creationId xmlns:a16="http://schemas.microsoft.com/office/drawing/2014/main" id="{8D08BF28-692B-834E-B3AD-70A96EEB1972}"/>
              </a:ext>
            </a:extLst>
          </p:cNvPr>
          <p:cNvSpPr/>
          <p:nvPr/>
        </p:nvSpPr>
        <p:spPr>
          <a:xfrm>
            <a:off x="1391570" y="5354204"/>
            <a:ext cx="469173" cy="584776"/>
          </a:xfrm>
          <a:custGeom>
            <a:avLst/>
            <a:gdLst>
              <a:gd name="connsiteX0" fmla="*/ 381663 w 516519"/>
              <a:gd name="connsiteY0" fmla="*/ 454671 h 643788"/>
              <a:gd name="connsiteX1" fmla="*/ 381663 w 516519"/>
              <a:gd name="connsiteY1" fmla="*/ 624678 h 643788"/>
              <a:gd name="connsiteX2" fmla="*/ 351411 w 516519"/>
              <a:gd name="connsiteY2" fmla="*/ 639961 h 643788"/>
              <a:gd name="connsiteX3" fmla="*/ 257838 w 516519"/>
              <a:gd name="connsiteY3" fmla="*/ 572442 h 643788"/>
              <a:gd name="connsiteX4" fmla="*/ 164264 w 516519"/>
              <a:gd name="connsiteY4" fmla="*/ 639961 h 643788"/>
              <a:gd name="connsiteX5" fmla="*/ 134013 w 516519"/>
              <a:gd name="connsiteY5" fmla="*/ 624678 h 643788"/>
              <a:gd name="connsiteX6" fmla="*/ 134013 w 516519"/>
              <a:gd name="connsiteY6" fmla="*/ 454671 h 643788"/>
              <a:gd name="connsiteX7" fmla="*/ 80558 w 516519"/>
              <a:gd name="connsiteY7" fmla="*/ 448622 h 643788"/>
              <a:gd name="connsiteX8" fmla="*/ 63794 w 516519"/>
              <a:gd name="connsiteY8" fmla="*/ 431978 h 643788"/>
              <a:gd name="connsiteX9" fmla="*/ 56813 w 516519"/>
              <a:gd name="connsiteY9" fmla="*/ 371245 h 643788"/>
              <a:gd name="connsiteX10" fmla="*/ 7292 w 516519"/>
              <a:gd name="connsiteY10" fmla="*/ 334877 h 643788"/>
              <a:gd name="connsiteX11" fmla="*/ 1158 w 516519"/>
              <a:gd name="connsiteY11" fmla="*/ 312147 h 643788"/>
              <a:gd name="connsiteX12" fmla="*/ 25714 w 516519"/>
              <a:gd name="connsiteY12" fmla="*/ 256083 h 643788"/>
              <a:gd name="connsiteX13" fmla="*/ 1158 w 516519"/>
              <a:gd name="connsiteY13" fmla="*/ 200018 h 643788"/>
              <a:gd name="connsiteX14" fmla="*/ 7292 w 516519"/>
              <a:gd name="connsiteY14" fmla="*/ 177288 h 643788"/>
              <a:gd name="connsiteX15" fmla="*/ 56813 w 516519"/>
              <a:gd name="connsiteY15" fmla="*/ 140920 h 643788"/>
              <a:gd name="connsiteX16" fmla="*/ 63794 w 516519"/>
              <a:gd name="connsiteY16" fmla="*/ 80187 h 643788"/>
              <a:gd name="connsiteX17" fmla="*/ 80558 w 516519"/>
              <a:gd name="connsiteY17" fmla="*/ 63544 h 643788"/>
              <a:gd name="connsiteX18" fmla="*/ 141776 w 516519"/>
              <a:gd name="connsiteY18" fmla="*/ 56616 h 643788"/>
              <a:gd name="connsiteX19" fmla="*/ 178428 w 516519"/>
              <a:gd name="connsiteY19" fmla="*/ 7479 h 643788"/>
              <a:gd name="connsiteX20" fmla="*/ 201335 w 516519"/>
              <a:gd name="connsiteY20" fmla="*/ 1393 h 643788"/>
              <a:gd name="connsiteX21" fmla="*/ 257838 w 516519"/>
              <a:gd name="connsiteY21" fmla="*/ 25758 h 643788"/>
              <a:gd name="connsiteX22" fmla="*/ 314340 w 516519"/>
              <a:gd name="connsiteY22" fmla="*/ 1393 h 643788"/>
              <a:gd name="connsiteX23" fmla="*/ 337248 w 516519"/>
              <a:gd name="connsiteY23" fmla="*/ 7479 h 643788"/>
              <a:gd name="connsiteX24" fmla="*/ 373900 w 516519"/>
              <a:gd name="connsiteY24" fmla="*/ 56616 h 643788"/>
              <a:gd name="connsiteX25" fmla="*/ 435117 w 516519"/>
              <a:gd name="connsiteY25" fmla="*/ 63544 h 643788"/>
              <a:gd name="connsiteX26" fmla="*/ 451881 w 516519"/>
              <a:gd name="connsiteY26" fmla="*/ 80187 h 643788"/>
              <a:gd name="connsiteX27" fmla="*/ 458863 w 516519"/>
              <a:gd name="connsiteY27" fmla="*/ 140920 h 643788"/>
              <a:gd name="connsiteX28" fmla="*/ 508383 w 516519"/>
              <a:gd name="connsiteY28" fmla="*/ 177288 h 643788"/>
              <a:gd name="connsiteX29" fmla="*/ 514517 w 516519"/>
              <a:gd name="connsiteY29" fmla="*/ 200018 h 643788"/>
              <a:gd name="connsiteX30" fmla="*/ 489962 w 516519"/>
              <a:gd name="connsiteY30" fmla="*/ 256083 h 643788"/>
              <a:gd name="connsiteX31" fmla="*/ 514517 w 516519"/>
              <a:gd name="connsiteY31" fmla="*/ 312147 h 643788"/>
              <a:gd name="connsiteX32" fmla="*/ 508383 w 516519"/>
              <a:gd name="connsiteY32" fmla="*/ 334877 h 643788"/>
              <a:gd name="connsiteX33" fmla="*/ 458863 w 516519"/>
              <a:gd name="connsiteY33" fmla="*/ 371245 h 643788"/>
              <a:gd name="connsiteX34" fmla="*/ 451881 w 516519"/>
              <a:gd name="connsiteY34" fmla="*/ 431978 h 643788"/>
              <a:gd name="connsiteX35" fmla="*/ 435117 w 516519"/>
              <a:gd name="connsiteY35" fmla="*/ 448622 h 643788"/>
              <a:gd name="connsiteX36" fmla="*/ 381663 w 516519"/>
              <a:gd name="connsiteY36" fmla="*/ 454671 h 643788"/>
              <a:gd name="connsiteX37" fmla="*/ 134013 w 516519"/>
              <a:gd name="connsiteY37" fmla="*/ 359620 h 643788"/>
              <a:gd name="connsiteX38" fmla="*/ 95913 w 516519"/>
              <a:gd name="connsiteY38" fmla="*/ 256083 h 643788"/>
              <a:gd name="connsiteX39" fmla="*/ 257838 w 516519"/>
              <a:gd name="connsiteY39" fmla="*/ 95413 h 643788"/>
              <a:gd name="connsiteX40" fmla="*/ 419763 w 516519"/>
              <a:gd name="connsiteY40" fmla="*/ 256083 h 643788"/>
              <a:gd name="connsiteX41" fmla="*/ 381663 w 516519"/>
              <a:gd name="connsiteY41" fmla="*/ 359620 h 643788"/>
              <a:gd name="connsiteX42" fmla="*/ 381663 w 516519"/>
              <a:gd name="connsiteY42" fmla="*/ 416620 h 643788"/>
              <a:gd name="connsiteX43" fmla="*/ 415743 w 516519"/>
              <a:gd name="connsiteY43" fmla="*/ 412764 h 643788"/>
              <a:gd name="connsiteX44" fmla="*/ 421944 w 516519"/>
              <a:gd name="connsiteY44" fmla="*/ 358798 h 643788"/>
              <a:gd name="connsiteX45" fmla="*/ 429545 w 516519"/>
              <a:gd name="connsiteY45" fmla="*/ 345746 h 643788"/>
              <a:gd name="connsiteX46" fmla="*/ 473541 w 516519"/>
              <a:gd name="connsiteY46" fmla="*/ 313432 h 643788"/>
              <a:gd name="connsiteX47" fmla="*/ 451719 w 516519"/>
              <a:gd name="connsiteY47" fmla="*/ 263615 h 643788"/>
              <a:gd name="connsiteX48" fmla="*/ 451719 w 516519"/>
              <a:gd name="connsiteY48" fmla="*/ 248550 h 643788"/>
              <a:gd name="connsiteX49" fmla="*/ 473541 w 516519"/>
              <a:gd name="connsiteY49" fmla="*/ 198733 h 643788"/>
              <a:gd name="connsiteX50" fmla="*/ 429545 w 516519"/>
              <a:gd name="connsiteY50" fmla="*/ 166420 h 643788"/>
              <a:gd name="connsiteX51" fmla="*/ 421944 w 516519"/>
              <a:gd name="connsiteY51" fmla="*/ 153368 h 643788"/>
              <a:gd name="connsiteX52" fmla="*/ 415743 w 516519"/>
              <a:gd name="connsiteY52" fmla="*/ 99401 h 643788"/>
              <a:gd name="connsiteX53" fmla="*/ 361356 w 516519"/>
              <a:gd name="connsiteY53" fmla="*/ 93249 h 643788"/>
              <a:gd name="connsiteX54" fmla="*/ 348201 w 516519"/>
              <a:gd name="connsiteY54" fmla="*/ 85707 h 643788"/>
              <a:gd name="connsiteX55" fmla="*/ 315635 w 516519"/>
              <a:gd name="connsiteY55" fmla="*/ 42052 h 643788"/>
              <a:gd name="connsiteX56" fmla="*/ 265429 w 516519"/>
              <a:gd name="connsiteY56" fmla="*/ 63704 h 643788"/>
              <a:gd name="connsiteX57" fmla="*/ 250246 w 516519"/>
              <a:gd name="connsiteY57" fmla="*/ 63704 h 643788"/>
              <a:gd name="connsiteX58" fmla="*/ 200040 w 516519"/>
              <a:gd name="connsiteY58" fmla="*/ 42052 h 643788"/>
              <a:gd name="connsiteX59" fmla="*/ 167474 w 516519"/>
              <a:gd name="connsiteY59" fmla="*/ 85707 h 643788"/>
              <a:gd name="connsiteX60" fmla="*/ 154320 w 516519"/>
              <a:gd name="connsiteY60" fmla="*/ 93249 h 643788"/>
              <a:gd name="connsiteX61" fmla="*/ 99932 w 516519"/>
              <a:gd name="connsiteY61" fmla="*/ 99401 h 643788"/>
              <a:gd name="connsiteX62" fmla="*/ 93731 w 516519"/>
              <a:gd name="connsiteY62" fmla="*/ 153368 h 643788"/>
              <a:gd name="connsiteX63" fmla="*/ 86131 w 516519"/>
              <a:gd name="connsiteY63" fmla="*/ 166420 h 643788"/>
              <a:gd name="connsiteX64" fmla="*/ 42135 w 516519"/>
              <a:gd name="connsiteY64" fmla="*/ 198733 h 643788"/>
              <a:gd name="connsiteX65" fmla="*/ 63956 w 516519"/>
              <a:gd name="connsiteY65" fmla="*/ 248550 h 643788"/>
              <a:gd name="connsiteX66" fmla="*/ 63956 w 516519"/>
              <a:gd name="connsiteY66" fmla="*/ 263615 h 643788"/>
              <a:gd name="connsiteX67" fmla="*/ 42135 w 516519"/>
              <a:gd name="connsiteY67" fmla="*/ 313432 h 643788"/>
              <a:gd name="connsiteX68" fmla="*/ 86131 w 516519"/>
              <a:gd name="connsiteY68" fmla="*/ 345746 h 643788"/>
              <a:gd name="connsiteX69" fmla="*/ 93731 w 516519"/>
              <a:gd name="connsiteY69" fmla="*/ 358798 h 643788"/>
              <a:gd name="connsiteX70" fmla="*/ 99932 w 516519"/>
              <a:gd name="connsiteY70" fmla="*/ 412764 h 643788"/>
              <a:gd name="connsiteX71" fmla="*/ 134013 w 516519"/>
              <a:gd name="connsiteY71" fmla="*/ 416620 h 643788"/>
              <a:gd name="connsiteX72" fmla="*/ 134013 w 516519"/>
              <a:gd name="connsiteY72" fmla="*/ 359620 h 643788"/>
              <a:gd name="connsiteX73" fmla="*/ 257838 w 516519"/>
              <a:gd name="connsiteY73" fmla="*/ 378948 h 643788"/>
              <a:gd name="connsiteX74" fmla="*/ 381663 w 516519"/>
              <a:gd name="connsiteY74" fmla="*/ 256083 h 643788"/>
              <a:gd name="connsiteX75" fmla="*/ 257838 w 516519"/>
              <a:gd name="connsiteY75" fmla="*/ 133218 h 643788"/>
              <a:gd name="connsiteX76" fmla="*/ 134013 w 516519"/>
              <a:gd name="connsiteY76" fmla="*/ 256083 h 643788"/>
              <a:gd name="connsiteX77" fmla="*/ 257838 w 516519"/>
              <a:gd name="connsiteY77" fmla="*/ 378948 h 643788"/>
              <a:gd name="connsiteX78" fmla="*/ 257838 w 516519"/>
              <a:gd name="connsiteY78" fmla="*/ 416753 h 643788"/>
              <a:gd name="connsiteX79" fmla="*/ 172113 w 516519"/>
              <a:gd name="connsiteY79" fmla="*/ 392416 h 643788"/>
              <a:gd name="connsiteX80" fmla="*/ 172113 w 516519"/>
              <a:gd name="connsiteY80" fmla="*/ 587554 h 643788"/>
              <a:gd name="connsiteX81" fmla="*/ 246636 w 516519"/>
              <a:gd name="connsiteY81" fmla="*/ 533786 h 643788"/>
              <a:gd name="connsiteX82" fmla="*/ 269039 w 516519"/>
              <a:gd name="connsiteY82" fmla="*/ 533786 h 643788"/>
              <a:gd name="connsiteX83" fmla="*/ 343563 w 516519"/>
              <a:gd name="connsiteY83" fmla="*/ 587554 h 643788"/>
              <a:gd name="connsiteX84" fmla="*/ 343563 w 516519"/>
              <a:gd name="connsiteY84" fmla="*/ 392416 h 643788"/>
              <a:gd name="connsiteX85" fmla="*/ 257838 w 516519"/>
              <a:gd name="connsiteY85" fmla="*/ 416753 h 643788"/>
              <a:gd name="connsiteX86" fmla="*/ 301519 w 516519"/>
              <a:gd name="connsiteY86" fmla="*/ 214365 h 643788"/>
              <a:gd name="connsiteX87" fmla="*/ 328456 w 516519"/>
              <a:gd name="connsiteY87" fmla="*/ 214365 h 643788"/>
              <a:gd name="connsiteX88" fmla="*/ 328456 w 516519"/>
              <a:gd name="connsiteY88" fmla="*/ 241093 h 643788"/>
              <a:gd name="connsiteX89" fmla="*/ 261781 w 516519"/>
              <a:gd name="connsiteY89" fmla="*/ 307251 h 643788"/>
              <a:gd name="connsiteX90" fmla="*/ 234844 w 516519"/>
              <a:gd name="connsiteY90" fmla="*/ 307251 h 643788"/>
              <a:gd name="connsiteX91" fmla="*/ 196744 w 516519"/>
              <a:gd name="connsiteY91" fmla="*/ 269447 h 643788"/>
              <a:gd name="connsiteX92" fmla="*/ 196744 w 516519"/>
              <a:gd name="connsiteY92" fmla="*/ 242719 h 643788"/>
              <a:gd name="connsiteX93" fmla="*/ 223681 w 516519"/>
              <a:gd name="connsiteY93" fmla="*/ 242719 h 643788"/>
              <a:gd name="connsiteX94" fmla="*/ 248313 w 516519"/>
              <a:gd name="connsiteY94" fmla="*/ 267159 h 643788"/>
              <a:gd name="connsiteX95" fmla="*/ 301519 w 516519"/>
              <a:gd name="connsiteY95" fmla="*/ 214365 h 64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516519" h="643788">
                <a:moveTo>
                  <a:pt x="381663" y="454671"/>
                </a:moveTo>
                <a:lnTo>
                  <a:pt x="381663" y="624678"/>
                </a:lnTo>
                <a:cubicBezTo>
                  <a:pt x="381663" y="640131"/>
                  <a:pt x="364003" y="649053"/>
                  <a:pt x="351411" y="639961"/>
                </a:cubicBezTo>
                <a:lnTo>
                  <a:pt x="257838" y="572442"/>
                </a:lnTo>
                <a:lnTo>
                  <a:pt x="164264" y="639961"/>
                </a:lnTo>
                <a:cubicBezTo>
                  <a:pt x="151672" y="649053"/>
                  <a:pt x="134013" y="640131"/>
                  <a:pt x="134013" y="624678"/>
                </a:cubicBezTo>
                <a:lnTo>
                  <a:pt x="134013" y="454671"/>
                </a:lnTo>
                <a:lnTo>
                  <a:pt x="80558" y="448622"/>
                </a:lnTo>
                <a:cubicBezTo>
                  <a:pt x="71757" y="447620"/>
                  <a:pt x="64804" y="440721"/>
                  <a:pt x="63794" y="431978"/>
                </a:cubicBezTo>
                <a:lnTo>
                  <a:pt x="56813" y="371245"/>
                </a:lnTo>
                <a:lnTo>
                  <a:pt x="7292" y="334877"/>
                </a:lnTo>
                <a:cubicBezTo>
                  <a:pt x="167" y="329641"/>
                  <a:pt x="-2376" y="320218"/>
                  <a:pt x="1158" y="312147"/>
                </a:cubicBezTo>
                <a:lnTo>
                  <a:pt x="25714" y="256083"/>
                </a:lnTo>
                <a:lnTo>
                  <a:pt x="1158" y="200018"/>
                </a:lnTo>
                <a:cubicBezTo>
                  <a:pt x="-2376" y="191947"/>
                  <a:pt x="167" y="182524"/>
                  <a:pt x="7292" y="177288"/>
                </a:cubicBezTo>
                <a:lnTo>
                  <a:pt x="56813" y="140920"/>
                </a:lnTo>
                <a:lnTo>
                  <a:pt x="63794" y="80187"/>
                </a:lnTo>
                <a:cubicBezTo>
                  <a:pt x="64804" y="71445"/>
                  <a:pt x="71757" y="64545"/>
                  <a:pt x="80558" y="63544"/>
                </a:cubicBezTo>
                <a:lnTo>
                  <a:pt x="141776" y="56616"/>
                </a:lnTo>
                <a:lnTo>
                  <a:pt x="178428" y="7479"/>
                </a:lnTo>
                <a:cubicBezTo>
                  <a:pt x="183705" y="410"/>
                  <a:pt x="193201" y="-2114"/>
                  <a:pt x="201335" y="1393"/>
                </a:cubicBezTo>
                <a:lnTo>
                  <a:pt x="257838" y="25758"/>
                </a:lnTo>
                <a:lnTo>
                  <a:pt x="314340" y="1393"/>
                </a:lnTo>
                <a:cubicBezTo>
                  <a:pt x="322475" y="-2114"/>
                  <a:pt x="331971" y="410"/>
                  <a:pt x="337248" y="7479"/>
                </a:cubicBezTo>
                <a:lnTo>
                  <a:pt x="373900" y="56616"/>
                </a:lnTo>
                <a:lnTo>
                  <a:pt x="435117" y="63544"/>
                </a:lnTo>
                <a:cubicBezTo>
                  <a:pt x="443918" y="64545"/>
                  <a:pt x="450871" y="71445"/>
                  <a:pt x="451881" y="80187"/>
                </a:cubicBezTo>
                <a:lnTo>
                  <a:pt x="458863" y="140920"/>
                </a:lnTo>
                <a:lnTo>
                  <a:pt x="508383" y="177288"/>
                </a:lnTo>
                <a:cubicBezTo>
                  <a:pt x="515508" y="182524"/>
                  <a:pt x="518051" y="191947"/>
                  <a:pt x="514517" y="200018"/>
                </a:cubicBezTo>
                <a:lnTo>
                  <a:pt x="489962" y="256083"/>
                </a:lnTo>
                <a:lnTo>
                  <a:pt x="514517" y="312147"/>
                </a:lnTo>
                <a:cubicBezTo>
                  <a:pt x="518051" y="320218"/>
                  <a:pt x="515508" y="329641"/>
                  <a:pt x="508383" y="334877"/>
                </a:cubicBezTo>
                <a:lnTo>
                  <a:pt x="458863" y="371245"/>
                </a:lnTo>
                <a:lnTo>
                  <a:pt x="451881" y="431978"/>
                </a:lnTo>
                <a:cubicBezTo>
                  <a:pt x="450871" y="440721"/>
                  <a:pt x="443918" y="447620"/>
                  <a:pt x="435117" y="448622"/>
                </a:cubicBezTo>
                <a:lnTo>
                  <a:pt x="381663" y="454671"/>
                </a:lnTo>
                <a:close/>
                <a:moveTo>
                  <a:pt x="134013" y="359620"/>
                </a:moveTo>
                <a:cubicBezTo>
                  <a:pt x="110238" y="331654"/>
                  <a:pt x="95913" y="295532"/>
                  <a:pt x="95913" y="256083"/>
                </a:cubicBezTo>
                <a:cubicBezTo>
                  <a:pt x="95913" y="167346"/>
                  <a:pt x="168407" y="95413"/>
                  <a:pt x="257838" y="95413"/>
                </a:cubicBezTo>
                <a:cubicBezTo>
                  <a:pt x="347268" y="95413"/>
                  <a:pt x="419763" y="167346"/>
                  <a:pt x="419763" y="256083"/>
                </a:cubicBezTo>
                <a:cubicBezTo>
                  <a:pt x="419763" y="295532"/>
                  <a:pt x="405437" y="331654"/>
                  <a:pt x="381663" y="359620"/>
                </a:cubicBezTo>
                <a:lnTo>
                  <a:pt x="381663" y="416620"/>
                </a:lnTo>
                <a:lnTo>
                  <a:pt x="415743" y="412764"/>
                </a:lnTo>
                <a:lnTo>
                  <a:pt x="421944" y="358798"/>
                </a:lnTo>
                <a:cubicBezTo>
                  <a:pt x="422544" y="353590"/>
                  <a:pt x="425297" y="348865"/>
                  <a:pt x="429545" y="345746"/>
                </a:cubicBezTo>
                <a:lnTo>
                  <a:pt x="473541" y="313432"/>
                </a:lnTo>
                <a:lnTo>
                  <a:pt x="451719" y="263615"/>
                </a:lnTo>
                <a:cubicBezTo>
                  <a:pt x="449614" y="258814"/>
                  <a:pt x="449614" y="253351"/>
                  <a:pt x="451719" y="248550"/>
                </a:cubicBezTo>
                <a:lnTo>
                  <a:pt x="473541" y="198733"/>
                </a:lnTo>
                <a:lnTo>
                  <a:pt x="429545" y="166420"/>
                </a:lnTo>
                <a:cubicBezTo>
                  <a:pt x="425297" y="163301"/>
                  <a:pt x="422544" y="158575"/>
                  <a:pt x="421944" y="153368"/>
                </a:cubicBezTo>
                <a:lnTo>
                  <a:pt x="415743" y="99401"/>
                </a:lnTo>
                <a:lnTo>
                  <a:pt x="361356" y="93249"/>
                </a:lnTo>
                <a:cubicBezTo>
                  <a:pt x="356107" y="92653"/>
                  <a:pt x="351345" y="89922"/>
                  <a:pt x="348201" y="85707"/>
                </a:cubicBezTo>
                <a:lnTo>
                  <a:pt x="315635" y="42052"/>
                </a:lnTo>
                <a:lnTo>
                  <a:pt x="265429" y="63704"/>
                </a:lnTo>
                <a:cubicBezTo>
                  <a:pt x="260591" y="65793"/>
                  <a:pt x="255085" y="65793"/>
                  <a:pt x="250246" y="63704"/>
                </a:cubicBezTo>
                <a:lnTo>
                  <a:pt x="200040" y="42052"/>
                </a:lnTo>
                <a:lnTo>
                  <a:pt x="167474" y="85707"/>
                </a:lnTo>
                <a:cubicBezTo>
                  <a:pt x="164331" y="89922"/>
                  <a:pt x="159568" y="92653"/>
                  <a:pt x="154320" y="93249"/>
                </a:cubicBezTo>
                <a:lnTo>
                  <a:pt x="99932" y="99401"/>
                </a:lnTo>
                <a:lnTo>
                  <a:pt x="93731" y="153368"/>
                </a:lnTo>
                <a:cubicBezTo>
                  <a:pt x="93132" y="158575"/>
                  <a:pt x="90379" y="163301"/>
                  <a:pt x="86131" y="166420"/>
                </a:cubicBezTo>
                <a:lnTo>
                  <a:pt x="42135" y="198733"/>
                </a:lnTo>
                <a:lnTo>
                  <a:pt x="63956" y="248550"/>
                </a:lnTo>
                <a:cubicBezTo>
                  <a:pt x="66061" y="253351"/>
                  <a:pt x="66061" y="258814"/>
                  <a:pt x="63956" y="263615"/>
                </a:cubicBezTo>
                <a:lnTo>
                  <a:pt x="42135" y="313432"/>
                </a:lnTo>
                <a:lnTo>
                  <a:pt x="86131" y="345746"/>
                </a:lnTo>
                <a:cubicBezTo>
                  <a:pt x="90379" y="348865"/>
                  <a:pt x="93132" y="353590"/>
                  <a:pt x="93731" y="358798"/>
                </a:cubicBezTo>
                <a:lnTo>
                  <a:pt x="99932" y="412764"/>
                </a:lnTo>
                <a:lnTo>
                  <a:pt x="134013" y="416620"/>
                </a:lnTo>
                <a:lnTo>
                  <a:pt x="134013" y="359620"/>
                </a:lnTo>
                <a:close/>
                <a:moveTo>
                  <a:pt x="257838" y="378948"/>
                </a:moveTo>
                <a:cubicBezTo>
                  <a:pt x="326227" y="378948"/>
                  <a:pt x="381663" y="323942"/>
                  <a:pt x="381663" y="256083"/>
                </a:cubicBezTo>
                <a:cubicBezTo>
                  <a:pt x="381663" y="188223"/>
                  <a:pt x="326227" y="133218"/>
                  <a:pt x="257838" y="133218"/>
                </a:cubicBezTo>
                <a:cubicBezTo>
                  <a:pt x="189448" y="133218"/>
                  <a:pt x="134013" y="188223"/>
                  <a:pt x="134013" y="256083"/>
                </a:cubicBezTo>
                <a:cubicBezTo>
                  <a:pt x="134013" y="323942"/>
                  <a:pt x="189448" y="378948"/>
                  <a:pt x="257838" y="378948"/>
                </a:cubicBezTo>
                <a:close/>
                <a:moveTo>
                  <a:pt x="257838" y="416753"/>
                </a:moveTo>
                <a:cubicBezTo>
                  <a:pt x="226939" y="416753"/>
                  <a:pt x="197411" y="408105"/>
                  <a:pt x="172113" y="392416"/>
                </a:cubicBezTo>
                <a:lnTo>
                  <a:pt x="172113" y="587554"/>
                </a:lnTo>
                <a:lnTo>
                  <a:pt x="246636" y="533786"/>
                </a:lnTo>
                <a:cubicBezTo>
                  <a:pt x="253313" y="528957"/>
                  <a:pt x="262362" y="528957"/>
                  <a:pt x="269039" y="533786"/>
                </a:cubicBezTo>
                <a:lnTo>
                  <a:pt x="343563" y="587554"/>
                </a:lnTo>
                <a:lnTo>
                  <a:pt x="343563" y="392416"/>
                </a:lnTo>
                <a:cubicBezTo>
                  <a:pt x="318264" y="408105"/>
                  <a:pt x="288737" y="416753"/>
                  <a:pt x="257838" y="416753"/>
                </a:cubicBezTo>
                <a:close/>
                <a:moveTo>
                  <a:pt x="301519" y="214365"/>
                </a:moveTo>
                <a:cubicBezTo>
                  <a:pt x="308958" y="206984"/>
                  <a:pt x="321017" y="206984"/>
                  <a:pt x="328456" y="214365"/>
                </a:cubicBezTo>
                <a:cubicBezTo>
                  <a:pt x="335895" y="221747"/>
                  <a:pt x="335895" y="233712"/>
                  <a:pt x="328456" y="241093"/>
                </a:cubicBezTo>
                <a:lnTo>
                  <a:pt x="261781" y="307251"/>
                </a:lnTo>
                <a:cubicBezTo>
                  <a:pt x="254342" y="314633"/>
                  <a:pt x="242283" y="314633"/>
                  <a:pt x="234844" y="307251"/>
                </a:cubicBezTo>
                <a:lnTo>
                  <a:pt x="196744" y="269447"/>
                </a:lnTo>
                <a:cubicBezTo>
                  <a:pt x="189305" y="262065"/>
                  <a:pt x="189305" y="250100"/>
                  <a:pt x="196744" y="242719"/>
                </a:cubicBezTo>
                <a:cubicBezTo>
                  <a:pt x="204183" y="235337"/>
                  <a:pt x="216242" y="235337"/>
                  <a:pt x="223681" y="242719"/>
                </a:cubicBezTo>
                <a:lnTo>
                  <a:pt x="248313" y="267159"/>
                </a:lnTo>
                <a:lnTo>
                  <a:pt x="301519" y="214365"/>
                </a:lnTo>
                <a:close/>
              </a:path>
            </a:pathLst>
          </a:custGeom>
          <a:solidFill>
            <a:schemeClr val="accent5">
              <a:lumMod val="50000"/>
            </a:schemeClr>
          </a:solidFill>
          <a:ln w="12700" cap="flat">
            <a:solidFill>
              <a:schemeClr val="bg1"/>
            </a:solidFill>
            <a:prstDash val="solid"/>
            <a:miter/>
          </a:ln>
        </p:spPr>
        <p:txBody>
          <a:bodyPr rtlCol="0" anchor="ctr"/>
          <a:lstStyle/>
          <a:p>
            <a:endParaRPr lang="en-US"/>
          </a:p>
        </p:txBody>
      </p:sp>
      <p:grpSp>
        <p:nvGrpSpPr>
          <p:cNvPr id="64" name="Graphic 7">
            <a:extLst>
              <a:ext uri="{FF2B5EF4-FFF2-40B4-BE49-F238E27FC236}">
                <a16:creationId xmlns:a16="http://schemas.microsoft.com/office/drawing/2014/main" id="{C128F121-4DE9-CD42-93DD-0D530AC241A3}"/>
              </a:ext>
            </a:extLst>
          </p:cNvPr>
          <p:cNvGrpSpPr/>
          <p:nvPr/>
        </p:nvGrpSpPr>
        <p:grpSpPr>
          <a:xfrm>
            <a:off x="4364890" y="5392853"/>
            <a:ext cx="545213" cy="546127"/>
            <a:chOff x="6048375" y="5141952"/>
            <a:chExt cx="590550" cy="591540"/>
          </a:xfrm>
          <a:solidFill>
            <a:schemeClr val="accent5">
              <a:lumMod val="50000"/>
            </a:schemeClr>
          </a:solidFill>
        </p:grpSpPr>
        <p:sp>
          <p:nvSpPr>
            <p:cNvPr id="65" name="Graphic 7">
              <a:extLst>
                <a:ext uri="{FF2B5EF4-FFF2-40B4-BE49-F238E27FC236}">
                  <a16:creationId xmlns:a16="http://schemas.microsoft.com/office/drawing/2014/main" id="{E1996A3B-A37A-7F4F-92ED-7BC1E84B04C8}"/>
                </a:ext>
              </a:extLst>
            </p:cNvPr>
            <p:cNvSpPr/>
            <p:nvPr/>
          </p:nvSpPr>
          <p:spPr>
            <a:xfrm rot="-3378691">
              <a:off x="6118810" y="5266765"/>
              <a:ext cx="68687" cy="19050"/>
            </a:xfrm>
            <a:custGeom>
              <a:avLst/>
              <a:gdLst>
                <a:gd name="connsiteX0" fmla="*/ 0 w 68687"/>
                <a:gd name="connsiteY0" fmla="*/ 0 h 19050"/>
                <a:gd name="connsiteX1" fmla="*/ 68688 w 68687"/>
                <a:gd name="connsiteY1" fmla="*/ 0 h 19050"/>
                <a:gd name="connsiteX2" fmla="*/ 68688 w 68687"/>
                <a:gd name="connsiteY2" fmla="*/ 19051 h 19050"/>
                <a:gd name="connsiteX3" fmla="*/ 0 w 68687"/>
                <a:gd name="connsiteY3" fmla="*/ 19051 h 19050"/>
              </a:gdLst>
              <a:ahLst/>
              <a:cxnLst>
                <a:cxn ang="0">
                  <a:pos x="connsiteX0" y="connsiteY0"/>
                </a:cxn>
                <a:cxn ang="0">
                  <a:pos x="connsiteX1" y="connsiteY1"/>
                </a:cxn>
                <a:cxn ang="0">
                  <a:pos x="connsiteX2" y="connsiteY2"/>
                </a:cxn>
                <a:cxn ang="0">
                  <a:pos x="connsiteX3" y="connsiteY3"/>
                </a:cxn>
              </a:cxnLst>
              <a:rect l="l" t="t" r="r" b="b"/>
              <a:pathLst>
                <a:path w="68687" h="19050">
                  <a:moveTo>
                    <a:pt x="0" y="0"/>
                  </a:moveTo>
                  <a:lnTo>
                    <a:pt x="68688" y="0"/>
                  </a:lnTo>
                  <a:lnTo>
                    <a:pt x="68688" y="19051"/>
                  </a:lnTo>
                  <a:lnTo>
                    <a:pt x="0" y="19051"/>
                  </a:lnTo>
                  <a:close/>
                </a:path>
              </a:pathLst>
            </a:custGeom>
            <a:grpFill/>
            <a:ln w="9525" cap="flat">
              <a:noFill/>
              <a:prstDash val="solid"/>
              <a:miter/>
            </a:ln>
          </p:spPr>
          <p:txBody>
            <a:bodyPr rtlCol="0" anchor="ctr"/>
            <a:lstStyle/>
            <a:p>
              <a:endParaRPr lang="en-US"/>
            </a:p>
          </p:txBody>
        </p:sp>
        <p:sp>
          <p:nvSpPr>
            <p:cNvPr id="66" name="Graphic 7">
              <a:extLst>
                <a:ext uri="{FF2B5EF4-FFF2-40B4-BE49-F238E27FC236}">
                  <a16:creationId xmlns:a16="http://schemas.microsoft.com/office/drawing/2014/main" id="{CC58C266-B1FB-8645-B57B-9B5CD3CB5929}"/>
                </a:ext>
              </a:extLst>
            </p:cNvPr>
            <p:cNvSpPr/>
            <p:nvPr/>
          </p:nvSpPr>
          <p:spPr>
            <a:xfrm>
              <a:off x="6172200" y="5285818"/>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grpFill/>
            <a:ln w="9525" cap="flat">
              <a:noFill/>
              <a:prstDash val="solid"/>
              <a:miter/>
            </a:ln>
          </p:spPr>
          <p:txBody>
            <a:bodyPr rtlCol="0" anchor="ctr"/>
            <a:lstStyle/>
            <a:p>
              <a:endParaRPr lang="en-US"/>
            </a:p>
          </p:txBody>
        </p:sp>
        <p:sp>
          <p:nvSpPr>
            <p:cNvPr id="67" name="Graphic 7">
              <a:extLst>
                <a:ext uri="{FF2B5EF4-FFF2-40B4-BE49-F238E27FC236}">
                  <a16:creationId xmlns:a16="http://schemas.microsoft.com/office/drawing/2014/main" id="{A6CFA22D-D4E4-314A-9BD8-C20851510101}"/>
                </a:ext>
              </a:extLst>
            </p:cNvPr>
            <p:cNvSpPr/>
            <p:nvPr/>
          </p:nvSpPr>
          <p:spPr>
            <a:xfrm>
              <a:off x="6115050" y="5247718"/>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grpFill/>
            <a:ln w="9525" cap="flat">
              <a:noFill/>
              <a:prstDash val="solid"/>
              <a:miter/>
            </a:ln>
          </p:spPr>
          <p:txBody>
            <a:bodyPr rtlCol="0" anchor="ctr"/>
            <a:lstStyle/>
            <a:p>
              <a:endParaRPr lang="en-US"/>
            </a:p>
          </p:txBody>
        </p:sp>
        <p:sp>
          <p:nvSpPr>
            <p:cNvPr id="68" name="Graphic 7">
              <a:extLst>
                <a:ext uri="{FF2B5EF4-FFF2-40B4-BE49-F238E27FC236}">
                  <a16:creationId xmlns:a16="http://schemas.microsoft.com/office/drawing/2014/main" id="{109A145D-FC5A-3D44-94AB-795164BCCAC1}"/>
                </a:ext>
              </a:extLst>
            </p:cNvPr>
            <p:cNvSpPr/>
            <p:nvPr/>
          </p:nvSpPr>
          <p:spPr>
            <a:xfrm>
              <a:off x="6048375" y="5141952"/>
              <a:ext cx="190500" cy="306552"/>
            </a:xfrm>
            <a:custGeom>
              <a:avLst/>
              <a:gdLst>
                <a:gd name="connsiteX0" fmla="*/ 190500 w 190500"/>
                <a:gd name="connsiteY0" fmla="*/ 0 h 306552"/>
                <a:gd name="connsiteX1" fmla="*/ 180032 w 190500"/>
                <a:gd name="connsiteY1" fmla="*/ 1038 h 306552"/>
                <a:gd name="connsiteX2" fmla="*/ 0 w 190500"/>
                <a:gd name="connsiteY2" fmla="*/ 201016 h 306552"/>
                <a:gd name="connsiteX3" fmla="*/ 24698 w 190500"/>
                <a:gd name="connsiteY3" fmla="*/ 297323 h 306552"/>
                <a:gd name="connsiteX4" fmla="*/ 29766 w 190500"/>
                <a:gd name="connsiteY4" fmla="*/ 306553 h 306552"/>
                <a:gd name="connsiteX5" fmla="*/ 190500 w 190500"/>
                <a:gd name="connsiteY5" fmla="*/ 196025 h 306552"/>
                <a:gd name="connsiteX6" fmla="*/ 190500 w 190500"/>
                <a:gd name="connsiteY6" fmla="*/ 0 h 306552"/>
                <a:gd name="connsiteX7" fmla="*/ 171450 w 190500"/>
                <a:gd name="connsiteY7" fmla="*/ 186004 h 306552"/>
                <a:gd name="connsiteX8" fmla="*/ 36595 w 190500"/>
                <a:gd name="connsiteY8" fmla="*/ 278749 h 306552"/>
                <a:gd name="connsiteX9" fmla="*/ 19050 w 190500"/>
                <a:gd name="connsiteY9" fmla="*/ 201016 h 306552"/>
                <a:gd name="connsiteX10" fmla="*/ 171450 w 190500"/>
                <a:gd name="connsiteY10" fmla="*/ 21346 h 306552"/>
                <a:gd name="connsiteX11" fmla="*/ 171450 w 190500"/>
                <a:gd name="connsiteY11" fmla="*/ 186004 h 306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306552">
                  <a:moveTo>
                    <a:pt x="190500" y="0"/>
                  </a:moveTo>
                  <a:lnTo>
                    <a:pt x="180032" y="1038"/>
                  </a:lnTo>
                  <a:cubicBezTo>
                    <a:pt x="77400" y="11192"/>
                    <a:pt x="0" y="97165"/>
                    <a:pt x="0" y="201016"/>
                  </a:cubicBezTo>
                  <a:cubicBezTo>
                    <a:pt x="0" y="234572"/>
                    <a:pt x="8534" y="267881"/>
                    <a:pt x="24698" y="297323"/>
                  </a:cubicBezTo>
                  <a:lnTo>
                    <a:pt x="29766" y="306553"/>
                  </a:lnTo>
                  <a:lnTo>
                    <a:pt x="190500" y="196025"/>
                  </a:lnTo>
                  <a:lnTo>
                    <a:pt x="190500" y="0"/>
                  </a:lnTo>
                  <a:close/>
                  <a:moveTo>
                    <a:pt x="171450" y="186004"/>
                  </a:moveTo>
                  <a:lnTo>
                    <a:pt x="36595" y="278749"/>
                  </a:lnTo>
                  <a:cubicBezTo>
                    <a:pt x="25089" y="254518"/>
                    <a:pt x="19050" y="227857"/>
                    <a:pt x="19050" y="201016"/>
                  </a:cubicBezTo>
                  <a:cubicBezTo>
                    <a:pt x="19050" y="112109"/>
                    <a:pt x="85182" y="35166"/>
                    <a:pt x="171450" y="21346"/>
                  </a:cubicBezTo>
                  <a:lnTo>
                    <a:pt x="171450" y="186004"/>
                  </a:lnTo>
                  <a:close/>
                </a:path>
              </a:pathLst>
            </a:custGeom>
            <a:grpFill/>
            <a:ln w="9525" cap="flat">
              <a:noFill/>
              <a:prstDash val="solid"/>
              <a:miter/>
            </a:ln>
          </p:spPr>
          <p:txBody>
            <a:bodyPr rtlCol="0" anchor="ctr"/>
            <a:lstStyle/>
            <a:p>
              <a:endParaRPr lang="en-US"/>
            </a:p>
          </p:txBody>
        </p:sp>
        <p:sp>
          <p:nvSpPr>
            <p:cNvPr id="69" name="Graphic 7">
              <a:extLst>
                <a:ext uri="{FF2B5EF4-FFF2-40B4-BE49-F238E27FC236}">
                  <a16:creationId xmlns:a16="http://schemas.microsoft.com/office/drawing/2014/main" id="{B91EA70A-351E-CE4E-B598-67C0A4E7FBF5}"/>
                </a:ext>
              </a:extLst>
            </p:cNvPr>
            <p:cNvSpPr/>
            <p:nvPr/>
          </p:nvSpPr>
          <p:spPr>
            <a:xfrm>
              <a:off x="6108153" y="5369361"/>
              <a:ext cx="318582" cy="364131"/>
            </a:xfrm>
            <a:custGeom>
              <a:avLst/>
              <a:gdLst>
                <a:gd name="connsiteX0" fmla="*/ 311915 w 318582"/>
                <a:gd name="connsiteY0" fmla="*/ 121863 h 364131"/>
                <a:gd name="connsiteX1" fmla="*/ 318583 w 318582"/>
                <a:gd name="connsiteY1" fmla="*/ 113976 h 364131"/>
                <a:gd name="connsiteX2" fmla="*/ 159296 w 318582"/>
                <a:gd name="connsiteY2" fmla="*/ 0 h 364131"/>
                <a:gd name="connsiteX3" fmla="*/ 0 w 318582"/>
                <a:gd name="connsiteY3" fmla="*/ 113976 h 364131"/>
                <a:gd name="connsiteX4" fmla="*/ 6667 w 318582"/>
                <a:gd name="connsiteY4" fmla="*/ 121863 h 364131"/>
                <a:gd name="connsiteX5" fmla="*/ 90573 w 318582"/>
                <a:gd name="connsiteY5" fmla="*/ 180451 h 364131"/>
                <a:gd name="connsiteX6" fmla="*/ 54521 w 318582"/>
                <a:gd name="connsiteY6" fmla="*/ 259356 h 364131"/>
                <a:gd name="connsiteX7" fmla="*/ 159296 w 318582"/>
                <a:gd name="connsiteY7" fmla="*/ 364131 h 364131"/>
                <a:gd name="connsiteX8" fmla="*/ 264071 w 318582"/>
                <a:gd name="connsiteY8" fmla="*/ 259356 h 364131"/>
                <a:gd name="connsiteX9" fmla="*/ 228019 w 318582"/>
                <a:gd name="connsiteY9" fmla="*/ 180461 h 364131"/>
                <a:gd name="connsiteX10" fmla="*/ 311915 w 318582"/>
                <a:gd name="connsiteY10" fmla="*/ 121863 h 364131"/>
                <a:gd name="connsiteX11" fmla="*/ 187871 w 318582"/>
                <a:gd name="connsiteY11" fmla="*/ 158639 h 364131"/>
                <a:gd name="connsiteX12" fmla="*/ 187871 w 318582"/>
                <a:gd name="connsiteY12" fmla="*/ 43863 h 364131"/>
                <a:gd name="connsiteX13" fmla="*/ 206921 w 318582"/>
                <a:gd name="connsiteY13" fmla="*/ 57493 h 364131"/>
                <a:gd name="connsiteX14" fmla="*/ 206921 w 318582"/>
                <a:gd name="connsiteY14" fmla="*/ 166145 h 364131"/>
                <a:gd name="connsiteX15" fmla="*/ 187871 w 318582"/>
                <a:gd name="connsiteY15" fmla="*/ 158639 h 364131"/>
                <a:gd name="connsiteX16" fmla="*/ 225971 w 318582"/>
                <a:gd name="connsiteY16" fmla="*/ 71133 h 364131"/>
                <a:gd name="connsiteX17" fmla="*/ 245021 w 318582"/>
                <a:gd name="connsiteY17" fmla="*/ 84763 h 364131"/>
                <a:gd name="connsiteX18" fmla="*/ 245021 w 318582"/>
                <a:gd name="connsiteY18" fmla="*/ 152000 h 364131"/>
                <a:gd name="connsiteX19" fmla="*/ 225971 w 318582"/>
                <a:gd name="connsiteY19" fmla="*/ 160887 h 364131"/>
                <a:gd name="connsiteX20" fmla="*/ 225971 w 318582"/>
                <a:gd name="connsiteY20" fmla="*/ 71133 h 364131"/>
                <a:gd name="connsiteX21" fmla="*/ 168821 w 318582"/>
                <a:gd name="connsiteY21" fmla="*/ 30232 h 364131"/>
                <a:gd name="connsiteX22" fmla="*/ 168821 w 318582"/>
                <a:gd name="connsiteY22" fmla="*/ 155067 h 364131"/>
                <a:gd name="connsiteX23" fmla="*/ 159296 w 318582"/>
                <a:gd name="connsiteY23" fmla="*/ 154581 h 364131"/>
                <a:gd name="connsiteX24" fmla="*/ 149771 w 318582"/>
                <a:gd name="connsiteY24" fmla="*/ 155067 h 364131"/>
                <a:gd name="connsiteX25" fmla="*/ 149771 w 318582"/>
                <a:gd name="connsiteY25" fmla="*/ 30232 h 364131"/>
                <a:gd name="connsiteX26" fmla="*/ 159296 w 318582"/>
                <a:gd name="connsiteY26" fmla="*/ 23412 h 364131"/>
                <a:gd name="connsiteX27" fmla="*/ 168821 w 318582"/>
                <a:gd name="connsiteY27" fmla="*/ 30232 h 364131"/>
                <a:gd name="connsiteX28" fmla="*/ 73571 w 318582"/>
                <a:gd name="connsiteY28" fmla="*/ 152009 h 364131"/>
                <a:gd name="connsiteX29" fmla="*/ 73571 w 318582"/>
                <a:gd name="connsiteY29" fmla="*/ 84763 h 364131"/>
                <a:gd name="connsiteX30" fmla="*/ 92621 w 318582"/>
                <a:gd name="connsiteY30" fmla="*/ 71133 h 364131"/>
                <a:gd name="connsiteX31" fmla="*/ 92621 w 318582"/>
                <a:gd name="connsiteY31" fmla="*/ 160887 h 364131"/>
                <a:gd name="connsiteX32" fmla="*/ 73571 w 318582"/>
                <a:gd name="connsiteY32" fmla="*/ 152009 h 364131"/>
                <a:gd name="connsiteX33" fmla="*/ 111671 w 318582"/>
                <a:gd name="connsiteY33" fmla="*/ 166145 h 364131"/>
                <a:gd name="connsiteX34" fmla="*/ 111671 w 318582"/>
                <a:gd name="connsiteY34" fmla="*/ 57502 h 364131"/>
                <a:gd name="connsiteX35" fmla="*/ 130721 w 318582"/>
                <a:gd name="connsiteY35" fmla="*/ 43872 h 364131"/>
                <a:gd name="connsiteX36" fmla="*/ 130721 w 318582"/>
                <a:gd name="connsiteY36" fmla="*/ 158648 h 364131"/>
                <a:gd name="connsiteX37" fmla="*/ 111671 w 318582"/>
                <a:gd name="connsiteY37" fmla="*/ 166145 h 364131"/>
                <a:gd name="connsiteX38" fmla="*/ 54521 w 318582"/>
                <a:gd name="connsiteY38" fmla="*/ 98403 h 364131"/>
                <a:gd name="connsiteX39" fmla="*/ 54521 w 318582"/>
                <a:gd name="connsiteY39" fmla="*/ 140189 h 364131"/>
                <a:gd name="connsiteX40" fmla="*/ 28127 w 318582"/>
                <a:gd name="connsiteY40" fmla="*/ 117291 h 364131"/>
                <a:gd name="connsiteX41" fmla="*/ 54521 w 318582"/>
                <a:gd name="connsiteY41" fmla="*/ 98403 h 364131"/>
                <a:gd name="connsiteX42" fmla="*/ 245021 w 318582"/>
                <a:gd name="connsiteY42" fmla="*/ 259356 h 364131"/>
                <a:gd name="connsiteX43" fmla="*/ 159296 w 318582"/>
                <a:gd name="connsiteY43" fmla="*/ 345081 h 364131"/>
                <a:gd name="connsiteX44" fmla="*/ 73571 w 318582"/>
                <a:gd name="connsiteY44" fmla="*/ 259356 h 364131"/>
                <a:gd name="connsiteX45" fmla="*/ 159296 w 318582"/>
                <a:gd name="connsiteY45" fmla="*/ 173631 h 364131"/>
                <a:gd name="connsiteX46" fmla="*/ 245021 w 318582"/>
                <a:gd name="connsiteY46" fmla="*/ 259356 h 364131"/>
                <a:gd name="connsiteX47" fmla="*/ 264071 w 318582"/>
                <a:gd name="connsiteY47" fmla="*/ 140189 h 364131"/>
                <a:gd name="connsiteX48" fmla="*/ 264071 w 318582"/>
                <a:gd name="connsiteY48" fmla="*/ 98403 h 364131"/>
                <a:gd name="connsiteX49" fmla="*/ 290465 w 318582"/>
                <a:gd name="connsiteY49" fmla="*/ 117291 h 364131"/>
                <a:gd name="connsiteX50" fmla="*/ 264071 w 318582"/>
                <a:gd name="connsiteY50" fmla="*/ 140189 h 364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18582" h="364131">
                  <a:moveTo>
                    <a:pt x="311915" y="121863"/>
                  </a:moveTo>
                  <a:lnTo>
                    <a:pt x="318583" y="113976"/>
                  </a:lnTo>
                  <a:lnTo>
                    <a:pt x="159296" y="0"/>
                  </a:lnTo>
                  <a:lnTo>
                    <a:pt x="0" y="113976"/>
                  </a:lnTo>
                  <a:lnTo>
                    <a:pt x="6667" y="121863"/>
                  </a:lnTo>
                  <a:cubicBezTo>
                    <a:pt x="29308" y="148647"/>
                    <a:pt x="58074" y="168602"/>
                    <a:pt x="90573" y="180451"/>
                  </a:cubicBezTo>
                  <a:cubicBezTo>
                    <a:pt x="68532" y="199682"/>
                    <a:pt x="54521" y="227886"/>
                    <a:pt x="54521" y="259356"/>
                  </a:cubicBezTo>
                  <a:cubicBezTo>
                    <a:pt x="54521" y="317125"/>
                    <a:pt x="101527" y="364131"/>
                    <a:pt x="159296" y="364131"/>
                  </a:cubicBezTo>
                  <a:cubicBezTo>
                    <a:pt x="217065" y="364131"/>
                    <a:pt x="264071" y="317125"/>
                    <a:pt x="264071" y="259356"/>
                  </a:cubicBezTo>
                  <a:cubicBezTo>
                    <a:pt x="264071" y="227886"/>
                    <a:pt x="250060" y="199682"/>
                    <a:pt x="228019" y="180461"/>
                  </a:cubicBezTo>
                  <a:cubicBezTo>
                    <a:pt x="260509" y="168602"/>
                    <a:pt x="289274" y="148657"/>
                    <a:pt x="311915" y="121863"/>
                  </a:cubicBezTo>
                  <a:close/>
                  <a:moveTo>
                    <a:pt x="187871" y="158639"/>
                  </a:moveTo>
                  <a:lnTo>
                    <a:pt x="187871" y="43863"/>
                  </a:lnTo>
                  <a:lnTo>
                    <a:pt x="206921" y="57493"/>
                  </a:lnTo>
                  <a:lnTo>
                    <a:pt x="206921" y="166145"/>
                  </a:lnTo>
                  <a:cubicBezTo>
                    <a:pt x="200882" y="163049"/>
                    <a:pt x="194520" y="160534"/>
                    <a:pt x="187871" y="158639"/>
                  </a:cubicBezTo>
                  <a:close/>
                  <a:moveTo>
                    <a:pt x="225971" y="71133"/>
                  </a:moveTo>
                  <a:lnTo>
                    <a:pt x="245021" y="84763"/>
                  </a:lnTo>
                  <a:lnTo>
                    <a:pt x="245021" y="152000"/>
                  </a:lnTo>
                  <a:cubicBezTo>
                    <a:pt x="238858" y="155315"/>
                    <a:pt x="232515" y="158296"/>
                    <a:pt x="225971" y="160887"/>
                  </a:cubicBezTo>
                  <a:lnTo>
                    <a:pt x="225971" y="71133"/>
                  </a:lnTo>
                  <a:close/>
                  <a:moveTo>
                    <a:pt x="168821" y="30232"/>
                  </a:moveTo>
                  <a:lnTo>
                    <a:pt x="168821" y="155067"/>
                  </a:lnTo>
                  <a:cubicBezTo>
                    <a:pt x="165678" y="154781"/>
                    <a:pt x="162516" y="154581"/>
                    <a:pt x="159296" y="154581"/>
                  </a:cubicBezTo>
                  <a:cubicBezTo>
                    <a:pt x="156077" y="154581"/>
                    <a:pt x="152914" y="154781"/>
                    <a:pt x="149771" y="155067"/>
                  </a:cubicBezTo>
                  <a:lnTo>
                    <a:pt x="149771" y="30232"/>
                  </a:lnTo>
                  <a:lnTo>
                    <a:pt x="159296" y="23412"/>
                  </a:lnTo>
                  <a:lnTo>
                    <a:pt x="168821" y="30232"/>
                  </a:lnTo>
                  <a:close/>
                  <a:moveTo>
                    <a:pt x="73571" y="152009"/>
                  </a:moveTo>
                  <a:lnTo>
                    <a:pt x="73571" y="84763"/>
                  </a:lnTo>
                  <a:lnTo>
                    <a:pt x="92621" y="71133"/>
                  </a:lnTo>
                  <a:lnTo>
                    <a:pt x="92621" y="160887"/>
                  </a:lnTo>
                  <a:cubicBezTo>
                    <a:pt x="86077" y="158305"/>
                    <a:pt x="79734" y="155324"/>
                    <a:pt x="73571" y="152009"/>
                  </a:cubicBezTo>
                  <a:close/>
                  <a:moveTo>
                    <a:pt x="111671" y="166145"/>
                  </a:moveTo>
                  <a:lnTo>
                    <a:pt x="111671" y="57502"/>
                  </a:lnTo>
                  <a:lnTo>
                    <a:pt x="130721" y="43872"/>
                  </a:lnTo>
                  <a:lnTo>
                    <a:pt x="130721" y="158648"/>
                  </a:lnTo>
                  <a:cubicBezTo>
                    <a:pt x="124073" y="160534"/>
                    <a:pt x="117710" y="163049"/>
                    <a:pt x="111671" y="166145"/>
                  </a:cubicBezTo>
                  <a:close/>
                  <a:moveTo>
                    <a:pt x="54521" y="98403"/>
                  </a:moveTo>
                  <a:lnTo>
                    <a:pt x="54521" y="140189"/>
                  </a:lnTo>
                  <a:cubicBezTo>
                    <a:pt x="45072" y="133455"/>
                    <a:pt x="36214" y="125835"/>
                    <a:pt x="28127" y="117291"/>
                  </a:cubicBezTo>
                  <a:lnTo>
                    <a:pt x="54521" y="98403"/>
                  </a:lnTo>
                  <a:close/>
                  <a:moveTo>
                    <a:pt x="245021" y="259356"/>
                  </a:moveTo>
                  <a:cubicBezTo>
                    <a:pt x="245021" y="306629"/>
                    <a:pt x="206569" y="345081"/>
                    <a:pt x="159296" y="345081"/>
                  </a:cubicBezTo>
                  <a:cubicBezTo>
                    <a:pt x="112024" y="345081"/>
                    <a:pt x="73571" y="306629"/>
                    <a:pt x="73571" y="259356"/>
                  </a:cubicBezTo>
                  <a:cubicBezTo>
                    <a:pt x="73571" y="212084"/>
                    <a:pt x="112024" y="173631"/>
                    <a:pt x="159296" y="173631"/>
                  </a:cubicBezTo>
                  <a:cubicBezTo>
                    <a:pt x="206569" y="173631"/>
                    <a:pt x="245021" y="212084"/>
                    <a:pt x="245021" y="259356"/>
                  </a:cubicBezTo>
                  <a:close/>
                  <a:moveTo>
                    <a:pt x="264071" y="140189"/>
                  </a:moveTo>
                  <a:lnTo>
                    <a:pt x="264071" y="98403"/>
                  </a:lnTo>
                  <a:lnTo>
                    <a:pt x="290465" y="117291"/>
                  </a:lnTo>
                  <a:cubicBezTo>
                    <a:pt x="282378" y="125835"/>
                    <a:pt x="273520" y="133445"/>
                    <a:pt x="264071" y="140189"/>
                  </a:cubicBezTo>
                  <a:close/>
                </a:path>
              </a:pathLst>
            </a:custGeom>
            <a:grpFill/>
            <a:ln w="9525" cap="flat">
              <a:noFill/>
              <a:prstDash val="solid"/>
              <a:miter/>
            </a:ln>
          </p:spPr>
          <p:txBody>
            <a:bodyPr rtlCol="0" anchor="ctr"/>
            <a:lstStyle/>
            <a:p>
              <a:endParaRPr lang="en-US"/>
            </a:p>
          </p:txBody>
        </p:sp>
        <p:sp>
          <p:nvSpPr>
            <p:cNvPr id="70" name="Graphic 7">
              <a:extLst>
                <a:ext uri="{FF2B5EF4-FFF2-40B4-BE49-F238E27FC236}">
                  <a16:creationId xmlns:a16="http://schemas.microsoft.com/office/drawing/2014/main" id="{35EBDB9A-C3BA-8045-9672-93A356980A18}"/>
                </a:ext>
              </a:extLst>
            </p:cNvPr>
            <p:cNvSpPr/>
            <p:nvPr/>
          </p:nvSpPr>
          <p:spPr>
            <a:xfrm>
              <a:off x="6238875" y="5562043"/>
              <a:ext cx="57150" cy="133350"/>
            </a:xfrm>
            <a:custGeom>
              <a:avLst/>
              <a:gdLst>
                <a:gd name="connsiteX0" fmla="*/ 38100 w 57150"/>
                <a:gd name="connsiteY0" fmla="*/ 20803 h 133350"/>
                <a:gd name="connsiteX1" fmla="*/ 38100 w 57150"/>
                <a:gd name="connsiteY1" fmla="*/ 0 h 133350"/>
                <a:gd name="connsiteX2" fmla="*/ 19050 w 57150"/>
                <a:gd name="connsiteY2" fmla="*/ 0 h 133350"/>
                <a:gd name="connsiteX3" fmla="*/ 19050 w 57150"/>
                <a:gd name="connsiteY3" fmla="*/ 19050 h 133350"/>
                <a:gd name="connsiteX4" fmla="*/ 0 w 57150"/>
                <a:gd name="connsiteY4" fmla="*/ 19050 h 133350"/>
                <a:gd name="connsiteX5" fmla="*/ 0 w 57150"/>
                <a:gd name="connsiteY5" fmla="*/ 47625 h 133350"/>
                <a:gd name="connsiteX6" fmla="*/ 28575 w 57150"/>
                <a:gd name="connsiteY6" fmla="*/ 76200 h 133350"/>
                <a:gd name="connsiteX7" fmla="*/ 38100 w 57150"/>
                <a:gd name="connsiteY7" fmla="*/ 85725 h 133350"/>
                <a:gd name="connsiteX8" fmla="*/ 38100 w 57150"/>
                <a:gd name="connsiteY8" fmla="*/ 95250 h 133350"/>
                <a:gd name="connsiteX9" fmla="*/ 28575 w 57150"/>
                <a:gd name="connsiteY9" fmla="*/ 95250 h 133350"/>
                <a:gd name="connsiteX10" fmla="*/ 19050 w 57150"/>
                <a:gd name="connsiteY10" fmla="*/ 85725 h 133350"/>
                <a:gd name="connsiteX11" fmla="*/ 19050 w 57150"/>
                <a:gd name="connsiteY11" fmla="*/ 76200 h 133350"/>
                <a:gd name="connsiteX12" fmla="*/ 0 w 57150"/>
                <a:gd name="connsiteY12" fmla="*/ 76200 h 133350"/>
                <a:gd name="connsiteX13" fmla="*/ 0 w 57150"/>
                <a:gd name="connsiteY13" fmla="*/ 85725 h 133350"/>
                <a:gd name="connsiteX14" fmla="*/ 19050 w 57150"/>
                <a:gd name="connsiteY14" fmla="*/ 112547 h 133350"/>
                <a:gd name="connsiteX15" fmla="*/ 19050 w 57150"/>
                <a:gd name="connsiteY15" fmla="*/ 133350 h 133350"/>
                <a:gd name="connsiteX16" fmla="*/ 38100 w 57150"/>
                <a:gd name="connsiteY16" fmla="*/ 133350 h 133350"/>
                <a:gd name="connsiteX17" fmla="*/ 38100 w 57150"/>
                <a:gd name="connsiteY17" fmla="*/ 114300 h 133350"/>
                <a:gd name="connsiteX18" fmla="*/ 57150 w 57150"/>
                <a:gd name="connsiteY18" fmla="*/ 114300 h 133350"/>
                <a:gd name="connsiteX19" fmla="*/ 57150 w 57150"/>
                <a:gd name="connsiteY19" fmla="*/ 85725 h 133350"/>
                <a:gd name="connsiteX20" fmla="*/ 28575 w 57150"/>
                <a:gd name="connsiteY20" fmla="*/ 57150 h 133350"/>
                <a:gd name="connsiteX21" fmla="*/ 19050 w 57150"/>
                <a:gd name="connsiteY21" fmla="*/ 47625 h 133350"/>
                <a:gd name="connsiteX22" fmla="*/ 19050 w 57150"/>
                <a:gd name="connsiteY22" fmla="*/ 38100 h 133350"/>
                <a:gd name="connsiteX23" fmla="*/ 28575 w 57150"/>
                <a:gd name="connsiteY23" fmla="*/ 38100 h 133350"/>
                <a:gd name="connsiteX24" fmla="*/ 38100 w 57150"/>
                <a:gd name="connsiteY24" fmla="*/ 47625 h 133350"/>
                <a:gd name="connsiteX25" fmla="*/ 38100 w 57150"/>
                <a:gd name="connsiteY25" fmla="*/ 57150 h 133350"/>
                <a:gd name="connsiteX26" fmla="*/ 57150 w 57150"/>
                <a:gd name="connsiteY26" fmla="*/ 57150 h 133350"/>
                <a:gd name="connsiteX27" fmla="*/ 57150 w 57150"/>
                <a:gd name="connsiteY27" fmla="*/ 47625 h 133350"/>
                <a:gd name="connsiteX28" fmla="*/ 38100 w 57150"/>
                <a:gd name="connsiteY28" fmla="*/ 20803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7150" h="133350">
                  <a:moveTo>
                    <a:pt x="38100" y="20803"/>
                  </a:moveTo>
                  <a:lnTo>
                    <a:pt x="38100" y="0"/>
                  </a:lnTo>
                  <a:lnTo>
                    <a:pt x="19050" y="0"/>
                  </a:lnTo>
                  <a:lnTo>
                    <a:pt x="19050" y="19050"/>
                  </a:lnTo>
                  <a:lnTo>
                    <a:pt x="0" y="19050"/>
                  </a:lnTo>
                  <a:lnTo>
                    <a:pt x="0" y="47625"/>
                  </a:lnTo>
                  <a:cubicBezTo>
                    <a:pt x="0" y="63379"/>
                    <a:pt x="12821" y="76200"/>
                    <a:pt x="28575" y="76200"/>
                  </a:cubicBezTo>
                  <a:cubicBezTo>
                    <a:pt x="33833" y="76200"/>
                    <a:pt x="38100" y="80467"/>
                    <a:pt x="38100" y="85725"/>
                  </a:cubicBezTo>
                  <a:lnTo>
                    <a:pt x="38100" y="95250"/>
                  </a:lnTo>
                  <a:lnTo>
                    <a:pt x="28575" y="95250"/>
                  </a:lnTo>
                  <a:cubicBezTo>
                    <a:pt x="23317" y="95250"/>
                    <a:pt x="19050" y="90983"/>
                    <a:pt x="19050" y="85725"/>
                  </a:cubicBezTo>
                  <a:lnTo>
                    <a:pt x="19050" y="76200"/>
                  </a:lnTo>
                  <a:lnTo>
                    <a:pt x="0" y="76200"/>
                  </a:lnTo>
                  <a:lnTo>
                    <a:pt x="0" y="85725"/>
                  </a:lnTo>
                  <a:cubicBezTo>
                    <a:pt x="0" y="98127"/>
                    <a:pt x="7991" y="108604"/>
                    <a:pt x="19050" y="112547"/>
                  </a:cubicBezTo>
                  <a:lnTo>
                    <a:pt x="19050" y="133350"/>
                  </a:lnTo>
                  <a:lnTo>
                    <a:pt x="38100" y="133350"/>
                  </a:lnTo>
                  <a:lnTo>
                    <a:pt x="38100" y="114300"/>
                  </a:lnTo>
                  <a:lnTo>
                    <a:pt x="57150" y="114300"/>
                  </a:lnTo>
                  <a:lnTo>
                    <a:pt x="57150" y="85725"/>
                  </a:lnTo>
                  <a:cubicBezTo>
                    <a:pt x="57150" y="69971"/>
                    <a:pt x="44329" y="57150"/>
                    <a:pt x="28575" y="57150"/>
                  </a:cubicBezTo>
                  <a:cubicBezTo>
                    <a:pt x="23317" y="57150"/>
                    <a:pt x="19050" y="52883"/>
                    <a:pt x="19050" y="47625"/>
                  </a:cubicBezTo>
                  <a:lnTo>
                    <a:pt x="19050" y="38100"/>
                  </a:lnTo>
                  <a:lnTo>
                    <a:pt x="28575" y="38100"/>
                  </a:lnTo>
                  <a:cubicBezTo>
                    <a:pt x="33833" y="38100"/>
                    <a:pt x="38100" y="42367"/>
                    <a:pt x="38100" y="47625"/>
                  </a:cubicBezTo>
                  <a:lnTo>
                    <a:pt x="38100" y="57150"/>
                  </a:lnTo>
                  <a:lnTo>
                    <a:pt x="57150" y="57150"/>
                  </a:lnTo>
                  <a:lnTo>
                    <a:pt x="57150" y="47625"/>
                  </a:lnTo>
                  <a:cubicBezTo>
                    <a:pt x="57150" y="35223"/>
                    <a:pt x="49159" y="24746"/>
                    <a:pt x="38100" y="20803"/>
                  </a:cubicBezTo>
                  <a:close/>
                </a:path>
              </a:pathLst>
            </a:custGeom>
            <a:grpFill/>
            <a:ln w="9525" cap="flat">
              <a:noFill/>
              <a:prstDash val="solid"/>
              <a:miter/>
            </a:ln>
          </p:spPr>
          <p:txBody>
            <a:bodyPr rtlCol="0" anchor="ctr"/>
            <a:lstStyle/>
            <a:p>
              <a:endParaRPr lang="en-US"/>
            </a:p>
          </p:txBody>
        </p:sp>
        <p:sp>
          <p:nvSpPr>
            <p:cNvPr id="71" name="Graphic 7">
              <a:extLst>
                <a:ext uri="{FF2B5EF4-FFF2-40B4-BE49-F238E27FC236}">
                  <a16:creationId xmlns:a16="http://schemas.microsoft.com/office/drawing/2014/main" id="{04AFBBC7-F38E-4649-A34C-72E9CF748E1F}"/>
                </a:ext>
              </a:extLst>
            </p:cNvPr>
            <p:cNvSpPr/>
            <p:nvPr/>
          </p:nvSpPr>
          <p:spPr>
            <a:xfrm>
              <a:off x="6276975" y="5142943"/>
              <a:ext cx="361950" cy="590550"/>
            </a:xfrm>
            <a:custGeom>
              <a:avLst/>
              <a:gdLst>
                <a:gd name="connsiteX0" fmla="*/ 333375 w 361950"/>
                <a:gd name="connsiteY0" fmla="*/ 304800 h 590550"/>
                <a:gd name="connsiteX1" fmla="*/ 322745 w 361950"/>
                <a:gd name="connsiteY1" fmla="*/ 306896 h 590550"/>
                <a:gd name="connsiteX2" fmla="*/ 295275 w 361950"/>
                <a:gd name="connsiteY2" fmla="*/ 285750 h 590550"/>
                <a:gd name="connsiteX3" fmla="*/ 284645 w 361950"/>
                <a:gd name="connsiteY3" fmla="*/ 287846 h 590550"/>
                <a:gd name="connsiteX4" fmla="*/ 257175 w 361950"/>
                <a:gd name="connsiteY4" fmla="*/ 266700 h 590550"/>
                <a:gd name="connsiteX5" fmla="*/ 247650 w 361950"/>
                <a:gd name="connsiteY5" fmla="*/ 268453 h 590550"/>
                <a:gd name="connsiteX6" fmla="*/ 247650 w 361950"/>
                <a:gd name="connsiteY6" fmla="*/ 238125 h 590550"/>
                <a:gd name="connsiteX7" fmla="*/ 228600 w 361950"/>
                <a:gd name="connsiteY7" fmla="*/ 211303 h 590550"/>
                <a:gd name="connsiteX8" fmla="*/ 228600 w 361950"/>
                <a:gd name="connsiteY8" fmla="*/ 201254 h 590550"/>
                <a:gd name="connsiteX9" fmla="*/ 252879 w 361950"/>
                <a:gd name="connsiteY9" fmla="*/ 163897 h 590550"/>
                <a:gd name="connsiteX10" fmla="*/ 285750 w 361950"/>
                <a:gd name="connsiteY10" fmla="*/ 95250 h 590550"/>
                <a:gd name="connsiteX11" fmla="*/ 180975 w 361950"/>
                <a:gd name="connsiteY11" fmla="*/ 0 h 590550"/>
                <a:gd name="connsiteX12" fmla="*/ 90573 w 361950"/>
                <a:gd name="connsiteY12" fmla="*/ 45148 h 590550"/>
                <a:gd name="connsiteX13" fmla="*/ 10468 w 361950"/>
                <a:gd name="connsiteY13" fmla="*/ 19098 h 590550"/>
                <a:gd name="connsiteX14" fmla="*/ 0 w 361950"/>
                <a:gd name="connsiteY14" fmla="*/ 18059 h 590550"/>
                <a:gd name="connsiteX15" fmla="*/ 0 w 361950"/>
                <a:gd name="connsiteY15" fmla="*/ 214093 h 590550"/>
                <a:gd name="connsiteX16" fmla="*/ 160696 w 361950"/>
                <a:gd name="connsiteY16" fmla="*/ 324498 h 590550"/>
                <a:gd name="connsiteX17" fmla="*/ 165783 w 361950"/>
                <a:gd name="connsiteY17" fmla="*/ 315325 h 590550"/>
                <a:gd name="connsiteX18" fmla="*/ 184652 w 361950"/>
                <a:gd name="connsiteY18" fmla="*/ 266710 h 590550"/>
                <a:gd name="connsiteX19" fmla="*/ 190500 w 361950"/>
                <a:gd name="connsiteY19" fmla="*/ 266710 h 590550"/>
                <a:gd name="connsiteX20" fmla="*/ 190500 w 361950"/>
                <a:gd name="connsiteY20" fmla="*/ 328289 h 590550"/>
                <a:gd name="connsiteX21" fmla="*/ 156924 w 361950"/>
                <a:gd name="connsiteY21" fmla="*/ 350682 h 590550"/>
                <a:gd name="connsiteX22" fmla="*/ 133350 w 361950"/>
                <a:gd name="connsiteY22" fmla="*/ 394706 h 590550"/>
                <a:gd name="connsiteX23" fmla="*/ 134931 w 361950"/>
                <a:gd name="connsiteY23" fmla="*/ 407537 h 590550"/>
                <a:gd name="connsiteX24" fmla="*/ 146952 w 361950"/>
                <a:gd name="connsiteY24" fmla="*/ 455590 h 590550"/>
                <a:gd name="connsiteX25" fmla="*/ 175155 w 361950"/>
                <a:gd name="connsiteY25" fmla="*/ 498072 h 590550"/>
                <a:gd name="connsiteX26" fmla="*/ 190500 w 361950"/>
                <a:gd name="connsiteY26" fmla="*/ 509588 h 590550"/>
                <a:gd name="connsiteX27" fmla="*/ 190500 w 361950"/>
                <a:gd name="connsiteY27" fmla="*/ 590550 h 590550"/>
                <a:gd name="connsiteX28" fmla="*/ 361950 w 361950"/>
                <a:gd name="connsiteY28" fmla="*/ 590550 h 590550"/>
                <a:gd name="connsiteX29" fmla="*/ 361950 w 361950"/>
                <a:gd name="connsiteY29" fmla="*/ 333375 h 590550"/>
                <a:gd name="connsiteX30" fmla="*/ 333375 w 361950"/>
                <a:gd name="connsiteY30" fmla="*/ 304800 h 590550"/>
                <a:gd name="connsiteX31" fmla="*/ 180975 w 361950"/>
                <a:gd name="connsiteY31" fmla="*/ 19050 h 590550"/>
                <a:gd name="connsiteX32" fmla="*/ 266700 w 361950"/>
                <a:gd name="connsiteY32" fmla="*/ 95250 h 590550"/>
                <a:gd name="connsiteX33" fmla="*/ 238477 w 361950"/>
                <a:gd name="connsiteY33" fmla="*/ 151419 h 590550"/>
                <a:gd name="connsiteX34" fmla="*/ 212103 w 361950"/>
                <a:gd name="connsiteY34" fmla="*/ 190500 h 590550"/>
                <a:gd name="connsiteX35" fmla="*/ 209550 w 361950"/>
                <a:gd name="connsiteY35" fmla="*/ 190500 h 590550"/>
                <a:gd name="connsiteX36" fmla="*/ 209550 w 361950"/>
                <a:gd name="connsiteY36" fmla="*/ 114300 h 590550"/>
                <a:gd name="connsiteX37" fmla="*/ 219075 w 361950"/>
                <a:gd name="connsiteY37" fmla="*/ 114300 h 590550"/>
                <a:gd name="connsiteX38" fmla="*/ 247650 w 361950"/>
                <a:gd name="connsiteY38" fmla="*/ 85725 h 590550"/>
                <a:gd name="connsiteX39" fmla="*/ 219075 w 361950"/>
                <a:gd name="connsiteY39" fmla="*/ 57150 h 590550"/>
                <a:gd name="connsiteX40" fmla="*/ 190500 w 361950"/>
                <a:gd name="connsiteY40" fmla="*/ 85725 h 590550"/>
                <a:gd name="connsiteX41" fmla="*/ 190500 w 361950"/>
                <a:gd name="connsiteY41" fmla="*/ 95250 h 590550"/>
                <a:gd name="connsiteX42" fmla="*/ 171450 w 361950"/>
                <a:gd name="connsiteY42" fmla="*/ 95250 h 590550"/>
                <a:gd name="connsiteX43" fmla="*/ 171450 w 361950"/>
                <a:gd name="connsiteY43" fmla="*/ 85725 h 590550"/>
                <a:gd name="connsiteX44" fmla="*/ 142875 w 361950"/>
                <a:gd name="connsiteY44" fmla="*/ 57150 h 590550"/>
                <a:gd name="connsiteX45" fmla="*/ 114300 w 361950"/>
                <a:gd name="connsiteY45" fmla="*/ 85725 h 590550"/>
                <a:gd name="connsiteX46" fmla="*/ 142875 w 361950"/>
                <a:gd name="connsiteY46" fmla="*/ 114300 h 590550"/>
                <a:gd name="connsiteX47" fmla="*/ 152400 w 361950"/>
                <a:gd name="connsiteY47" fmla="*/ 114300 h 590550"/>
                <a:gd name="connsiteX48" fmla="*/ 152400 w 361950"/>
                <a:gd name="connsiteY48" fmla="*/ 190500 h 590550"/>
                <a:gd name="connsiteX49" fmla="*/ 149847 w 361950"/>
                <a:gd name="connsiteY49" fmla="*/ 190500 h 590550"/>
                <a:gd name="connsiteX50" fmla="*/ 123473 w 361950"/>
                <a:gd name="connsiteY50" fmla="*/ 151419 h 590550"/>
                <a:gd name="connsiteX51" fmla="*/ 95250 w 361950"/>
                <a:gd name="connsiteY51" fmla="*/ 95250 h 590550"/>
                <a:gd name="connsiteX52" fmla="*/ 180975 w 361950"/>
                <a:gd name="connsiteY52" fmla="*/ 19050 h 590550"/>
                <a:gd name="connsiteX53" fmla="*/ 152400 w 361950"/>
                <a:gd name="connsiteY53" fmla="*/ 95250 h 590550"/>
                <a:gd name="connsiteX54" fmla="*/ 142875 w 361950"/>
                <a:gd name="connsiteY54" fmla="*/ 95250 h 590550"/>
                <a:gd name="connsiteX55" fmla="*/ 133350 w 361950"/>
                <a:gd name="connsiteY55" fmla="*/ 85725 h 590550"/>
                <a:gd name="connsiteX56" fmla="*/ 142875 w 361950"/>
                <a:gd name="connsiteY56" fmla="*/ 76200 h 590550"/>
                <a:gd name="connsiteX57" fmla="*/ 152400 w 361950"/>
                <a:gd name="connsiteY57" fmla="*/ 85725 h 590550"/>
                <a:gd name="connsiteX58" fmla="*/ 152400 w 361950"/>
                <a:gd name="connsiteY58" fmla="*/ 95250 h 590550"/>
                <a:gd name="connsiteX59" fmla="*/ 190500 w 361950"/>
                <a:gd name="connsiteY59" fmla="*/ 190500 h 590550"/>
                <a:gd name="connsiteX60" fmla="*/ 171450 w 361950"/>
                <a:gd name="connsiteY60" fmla="*/ 190500 h 590550"/>
                <a:gd name="connsiteX61" fmla="*/ 171450 w 361950"/>
                <a:gd name="connsiteY61" fmla="*/ 114300 h 590550"/>
                <a:gd name="connsiteX62" fmla="*/ 190500 w 361950"/>
                <a:gd name="connsiteY62" fmla="*/ 114300 h 590550"/>
                <a:gd name="connsiteX63" fmla="*/ 190500 w 361950"/>
                <a:gd name="connsiteY63" fmla="*/ 190500 h 590550"/>
                <a:gd name="connsiteX64" fmla="*/ 209550 w 361950"/>
                <a:gd name="connsiteY64" fmla="*/ 95250 h 590550"/>
                <a:gd name="connsiteX65" fmla="*/ 209550 w 361950"/>
                <a:gd name="connsiteY65" fmla="*/ 85725 h 590550"/>
                <a:gd name="connsiteX66" fmla="*/ 219075 w 361950"/>
                <a:gd name="connsiteY66" fmla="*/ 76200 h 590550"/>
                <a:gd name="connsiteX67" fmla="*/ 228600 w 361950"/>
                <a:gd name="connsiteY67" fmla="*/ 85725 h 590550"/>
                <a:gd name="connsiteX68" fmla="*/ 219075 w 361950"/>
                <a:gd name="connsiteY68" fmla="*/ 95250 h 590550"/>
                <a:gd name="connsiteX69" fmla="*/ 209550 w 361950"/>
                <a:gd name="connsiteY69" fmla="*/ 95250 h 590550"/>
                <a:gd name="connsiteX70" fmla="*/ 153943 w 361950"/>
                <a:gd name="connsiteY70" fmla="*/ 296742 h 590550"/>
                <a:gd name="connsiteX71" fmla="*/ 19050 w 361950"/>
                <a:gd name="connsiteY71" fmla="*/ 204064 h 590550"/>
                <a:gd name="connsiteX72" fmla="*/ 19050 w 361950"/>
                <a:gd name="connsiteY72" fmla="*/ 39405 h 590550"/>
                <a:gd name="connsiteX73" fmla="*/ 82010 w 361950"/>
                <a:gd name="connsiteY73" fmla="*/ 62427 h 590550"/>
                <a:gd name="connsiteX74" fmla="*/ 76200 w 361950"/>
                <a:gd name="connsiteY74" fmla="*/ 95250 h 590550"/>
                <a:gd name="connsiteX75" fmla="*/ 109071 w 361950"/>
                <a:gd name="connsiteY75" fmla="*/ 163897 h 590550"/>
                <a:gd name="connsiteX76" fmla="*/ 133350 w 361950"/>
                <a:gd name="connsiteY76" fmla="*/ 201254 h 590550"/>
                <a:gd name="connsiteX77" fmla="*/ 133350 w 361950"/>
                <a:gd name="connsiteY77" fmla="*/ 238125 h 590550"/>
                <a:gd name="connsiteX78" fmla="*/ 161925 w 361950"/>
                <a:gd name="connsiteY78" fmla="*/ 266700 h 590550"/>
                <a:gd name="connsiteX79" fmla="*/ 165097 w 361950"/>
                <a:gd name="connsiteY79" fmla="*/ 266700 h 590550"/>
                <a:gd name="connsiteX80" fmla="*/ 153943 w 361950"/>
                <a:gd name="connsiteY80" fmla="*/ 296742 h 590550"/>
                <a:gd name="connsiteX81" fmla="*/ 161925 w 361950"/>
                <a:gd name="connsiteY81" fmla="*/ 247650 h 590550"/>
                <a:gd name="connsiteX82" fmla="*/ 152400 w 361950"/>
                <a:gd name="connsiteY82" fmla="*/ 238125 h 590550"/>
                <a:gd name="connsiteX83" fmla="*/ 152400 w 361950"/>
                <a:gd name="connsiteY83" fmla="*/ 209550 h 590550"/>
                <a:gd name="connsiteX84" fmla="*/ 209674 w 361950"/>
                <a:gd name="connsiteY84" fmla="*/ 209550 h 590550"/>
                <a:gd name="connsiteX85" fmla="*/ 209655 w 361950"/>
                <a:gd name="connsiteY85" fmla="*/ 211274 h 590550"/>
                <a:gd name="connsiteX86" fmla="*/ 190500 w 361950"/>
                <a:gd name="connsiteY86" fmla="*/ 238125 h 590550"/>
                <a:gd name="connsiteX87" fmla="*/ 190500 w 361950"/>
                <a:gd name="connsiteY87" fmla="*/ 247650 h 590550"/>
                <a:gd name="connsiteX88" fmla="*/ 161925 w 361950"/>
                <a:gd name="connsiteY88" fmla="*/ 247650 h 590550"/>
                <a:gd name="connsiteX89" fmla="*/ 342900 w 361950"/>
                <a:gd name="connsiteY89" fmla="*/ 571500 h 590550"/>
                <a:gd name="connsiteX90" fmla="*/ 209550 w 361950"/>
                <a:gd name="connsiteY90" fmla="*/ 571500 h 590550"/>
                <a:gd name="connsiteX91" fmla="*/ 209550 w 361950"/>
                <a:gd name="connsiteY91" fmla="*/ 514350 h 590550"/>
                <a:gd name="connsiteX92" fmla="*/ 342900 w 361950"/>
                <a:gd name="connsiteY92" fmla="*/ 514350 h 590550"/>
                <a:gd name="connsiteX93" fmla="*/ 342900 w 361950"/>
                <a:gd name="connsiteY93" fmla="*/ 571500 h 590550"/>
                <a:gd name="connsiteX94" fmla="*/ 342900 w 361950"/>
                <a:gd name="connsiteY94" fmla="*/ 495300 h 590550"/>
                <a:gd name="connsiteX95" fmla="*/ 203197 w 361950"/>
                <a:gd name="connsiteY95" fmla="*/ 495300 h 590550"/>
                <a:gd name="connsiteX96" fmla="*/ 186585 w 361950"/>
                <a:gd name="connsiteY96" fmla="*/ 482832 h 590550"/>
                <a:gd name="connsiteX97" fmla="*/ 165421 w 361950"/>
                <a:gd name="connsiteY97" fmla="*/ 450971 h 590550"/>
                <a:gd name="connsiteX98" fmla="*/ 153410 w 361950"/>
                <a:gd name="connsiteY98" fmla="*/ 402927 h 590550"/>
                <a:gd name="connsiteX99" fmla="*/ 152400 w 361950"/>
                <a:gd name="connsiteY99" fmla="*/ 394706 h 590550"/>
                <a:gd name="connsiteX100" fmla="*/ 167488 w 361950"/>
                <a:gd name="connsiteY100" fmla="*/ 366512 h 590550"/>
                <a:gd name="connsiteX101" fmla="*/ 190500 w 361950"/>
                <a:gd name="connsiteY101" fmla="*/ 351177 h 590550"/>
                <a:gd name="connsiteX102" fmla="*/ 190500 w 361950"/>
                <a:gd name="connsiteY102" fmla="*/ 369227 h 590550"/>
                <a:gd name="connsiteX103" fmla="*/ 176717 w 361950"/>
                <a:gd name="connsiteY103" fmla="*/ 391535 h 590550"/>
                <a:gd name="connsiteX104" fmla="*/ 185242 w 361950"/>
                <a:gd name="connsiteY104" fmla="*/ 408575 h 590550"/>
                <a:gd name="connsiteX105" fmla="*/ 209550 w 361950"/>
                <a:gd name="connsiteY105" fmla="*/ 369227 h 590550"/>
                <a:gd name="connsiteX106" fmla="*/ 209550 w 361950"/>
                <a:gd name="connsiteY106" fmla="*/ 238125 h 590550"/>
                <a:gd name="connsiteX107" fmla="*/ 219075 w 361950"/>
                <a:gd name="connsiteY107" fmla="*/ 228600 h 590550"/>
                <a:gd name="connsiteX108" fmla="*/ 228600 w 361950"/>
                <a:gd name="connsiteY108" fmla="*/ 238125 h 590550"/>
                <a:gd name="connsiteX109" fmla="*/ 228600 w 361950"/>
                <a:gd name="connsiteY109" fmla="*/ 390525 h 590550"/>
                <a:gd name="connsiteX110" fmla="*/ 247650 w 361950"/>
                <a:gd name="connsiteY110" fmla="*/ 390525 h 590550"/>
                <a:gd name="connsiteX111" fmla="*/ 247650 w 361950"/>
                <a:gd name="connsiteY111" fmla="*/ 295275 h 590550"/>
                <a:gd name="connsiteX112" fmla="*/ 257175 w 361950"/>
                <a:gd name="connsiteY112" fmla="*/ 285750 h 590550"/>
                <a:gd name="connsiteX113" fmla="*/ 266700 w 361950"/>
                <a:gd name="connsiteY113" fmla="*/ 295275 h 590550"/>
                <a:gd name="connsiteX114" fmla="*/ 266700 w 361950"/>
                <a:gd name="connsiteY114" fmla="*/ 390525 h 590550"/>
                <a:gd name="connsiteX115" fmla="*/ 285750 w 361950"/>
                <a:gd name="connsiteY115" fmla="*/ 390525 h 590550"/>
                <a:gd name="connsiteX116" fmla="*/ 285750 w 361950"/>
                <a:gd name="connsiteY116" fmla="*/ 314325 h 590550"/>
                <a:gd name="connsiteX117" fmla="*/ 295275 w 361950"/>
                <a:gd name="connsiteY117" fmla="*/ 304800 h 590550"/>
                <a:gd name="connsiteX118" fmla="*/ 304800 w 361950"/>
                <a:gd name="connsiteY118" fmla="*/ 314325 h 590550"/>
                <a:gd name="connsiteX119" fmla="*/ 304800 w 361950"/>
                <a:gd name="connsiteY119" fmla="*/ 390525 h 590550"/>
                <a:gd name="connsiteX120" fmla="*/ 323850 w 361950"/>
                <a:gd name="connsiteY120" fmla="*/ 390525 h 590550"/>
                <a:gd name="connsiteX121" fmla="*/ 323850 w 361950"/>
                <a:gd name="connsiteY121" fmla="*/ 333375 h 590550"/>
                <a:gd name="connsiteX122" fmla="*/ 333375 w 361950"/>
                <a:gd name="connsiteY122" fmla="*/ 323850 h 590550"/>
                <a:gd name="connsiteX123" fmla="*/ 342900 w 361950"/>
                <a:gd name="connsiteY123" fmla="*/ 333375 h 590550"/>
                <a:gd name="connsiteX124" fmla="*/ 342900 w 361950"/>
                <a:gd name="connsiteY124" fmla="*/ 49530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361950" h="590550">
                  <a:moveTo>
                    <a:pt x="333375" y="304800"/>
                  </a:moveTo>
                  <a:cubicBezTo>
                    <a:pt x="329613" y="304800"/>
                    <a:pt x="326041" y="305572"/>
                    <a:pt x="322745" y="306896"/>
                  </a:cubicBezTo>
                  <a:cubicBezTo>
                    <a:pt x="319459" y="294751"/>
                    <a:pt x="308448" y="285750"/>
                    <a:pt x="295275" y="285750"/>
                  </a:cubicBezTo>
                  <a:cubicBezTo>
                    <a:pt x="291513" y="285750"/>
                    <a:pt x="287941" y="286522"/>
                    <a:pt x="284645" y="287846"/>
                  </a:cubicBezTo>
                  <a:cubicBezTo>
                    <a:pt x="281359" y="275701"/>
                    <a:pt x="270348" y="266700"/>
                    <a:pt x="257175" y="266700"/>
                  </a:cubicBezTo>
                  <a:cubicBezTo>
                    <a:pt x="253822" y="266700"/>
                    <a:pt x="250641" y="267386"/>
                    <a:pt x="247650" y="268453"/>
                  </a:cubicBezTo>
                  <a:lnTo>
                    <a:pt x="247650" y="238125"/>
                  </a:lnTo>
                  <a:cubicBezTo>
                    <a:pt x="247650" y="225723"/>
                    <a:pt x="239659" y="215246"/>
                    <a:pt x="228600" y="211303"/>
                  </a:cubicBezTo>
                  <a:lnTo>
                    <a:pt x="228600" y="201254"/>
                  </a:lnTo>
                  <a:cubicBezTo>
                    <a:pt x="232381" y="187557"/>
                    <a:pt x="242345" y="176051"/>
                    <a:pt x="252879" y="163897"/>
                  </a:cubicBezTo>
                  <a:cubicBezTo>
                    <a:pt x="268291" y="146104"/>
                    <a:pt x="285750" y="125949"/>
                    <a:pt x="285750" y="95250"/>
                  </a:cubicBezTo>
                  <a:cubicBezTo>
                    <a:pt x="285750" y="40062"/>
                    <a:pt x="241687" y="0"/>
                    <a:pt x="180975" y="0"/>
                  </a:cubicBezTo>
                  <a:cubicBezTo>
                    <a:pt x="140951" y="0"/>
                    <a:pt x="108271" y="17478"/>
                    <a:pt x="90573" y="45148"/>
                  </a:cubicBezTo>
                  <a:cubicBezTo>
                    <a:pt x="66065" y="30871"/>
                    <a:pt x="38586" y="21879"/>
                    <a:pt x="10468" y="19098"/>
                  </a:cubicBezTo>
                  <a:lnTo>
                    <a:pt x="0" y="18059"/>
                  </a:lnTo>
                  <a:lnTo>
                    <a:pt x="0" y="214093"/>
                  </a:lnTo>
                  <a:lnTo>
                    <a:pt x="160696" y="324498"/>
                  </a:lnTo>
                  <a:lnTo>
                    <a:pt x="165783" y="315325"/>
                  </a:lnTo>
                  <a:cubicBezTo>
                    <a:pt x="174260" y="300009"/>
                    <a:pt x="180499" y="283664"/>
                    <a:pt x="184652" y="266710"/>
                  </a:cubicBezTo>
                  <a:lnTo>
                    <a:pt x="190500" y="266710"/>
                  </a:lnTo>
                  <a:lnTo>
                    <a:pt x="190500" y="328289"/>
                  </a:lnTo>
                  <a:lnTo>
                    <a:pt x="156924" y="350682"/>
                  </a:lnTo>
                  <a:cubicBezTo>
                    <a:pt x="142161" y="360502"/>
                    <a:pt x="133350" y="376961"/>
                    <a:pt x="133350" y="394706"/>
                  </a:cubicBezTo>
                  <a:cubicBezTo>
                    <a:pt x="133350" y="399012"/>
                    <a:pt x="133883" y="403317"/>
                    <a:pt x="134931" y="407537"/>
                  </a:cubicBezTo>
                  <a:lnTo>
                    <a:pt x="146952" y="455590"/>
                  </a:lnTo>
                  <a:cubicBezTo>
                    <a:pt x="151171" y="472507"/>
                    <a:pt x="161192" y="487594"/>
                    <a:pt x="175155" y="498072"/>
                  </a:cubicBezTo>
                  <a:lnTo>
                    <a:pt x="190500" y="509588"/>
                  </a:lnTo>
                  <a:lnTo>
                    <a:pt x="190500" y="590550"/>
                  </a:lnTo>
                  <a:lnTo>
                    <a:pt x="361950" y="590550"/>
                  </a:lnTo>
                  <a:lnTo>
                    <a:pt x="361950" y="333375"/>
                  </a:lnTo>
                  <a:cubicBezTo>
                    <a:pt x="361950" y="317621"/>
                    <a:pt x="349129" y="304800"/>
                    <a:pt x="333375" y="304800"/>
                  </a:cubicBezTo>
                  <a:close/>
                  <a:moveTo>
                    <a:pt x="180975" y="19050"/>
                  </a:moveTo>
                  <a:cubicBezTo>
                    <a:pt x="231448" y="19050"/>
                    <a:pt x="266700" y="50387"/>
                    <a:pt x="266700" y="95250"/>
                  </a:cubicBezTo>
                  <a:cubicBezTo>
                    <a:pt x="266700" y="118843"/>
                    <a:pt x="252994" y="134664"/>
                    <a:pt x="238477" y="151419"/>
                  </a:cubicBezTo>
                  <a:cubicBezTo>
                    <a:pt x="228257" y="163220"/>
                    <a:pt x="217751" y="175374"/>
                    <a:pt x="212103" y="190500"/>
                  </a:cubicBezTo>
                  <a:lnTo>
                    <a:pt x="209550" y="190500"/>
                  </a:lnTo>
                  <a:lnTo>
                    <a:pt x="209550" y="114300"/>
                  </a:lnTo>
                  <a:lnTo>
                    <a:pt x="219075" y="114300"/>
                  </a:lnTo>
                  <a:cubicBezTo>
                    <a:pt x="234829" y="114300"/>
                    <a:pt x="247650" y="101479"/>
                    <a:pt x="247650" y="85725"/>
                  </a:cubicBezTo>
                  <a:cubicBezTo>
                    <a:pt x="247650" y="69971"/>
                    <a:pt x="234829" y="57150"/>
                    <a:pt x="219075" y="57150"/>
                  </a:cubicBezTo>
                  <a:cubicBezTo>
                    <a:pt x="203321" y="57150"/>
                    <a:pt x="190500" y="69971"/>
                    <a:pt x="190500" y="85725"/>
                  </a:cubicBezTo>
                  <a:lnTo>
                    <a:pt x="190500" y="95250"/>
                  </a:lnTo>
                  <a:lnTo>
                    <a:pt x="171450" y="95250"/>
                  </a:lnTo>
                  <a:lnTo>
                    <a:pt x="171450" y="85725"/>
                  </a:lnTo>
                  <a:cubicBezTo>
                    <a:pt x="171450" y="69971"/>
                    <a:pt x="158629" y="57150"/>
                    <a:pt x="142875" y="57150"/>
                  </a:cubicBezTo>
                  <a:cubicBezTo>
                    <a:pt x="127121" y="57150"/>
                    <a:pt x="114300" y="69971"/>
                    <a:pt x="114300" y="85725"/>
                  </a:cubicBezTo>
                  <a:cubicBezTo>
                    <a:pt x="114300" y="101479"/>
                    <a:pt x="127121" y="114300"/>
                    <a:pt x="142875" y="114300"/>
                  </a:cubicBezTo>
                  <a:lnTo>
                    <a:pt x="152400" y="114300"/>
                  </a:lnTo>
                  <a:lnTo>
                    <a:pt x="152400" y="190500"/>
                  </a:lnTo>
                  <a:lnTo>
                    <a:pt x="149847" y="190500"/>
                  </a:lnTo>
                  <a:cubicBezTo>
                    <a:pt x="144199" y="175374"/>
                    <a:pt x="133693" y="163220"/>
                    <a:pt x="123473" y="151419"/>
                  </a:cubicBezTo>
                  <a:cubicBezTo>
                    <a:pt x="108956" y="134664"/>
                    <a:pt x="95250" y="118843"/>
                    <a:pt x="95250" y="95250"/>
                  </a:cubicBezTo>
                  <a:cubicBezTo>
                    <a:pt x="95250" y="50387"/>
                    <a:pt x="130502" y="19050"/>
                    <a:pt x="180975" y="19050"/>
                  </a:cubicBezTo>
                  <a:close/>
                  <a:moveTo>
                    <a:pt x="152400" y="95250"/>
                  </a:moveTo>
                  <a:lnTo>
                    <a:pt x="142875" y="95250"/>
                  </a:lnTo>
                  <a:cubicBezTo>
                    <a:pt x="137617" y="95250"/>
                    <a:pt x="133350" y="90973"/>
                    <a:pt x="133350" y="85725"/>
                  </a:cubicBezTo>
                  <a:cubicBezTo>
                    <a:pt x="133350" y="80477"/>
                    <a:pt x="137617" y="76200"/>
                    <a:pt x="142875" y="76200"/>
                  </a:cubicBezTo>
                  <a:cubicBezTo>
                    <a:pt x="148133" y="76200"/>
                    <a:pt x="152400" y="80477"/>
                    <a:pt x="152400" y="85725"/>
                  </a:cubicBezTo>
                  <a:lnTo>
                    <a:pt x="152400" y="95250"/>
                  </a:lnTo>
                  <a:close/>
                  <a:moveTo>
                    <a:pt x="190500" y="190500"/>
                  </a:moveTo>
                  <a:lnTo>
                    <a:pt x="171450" y="190500"/>
                  </a:lnTo>
                  <a:lnTo>
                    <a:pt x="171450" y="114300"/>
                  </a:lnTo>
                  <a:lnTo>
                    <a:pt x="190500" y="114300"/>
                  </a:lnTo>
                  <a:lnTo>
                    <a:pt x="190500" y="190500"/>
                  </a:lnTo>
                  <a:close/>
                  <a:moveTo>
                    <a:pt x="209550" y="95250"/>
                  </a:moveTo>
                  <a:lnTo>
                    <a:pt x="209550" y="85725"/>
                  </a:lnTo>
                  <a:cubicBezTo>
                    <a:pt x="209550" y="80477"/>
                    <a:pt x="213817" y="76200"/>
                    <a:pt x="219075" y="76200"/>
                  </a:cubicBezTo>
                  <a:cubicBezTo>
                    <a:pt x="224333" y="76200"/>
                    <a:pt x="228600" y="80477"/>
                    <a:pt x="228600" y="85725"/>
                  </a:cubicBezTo>
                  <a:cubicBezTo>
                    <a:pt x="228600" y="90973"/>
                    <a:pt x="224333" y="95250"/>
                    <a:pt x="219075" y="95250"/>
                  </a:cubicBezTo>
                  <a:lnTo>
                    <a:pt x="209550" y="95250"/>
                  </a:lnTo>
                  <a:close/>
                  <a:moveTo>
                    <a:pt x="153943" y="296742"/>
                  </a:moveTo>
                  <a:lnTo>
                    <a:pt x="19050" y="204064"/>
                  </a:lnTo>
                  <a:lnTo>
                    <a:pt x="19050" y="39405"/>
                  </a:lnTo>
                  <a:cubicBezTo>
                    <a:pt x="41215" y="42958"/>
                    <a:pt x="62617" y="50940"/>
                    <a:pt x="82010" y="62427"/>
                  </a:cubicBezTo>
                  <a:cubicBezTo>
                    <a:pt x="78296" y="72552"/>
                    <a:pt x="76200" y="83525"/>
                    <a:pt x="76200" y="95250"/>
                  </a:cubicBezTo>
                  <a:cubicBezTo>
                    <a:pt x="76200" y="125949"/>
                    <a:pt x="93659" y="146104"/>
                    <a:pt x="109071" y="163897"/>
                  </a:cubicBezTo>
                  <a:cubicBezTo>
                    <a:pt x="119596" y="176060"/>
                    <a:pt x="129559" y="187557"/>
                    <a:pt x="133350" y="201254"/>
                  </a:cubicBezTo>
                  <a:lnTo>
                    <a:pt x="133350" y="238125"/>
                  </a:lnTo>
                  <a:cubicBezTo>
                    <a:pt x="133350" y="253879"/>
                    <a:pt x="146171" y="266700"/>
                    <a:pt x="161925" y="266700"/>
                  </a:cubicBezTo>
                  <a:lnTo>
                    <a:pt x="165097" y="266700"/>
                  </a:lnTo>
                  <a:cubicBezTo>
                    <a:pt x="162287" y="277025"/>
                    <a:pt x="158572" y="287074"/>
                    <a:pt x="153943" y="296742"/>
                  </a:cubicBezTo>
                  <a:close/>
                  <a:moveTo>
                    <a:pt x="161925" y="247650"/>
                  </a:moveTo>
                  <a:cubicBezTo>
                    <a:pt x="156667" y="247650"/>
                    <a:pt x="152400" y="243373"/>
                    <a:pt x="152400" y="238125"/>
                  </a:cubicBezTo>
                  <a:lnTo>
                    <a:pt x="152400" y="209550"/>
                  </a:lnTo>
                  <a:lnTo>
                    <a:pt x="209674" y="209550"/>
                  </a:lnTo>
                  <a:lnTo>
                    <a:pt x="209655" y="211274"/>
                  </a:lnTo>
                  <a:cubicBezTo>
                    <a:pt x="198539" y="215189"/>
                    <a:pt x="190500" y="225685"/>
                    <a:pt x="190500" y="238125"/>
                  </a:cubicBezTo>
                  <a:lnTo>
                    <a:pt x="190500" y="247650"/>
                  </a:lnTo>
                  <a:lnTo>
                    <a:pt x="161925" y="247650"/>
                  </a:lnTo>
                  <a:close/>
                  <a:moveTo>
                    <a:pt x="342900" y="571500"/>
                  </a:moveTo>
                  <a:lnTo>
                    <a:pt x="209550" y="571500"/>
                  </a:lnTo>
                  <a:lnTo>
                    <a:pt x="209550" y="514350"/>
                  </a:lnTo>
                  <a:lnTo>
                    <a:pt x="342900" y="514350"/>
                  </a:lnTo>
                  <a:lnTo>
                    <a:pt x="342900" y="571500"/>
                  </a:lnTo>
                  <a:close/>
                  <a:moveTo>
                    <a:pt x="342900" y="495300"/>
                  </a:moveTo>
                  <a:lnTo>
                    <a:pt x="203197" y="495300"/>
                  </a:lnTo>
                  <a:lnTo>
                    <a:pt x="186585" y="482832"/>
                  </a:lnTo>
                  <a:cubicBezTo>
                    <a:pt x="176108" y="474974"/>
                    <a:pt x="168593" y="463658"/>
                    <a:pt x="165421" y="450971"/>
                  </a:cubicBezTo>
                  <a:lnTo>
                    <a:pt x="153410" y="402927"/>
                  </a:lnTo>
                  <a:cubicBezTo>
                    <a:pt x="152743" y="400241"/>
                    <a:pt x="152400" y="397469"/>
                    <a:pt x="152400" y="394706"/>
                  </a:cubicBezTo>
                  <a:cubicBezTo>
                    <a:pt x="152400" y="383353"/>
                    <a:pt x="158039" y="372809"/>
                    <a:pt x="167488" y="366512"/>
                  </a:cubicBezTo>
                  <a:lnTo>
                    <a:pt x="190500" y="351177"/>
                  </a:lnTo>
                  <a:lnTo>
                    <a:pt x="190500" y="369227"/>
                  </a:lnTo>
                  <a:cubicBezTo>
                    <a:pt x="190500" y="378733"/>
                    <a:pt x="185214" y="387287"/>
                    <a:pt x="176717" y="391535"/>
                  </a:cubicBezTo>
                  <a:lnTo>
                    <a:pt x="185242" y="408575"/>
                  </a:lnTo>
                  <a:cubicBezTo>
                    <a:pt x="200225" y="401060"/>
                    <a:pt x="209550" y="385982"/>
                    <a:pt x="209550" y="369227"/>
                  </a:cubicBezTo>
                  <a:lnTo>
                    <a:pt x="209550" y="238125"/>
                  </a:lnTo>
                  <a:cubicBezTo>
                    <a:pt x="209550" y="232877"/>
                    <a:pt x="213817" y="228600"/>
                    <a:pt x="219075" y="228600"/>
                  </a:cubicBezTo>
                  <a:cubicBezTo>
                    <a:pt x="224333" y="228600"/>
                    <a:pt x="228600" y="232877"/>
                    <a:pt x="228600" y="238125"/>
                  </a:cubicBezTo>
                  <a:lnTo>
                    <a:pt x="228600" y="390525"/>
                  </a:lnTo>
                  <a:lnTo>
                    <a:pt x="247650" y="390525"/>
                  </a:lnTo>
                  <a:lnTo>
                    <a:pt x="247650" y="295275"/>
                  </a:lnTo>
                  <a:cubicBezTo>
                    <a:pt x="247650" y="290027"/>
                    <a:pt x="251917" y="285750"/>
                    <a:pt x="257175" y="285750"/>
                  </a:cubicBezTo>
                  <a:cubicBezTo>
                    <a:pt x="262433" y="285750"/>
                    <a:pt x="266700" y="290027"/>
                    <a:pt x="266700" y="295275"/>
                  </a:cubicBezTo>
                  <a:lnTo>
                    <a:pt x="266700" y="390525"/>
                  </a:lnTo>
                  <a:lnTo>
                    <a:pt x="285750" y="390525"/>
                  </a:lnTo>
                  <a:lnTo>
                    <a:pt x="285750" y="314325"/>
                  </a:lnTo>
                  <a:cubicBezTo>
                    <a:pt x="285750" y="309067"/>
                    <a:pt x="290017" y="304800"/>
                    <a:pt x="295275" y="304800"/>
                  </a:cubicBezTo>
                  <a:cubicBezTo>
                    <a:pt x="300533" y="304800"/>
                    <a:pt x="304800" y="309067"/>
                    <a:pt x="304800" y="314325"/>
                  </a:cubicBezTo>
                  <a:lnTo>
                    <a:pt x="304800" y="390525"/>
                  </a:lnTo>
                  <a:lnTo>
                    <a:pt x="323850" y="390525"/>
                  </a:lnTo>
                  <a:lnTo>
                    <a:pt x="323850" y="333375"/>
                  </a:lnTo>
                  <a:cubicBezTo>
                    <a:pt x="323850" y="328117"/>
                    <a:pt x="328117" y="323850"/>
                    <a:pt x="333375" y="323850"/>
                  </a:cubicBezTo>
                  <a:cubicBezTo>
                    <a:pt x="338633" y="323850"/>
                    <a:pt x="342900" y="328117"/>
                    <a:pt x="342900" y="333375"/>
                  </a:cubicBezTo>
                  <a:lnTo>
                    <a:pt x="342900" y="495300"/>
                  </a:lnTo>
                  <a:close/>
                </a:path>
              </a:pathLst>
            </a:custGeom>
            <a:grpFill/>
            <a:ln w="9525" cap="flat">
              <a:noFill/>
              <a:prstDash val="solid"/>
              <a:miter/>
            </a:ln>
          </p:spPr>
          <p:txBody>
            <a:bodyPr rtlCol="0" anchor="ctr"/>
            <a:lstStyle/>
            <a:p>
              <a:endParaRPr lang="en-US"/>
            </a:p>
          </p:txBody>
        </p:sp>
      </p:grpSp>
      <p:sp>
        <p:nvSpPr>
          <p:cNvPr id="37" name="Rectangle 36">
            <a:extLst>
              <a:ext uri="{FF2B5EF4-FFF2-40B4-BE49-F238E27FC236}">
                <a16:creationId xmlns:a16="http://schemas.microsoft.com/office/drawing/2014/main" id="{4F7B5910-3B00-9B4E-85DA-F738B7148213}"/>
              </a:ext>
            </a:extLst>
          </p:cNvPr>
          <p:cNvSpPr/>
          <p:nvPr/>
        </p:nvSpPr>
        <p:spPr>
          <a:xfrm>
            <a:off x="3714651" y="5051415"/>
            <a:ext cx="1847810" cy="138499"/>
          </a:xfrm>
          <a:prstGeom prst="rect">
            <a:avLst/>
          </a:prstGeom>
        </p:spPr>
        <p:txBody>
          <a:bodyPr wrap="square" lIns="0" tIns="0" rIns="0" bIns="0">
            <a:spAutoFit/>
          </a:bodyPr>
          <a:lstStyle/>
          <a:p>
            <a:r>
              <a:rPr lang="en-US" sz="900" dirty="0"/>
              <a:t>Expanding beyond R&amp;R capabilities</a:t>
            </a:r>
            <a:endParaRPr lang="en-IN" sz="900" dirty="0">
              <a:latin typeface="+mn-lt"/>
            </a:endParaRPr>
          </a:p>
        </p:txBody>
      </p:sp>
      <p:grpSp>
        <p:nvGrpSpPr>
          <p:cNvPr id="59" name="Group 58">
            <a:extLst>
              <a:ext uri="{FF2B5EF4-FFF2-40B4-BE49-F238E27FC236}">
                <a16:creationId xmlns:a16="http://schemas.microsoft.com/office/drawing/2014/main" id="{8D14AE00-2842-1449-B1C3-523D15F2386E}"/>
              </a:ext>
            </a:extLst>
          </p:cNvPr>
          <p:cNvGrpSpPr/>
          <p:nvPr/>
        </p:nvGrpSpPr>
        <p:grpSpPr>
          <a:xfrm>
            <a:off x="4323401" y="4370259"/>
            <a:ext cx="628192" cy="628192"/>
            <a:chOff x="6890435" y="2063373"/>
            <a:chExt cx="740528" cy="740528"/>
          </a:xfrm>
        </p:grpSpPr>
        <p:pic>
          <p:nvPicPr>
            <p:cNvPr id="60" name="Graphic 59">
              <a:extLst>
                <a:ext uri="{FF2B5EF4-FFF2-40B4-BE49-F238E27FC236}">
                  <a16:creationId xmlns:a16="http://schemas.microsoft.com/office/drawing/2014/main" id="{2A5D1128-8D57-AB4B-8D24-8474EC3206B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90435" y="2063373"/>
              <a:ext cx="740528" cy="740528"/>
            </a:xfrm>
            <a:prstGeom prst="rect">
              <a:avLst/>
            </a:prstGeom>
          </p:spPr>
        </p:pic>
        <p:pic>
          <p:nvPicPr>
            <p:cNvPr id="61" name="Graphic 60">
              <a:extLst>
                <a:ext uri="{FF2B5EF4-FFF2-40B4-BE49-F238E27FC236}">
                  <a16:creationId xmlns:a16="http://schemas.microsoft.com/office/drawing/2014/main" id="{F763A103-34ED-1D40-92F6-0887468E19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5400000">
              <a:off x="6890435" y="2063373"/>
              <a:ext cx="740528" cy="740528"/>
            </a:xfrm>
            <a:prstGeom prst="rect">
              <a:avLst/>
            </a:prstGeom>
          </p:spPr>
        </p:pic>
      </p:grpSp>
      <p:sp>
        <p:nvSpPr>
          <p:cNvPr id="39" name="Rectangle 38">
            <a:extLst>
              <a:ext uri="{FF2B5EF4-FFF2-40B4-BE49-F238E27FC236}">
                <a16:creationId xmlns:a16="http://schemas.microsoft.com/office/drawing/2014/main" id="{2A2D99D2-C543-9742-8F4F-5BDB00D7DD93}"/>
              </a:ext>
            </a:extLst>
          </p:cNvPr>
          <p:cNvSpPr/>
          <p:nvPr/>
        </p:nvSpPr>
        <p:spPr>
          <a:xfrm>
            <a:off x="881274" y="6048630"/>
            <a:ext cx="1482050" cy="138499"/>
          </a:xfrm>
          <a:prstGeom prst="rect">
            <a:avLst/>
          </a:prstGeom>
        </p:spPr>
        <p:txBody>
          <a:bodyPr wrap="square" lIns="0" tIns="0" rIns="0" bIns="0">
            <a:spAutoFit/>
          </a:bodyPr>
          <a:lstStyle/>
          <a:p>
            <a:pPr algn="ctr"/>
            <a:r>
              <a:rPr lang="en-US" sz="900" dirty="0"/>
              <a:t>Diversifying rewards catalog</a:t>
            </a:r>
          </a:p>
        </p:txBody>
      </p:sp>
      <p:grpSp>
        <p:nvGrpSpPr>
          <p:cNvPr id="72" name="Group 71">
            <a:extLst>
              <a:ext uri="{FF2B5EF4-FFF2-40B4-BE49-F238E27FC236}">
                <a16:creationId xmlns:a16="http://schemas.microsoft.com/office/drawing/2014/main" id="{B59D86B2-092B-9548-8E2B-4DAB09E91055}"/>
              </a:ext>
            </a:extLst>
          </p:cNvPr>
          <p:cNvGrpSpPr/>
          <p:nvPr/>
        </p:nvGrpSpPr>
        <p:grpSpPr>
          <a:xfrm>
            <a:off x="307975" y="2051021"/>
            <a:ext cx="5695871" cy="2016616"/>
            <a:chOff x="-2283874" y="2949530"/>
            <a:chExt cx="8876218" cy="3142612"/>
          </a:xfrm>
        </p:grpSpPr>
        <p:sp>
          <p:nvSpPr>
            <p:cNvPr id="73" name="Rectangle 72">
              <a:extLst>
                <a:ext uri="{FF2B5EF4-FFF2-40B4-BE49-F238E27FC236}">
                  <a16:creationId xmlns:a16="http://schemas.microsoft.com/office/drawing/2014/main" id="{05B9DD7E-2882-214C-B71E-134CB5336C38}"/>
                </a:ext>
              </a:extLst>
            </p:cNvPr>
            <p:cNvSpPr/>
            <p:nvPr/>
          </p:nvSpPr>
          <p:spPr bwMode="auto">
            <a:xfrm>
              <a:off x="-2283874" y="5829301"/>
              <a:ext cx="8876218" cy="96037"/>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mn-lt"/>
              </a:endParaRPr>
            </a:p>
          </p:txBody>
        </p:sp>
        <p:grpSp>
          <p:nvGrpSpPr>
            <p:cNvPr id="74" name="Group 73">
              <a:extLst>
                <a:ext uri="{FF2B5EF4-FFF2-40B4-BE49-F238E27FC236}">
                  <a16:creationId xmlns:a16="http://schemas.microsoft.com/office/drawing/2014/main" id="{0A268673-24ED-E841-B2AF-A43A9094D7E1}"/>
                </a:ext>
              </a:extLst>
            </p:cNvPr>
            <p:cNvGrpSpPr/>
            <p:nvPr/>
          </p:nvGrpSpPr>
          <p:grpSpPr>
            <a:xfrm>
              <a:off x="-384546" y="2949530"/>
              <a:ext cx="6767207" cy="3142612"/>
              <a:chOff x="-384546" y="2949530"/>
              <a:chExt cx="6767207" cy="3142612"/>
            </a:xfrm>
          </p:grpSpPr>
          <p:grpSp>
            <p:nvGrpSpPr>
              <p:cNvPr id="75" name="Graphic 1">
                <a:extLst>
                  <a:ext uri="{FF2B5EF4-FFF2-40B4-BE49-F238E27FC236}">
                    <a16:creationId xmlns:a16="http://schemas.microsoft.com/office/drawing/2014/main" id="{796DCA03-67A4-6842-B15C-CB1778DF3DFF}"/>
                  </a:ext>
                </a:extLst>
              </p:cNvPr>
              <p:cNvGrpSpPr/>
              <p:nvPr/>
            </p:nvGrpSpPr>
            <p:grpSpPr>
              <a:xfrm flipH="1">
                <a:off x="3240048" y="2949530"/>
                <a:ext cx="3142613" cy="3142612"/>
                <a:chOff x="4951413" y="1151996"/>
                <a:chExt cx="2743200" cy="2743200"/>
              </a:xfrm>
              <a:solidFill>
                <a:schemeClr val="accent1"/>
              </a:solidFill>
            </p:grpSpPr>
            <p:sp>
              <p:nvSpPr>
                <p:cNvPr id="339" name="Freeform: Shape 7">
                  <a:extLst>
                    <a:ext uri="{FF2B5EF4-FFF2-40B4-BE49-F238E27FC236}">
                      <a16:creationId xmlns:a16="http://schemas.microsoft.com/office/drawing/2014/main" id="{E2BCB253-183C-E646-86D2-83958A595671}"/>
                    </a:ext>
                  </a:extLst>
                </p:cNvPr>
                <p:cNvSpPr/>
                <p:nvPr/>
              </p:nvSpPr>
              <p:spPr>
                <a:xfrm>
                  <a:off x="4951413" y="1151996"/>
                  <a:ext cx="2743200" cy="2743200"/>
                </a:xfrm>
                <a:custGeom>
                  <a:avLst/>
                  <a:gdLst>
                    <a:gd name="connsiteX0" fmla="*/ 1736865 w 1736865"/>
                    <a:gd name="connsiteY0" fmla="*/ 868433 h 1736865"/>
                    <a:gd name="connsiteX1" fmla="*/ 868433 w 1736865"/>
                    <a:gd name="connsiteY1" fmla="*/ 1736865 h 1736865"/>
                    <a:gd name="connsiteX2" fmla="*/ 0 w 1736865"/>
                    <a:gd name="connsiteY2" fmla="*/ 868433 h 1736865"/>
                    <a:gd name="connsiteX3" fmla="*/ 868433 w 1736865"/>
                    <a:gd name="connsiteY3" fmla="*/ 0 h 1736865"/>
                    <a:gd name="connsiteX4" fmla="*/ 1736865 w 1736865"/>
                    <a:gd name="connsiteY4" fmla="*/ 868433 h 173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6865" h="1736865">
                      <a:moveTo>
                        <a:pt x="1736865" y="868433"/>
                      </a:moveTo>
                      <a:cubicBezTo>
                        <a:pt x="1736865" y="1348055"/>
                        <a:pt x="1348055" y="1736865"/>
                        <a:pt x="868433" y="1736865"/>
                      </a:cubicBezTo>
                      <a:cubicBezTo>
                        <a:pt x="388811" y="1736865"/>
                        <a:pt x="0" y="1348055"/>
                        <a:pt x="0" y="868433"/>
                      </a:cubicBezTo>
                      <a:cubicBezTo>
                        <a:pt x="0" y="388810"/>
                        <a:pt x="388811" y="0"/>
                        <a:pt x="868433" y="0"/>
                      </a:cubicBezTo>
                      <a:cubicBezTo>
                        <a:pt x="1348055" y="0"/>
                        <a:pt x="1736865" y="388810"/>
                        <a:pt x="1736865" y="868433"/>
                      </a:cubicBezTo>
                      <a:close/>
                    </a:path>
                  </a:pathLst>
                </a:custGeom>
                <a:solidFill>
                  <a:srgbClr val="E4615B">
                    <a:alpha val="10000"/>
                  </a:srgbClr>
                </a:solidFill>
                <a:ln w="1349" cap="flat">
                  <a:noFill/>
                  <a:prstDash val="solid"/>
                  <a:miter/>
                </a:ln>
              </p:spPr>
              <p:txBody>
                <a:bodyPr rtlCol="0" anchor="ctr"/>
                <a:lstStyle/>
                <a:p>
                  <a:endParaRPr lang="en-IN">
                    <a:latin typeface="+mn-lt"/>
                  </a:endParaRPr>
                </a:p>
              </p:txBody>
            </p:sp>
            <p:sp>
              <p:nvSpPr>
                <p:cNvPr id="340" name="Freeform: Shape 8">
                  <a:extLst>
                    <a:ext uri="{FF2B5EF4-FFF2-40B4-BE49-F238E27FC236}">
                      <a16:creationId xmlns:a16="http://schemas.microsoft.com/office/drawing/2014/main" id="{5F1EA6AF-B88E-BE43-AF16-64C215EC99F7}"/>
                    </a:ext>
                  </a:extLst>
                </p:cNvPr>
                <p:cNvSpPr/>
                <p:nvPr/>
              </p:nvSpPr>
              <p:spPr>
                <a:xfrm>
                  <a:off x="5181600" y="1380596"/>
                  <a:ext cx="2266199" cy="2266199"/>
                </a:xfrm>
                <a:custGeom>
                  <a:avLst/>
                  <a:gdLst>
                    <a:gd name="connsiteX0" fmla="*/ 1736865 w 1736865"/>
                    <a:gd name="connsiteY0" fmla="*/ 868433 h 1736865"/>
                    <a:gd name="connsiteX1" fmla="*/ 868433 w 1736865"/>
                    <a:gd name="connsiteY1" fmla="*/ 1736865 h 1736865"/>
                    <a:gd name="connsiteX2" fmla="*/ 0 w 1736865"/>
                    <a:gd name="connsiteY2" fmla="*/ 868433 h 1736865"/>
                    <a:gd name="connsiteX3" fmla="*/ 868433 w 1736865"/>
                    <a:gd name="connsiteY3" fmla="*/ 0 h 1736865"/>
                    <a:gd name="connsiteX4" fmla="*/ 1736865 w 1736865"/>
                    <a:gd name="connsiteY4" fmla="*/ 868433 h 173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6865" h="1736865">
                      <a:moveTo>
                        <a:pt x="1736865" y="868433"/>
                      </a:moveTo>
                      <a:cubicBezTo>
                        <a:pt x="1736865" y="1348055"/>
                        <a:pt x="1348055" y="1736865"/>
                        <a:pt x="868433" y="1736865"/>
                      </a:cubicBezTo>
                      <a:cubicBezTo>
                        <a:pt x="388811" y="1736865"/>
                        <a:pt x="0" y="1348055"/>
                        <a:pt x="0" y="868433"/>
                      </a:cubicBezTo>
                      <a:cubicBezTo>
                        <a:pt x="0" y="388810"/>
                        <a:pt x="388811" y="0"/>
                        <a:pt x="868433" y="0"/>
                      </a:cubicBezTo>
                      <a:cubicBezTo>
                        <a:pt x="1348055" y="0"/>
                        <a:pt x="1736865" y="388810"/>
                        <a:pt x="1736865" y="868433"/>
                      </a:cubicBezTo>
                      <a:close/>
                    </a:path>
                  </a:pathLst>
                </a:custGeom>
                <a:solidFill>
                  <a:srgbClr val="E4615B">
                    <a:alpha val="10000"/>
                  </a:srgbClr>
                </a:solidFill>
                <a:ln w="1349" cap="flat">
                  <a:noFill/>
                  <a:prstDash val="solid"/>
                  <a:miter/>
                </a:ln>
              </p:spPr>
              <p:txBody>
                <a:bodyPr rtlCol="0" anchor="ctr"/>
                <a:lstStyle/>
                <a:p>
                  <a:endParaRPr lang="en-IN">
                    <a:latin typeface="+mn-lt"/>
                  </a:endParaRPr>
                </a:p>
              </p:txBody>
            </p:sp>
            <p:sp>
              <p:nvSpPr>
                <p:cNvPr id="341" name="Freeform: Shape 9">
                  <a:extLst>
                    <a:ext uri="{FF2B5EF4-FFF2-40B4-BE49-F238E27FC236}">
                      <a16:creationId xmlns:a16="http://schemas.microsoft.com/office/drawing/2014/main" id="{06B35F2E-084B-FB44-AEE2-6ADCAEFE30F3}"/>
                    </a:ext>
                  </a:extLst>
                </p:cNvPr>
                <p:cNvSpPr/>
                <p:nvPr/>
              </p:nvSpPr>
              <p:spPr>
                <a:xfrm>
                  <a:off x="5446267" y="1645263"/>
                  <a:ext cx="1736865" cy="1736865"/>
                </a:xfrm>
                <a:custGeom>
                  <a:avLst/>
                  <a:gdLst>
                    <a:gd name="connsiteX0" fmla="*/ 1736865 w 1736865"/>
                    <a:gd name="connsiteY0" fmla="*/ 868433 h 1736865"/>
                    <a:gd name="connsiteX1" fmla="*/ 868433 w 1736865"/>
                    <a:gd name="connsiteY1" fmla="*/ 1736865 h 1736865"/>
                    <a:gd name="connsiteX2" fmla="*/ 0 w 1736865"/>
                    <a:gd name="connsiteY2" fmla="*/ 868433 h 1736865"/>
                    <a:gd name="connsiteX3" fmla="*/ 868433 w 1736865"/>
                    <a:gd name="connsiteY3" fmla="*/ 0 h 1736865"/>
                    <a:gd name="connsiteX4" fmla="*/ 1736865 w 1736865"/>
                    <a:gd name="connsiteY4" fmla="*/ 868433 h 173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6865" h="1736865">
                      <a:moveTo>
                        <a:pt x="1736865" y="868433"/>
                      </a:moveTo>
                      <a:cubicBezTo>
                        <a:pt x="1736865" y="1348055"/>
                        <a:pt x="1348055" y="1736865"/>
                        <a:pt x="868433" y="1736865"/>
                      </a:cubicBezTo>
                      <a:cubicBezTo>
                        <a:pt x="388811" y="1736865"/>
                        <a:pt x="0" y="1348055"/>
                        <a:pt x="0" y="868433"/>
                      </a:cubicBezTo>
                      <a:cubicBezTo>
                        <a:pt x="0" y="388810"/>
                        <a:pt x="388811" y="0"/>
                        <a:pt x="868433" y="0"/>
                      </a:cubicBezTo>
                      <a:cubicBezTo>
                        <a:pt x="1348055" y="0"/>
                        <a:pt x="1736865" y="388810"/>
                        <a:pt x="1736865" y="868433"/>
                      </a:cubicBezTo>
                      <a:close/>
                    </a:path>
                  </a:pathLst>
                </a:custGeom>
                <a:solidFill>
                  <a:srgbClr val="E4615B">
                    <a:alpha val="10000"/>
                  </a:srgbClr>
                </a:solidFill>
                <a:ln w="1349" cap="flat">
                  <a:noFill/>
                  <a:prstDash val="solid"/>
                  <a:miter/>
                </a:ln>
              </p:spPr>
              <p:txBody>
                <a:bodyPr rtlCol="0" anchor="ctr"/>
                <a:lstStyle/>
                <a:p>
                  <a:endParaRPr lang="en-IN">
                    <a:latin typeface="+mn-lt"/>
                  </a:endParaRPr>
                </a:p>
              </p:txBody>
            </p:sp>
          </p:grpSp>
          <p:grpSp>
            <p:nvGrpSpPr>
              <p:cNvPr id="76" name="Group 75">
                <a:extLst>
                  <a:ext uri="{FF2B5EF4-FFF2-40B4-BE49-F238E27FC236}">
                    <a16:creationId xmlns:a16="http://schemas.microsoft.com/office/drawing/2014/main" id="{520D0DC3-C0A6-2147-88FF-E5DAE115F7FF}"/>
                  </a:ext>
                </a:extLst>
              </p:cNvPr>
              <p:cNvGrpSpPr/>
              <p:nvPr/>
            </p:nvGrpSpPr>
            <p:grpSpPr>
              <a:xfrm>
                <a:off x="-384546" y="4366792"/>
                <a:ext cx="2154919" cy="1490342"/>
                <a:chOff x="-461482" y="4302279"/>
                <a:chExt cx="2154919" cy="1490342"/>
              </a:xfrm>
            </p:grpSpPr>
            <p:grpSp>
              <p:nvGrpSpPr>
                <p:cNvPr id="146" name="Graphic 1">
                  <a:extLst>
                    <a:ext uri="{FF2B5EF4-FFF2-40B4-BE49-F238E27FC236}">
                      <a16:creationId xmlns:a16="http://schemas.microsoft.com/office/drawing/2014/main" id="{6021E3A9-2D8F-EF41-BF90-4D34288FE7FD}"/>
                    </a:ext>
                  </a:extLst>
                </p:cNvPr>
                <p:cNvGrpSpPr/>
                <p:nvPr/>
              </p:nvGrpSpPr>
              <p:grpSpPr>
                <a:xfrm flipH="1">
                  <a:off x="-153954" y="5186096"/>
                  <a:ext cx="1403589" cy="86602"/>
                  <a:chOff x="8593193" y="3199942"/>
                  <a:chExt cx="1191875" cy="73539"/>
                </a:xfrm>
                <a:solidFill>
                  <a:schemeClr val="accent1"/>
                </a:solidFill>
              </p:grpSpPr>
              <p:sp>
                <p:nvSpPr>
                  <p:cNvPr id="321" name="Freeform: Shape 186">
                    <a:extLst>
                      <a:ext uri="{FF2B5EF4-FFF2-40B4-BE49-F238E27FC236}">
                        <a16:creationId xmlns:a16="http://schemas.microsoft.com/office/drawing/2014/main" id="{EB196F9A-F93C-7D4C-9BA6-8BC9E3E6C42A}"/>
                      </a:ext>
                    </a:extLst>
                  </p:cNvPr>
                  <p:cNvSpPr/>
                  <p:nvPr/>
                </p:nvSpPr>
                <p:spPr>
                  <a:xfrm>
                    <a:off x="8941052" y="3209253"/>
                    <a:ext cx="21597" cy="24558"/>
                  </a:xfrm>
                  <a:custGeom>
                    <a:avLst/>
                    <a:gdLst>
                      <a:gd name="connsiteX0" fmla="*/ 5540 w 21597"/>
                      <a:gd name="connsiteY0" fmla="*/ 0 h 24558"/>
                      <a:gd name="connsiteX1" fmla="*/ 1492 w 21597"/>
                      <a:gd name="connsiteY1" fmla="*/ 9985 h 24558"/>
                      <a:gd name="connsiteX2" fmla="*/ 8 w 21597"/>
                      <a:gd name="connsiteY2" fmla="*/ 22669 h 24558"/>
                      <a:gd name="connsiteX3" fmla="*/ 1627 w 21597"/>
                      <a:gd name="connsiteY3" fmla="*/ 24558 h 24558"/>
                      <a:gd name="connsiteX4" fmla="*/ 20113 w 21597"/>
                      <a:gd name="connsiteY4" fmla="*/ 24558 h 24558"/>
                      <a:gd name="connsiteX5" fmla="*/ 21597 w 21597"/>
                      <a:gd name="connsiteY5" fmla="*/ 20780 h 24558"/>
                      <a:gd name="connsiteX6" fmla="*/ 20248 w 21597"/>
                      <a:gd name="connsiteY6" fmla="*/ 10255 h 24558"/>
                      <a:gd name="connsiteX7" fmla="*/ 13906 w 21597"/>
                      <a:gd name="connsiteY7" fmla="*/ 0 h 24558"/>
                      <a:gd name="connsiteX8" fmla="*/ 5540 w 21597"/>
                      <a:gd name="connsiteY8" fmla="*/ 0 h 2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97" h="24558">
                        <a:moveTo>
                          <a:pt x="5540" y="0"/>
                        </a:moveTo>
                        <a:cubicBezTo>
                          <a:pt x="4596" y="1080"/>
                          <a:pt x="1492" y="9985"/>
                          <a:pt x="1492" y="9985"/>
                        </a:cubicBezTo>
                        <a:cubicBezTo>
                          <a:pt x="1492" y="9985"/>
                          <a:pt x="-127" y="22804"/>
                          <a:pt x="8" y="22669"/>
                        </a:cubicBezTo>
                        <a:cubicBezTo>
                          <a:pt x="143" y="22534"/>
                          <a:pt x="1627" y="24558"/>
                          <a:pt x="1627" y="24558"/>
                        </a:cubicBezTo>
                        <a:lnTo>
                          <a:pt x="20113" y="24558"/>
                        </a:lnTo>
                        <a:lnTo>
                          <a:pt x="21597" y="20780"/>
                        </a:lnTo>
                        <a:cubicBezTo>
                          <a:pt x="21597" y="20780"/>
                          <a:pt x="20923" y="10525"/>
                          <a:pt x="20248" y="10255"/>
                        </a:cubicBezTo>
                        <a:cubicBezTo>
                          <a:pt x="19708" y="9985"/>
                          <a:pt x="13906" y="0"/>
                          <a:pt x="13906" y="0"/>
                        </a:cubicBezTo>
                        <a:lnTo>
                          <a:pt x="5540" y="0"/>
                        </a:lnTo>
                        <a:close/>
                      </a:path>
                    </a:pathLst>
                  </a:custGeom>
                  <a:solidFill>
                    <a:srgbClr val="145B82"/>
                  </a:solidFill>
                  <a:ln w="1349" cap="flat">
                    <a:noFill/>
                    <a:prstDash val="solid"/>
                    <a:miter/>
                  </a:ln>
                </p:spPr>
                <p:txBody>
                  <a:bodyPr rtlCol="0" anchor="ctr"/>
                  <a:lstStyle/>
                  <a:p>
                    <a:endParaRPr lang="en-IN">
                      <a:latin typeface="+mn-lt"/>
                    </a:endParaRPr>
                  </a:p>
                </p:txBody>
              </p:sp>
              <p:sp>
                <p:nvSpPr>
                  <p:cNvPr id="322" name="Freeform: Shape 187">
                    <a:extLst>
                      <a:ext uri="{FF2B5EF4-FFF2-40B4-BE49-F238E27FC236}">
                        <a16:creationId xmlns:a16="http://schemas.microsoft.com/office/drawing/2014/main" id="{1E99415B-9736-174E-9CC7-E27CEE6DAE97}"/>
                      </a:ext>
                    </a:extLst>
                  </p:cNvPr>
                  <p:cNvSpPr/>
                  <p:nvPr/>
                </p:nvSpPr>
                <p:spPr>
                  <a:xfrm>
                    <a:off x="9673190" y="3223286"/>
                    <a:ext cx="35506" cy="40614"/>
                  </a:xfrm>
                  <a:custGeom>
                    <a:avLst/>
                    <a:gdLst>
                      <a:gd name="connsiteX0" fmla="*/ 9195 w 35506"/>
                      <a:gd name="connsiteY0" fmla="*/ 0 h 40614"/>
                      <a:gd name="connsiteX1" fmla="*/ 2448 w 35506"/>
                      <a:gd name="connsiteY1" fmla="*/ 16597 h 40614"/>
                      <a:gd name="connsiteX2" fmla="*/ 19 w 35506"/>
                      <a:gd name="connsiteY2" fmla="*/ 37512 h 40614"/>
                      <a:gd name="connsiteX3" fmla="*/ 2718 w 35506"/>
                      <a:gd name="connsiteY3" fmla="*/ 40615 h 40614"/>
                      <a:gd name="connsiteX4" fmla="*/ 33078 w 35506"/>
                      <a:gd name="connsiteY4" fmla="*/ 40615 h 40614"/>
                      <a:gd name="connsiteX5" fmla="*/ 35507 w 35506"/>
                      <a:gd name="connsiteY5" fmla="*/ 34408 h 40614"/>
                      <a:gd name="connsiteX6" fmla="*/ 33347 w 35506"/>
                      <a:gd name="connsiteY6" fmla="*/ 17002 h 40614"/>
                      <a:gd name="connsiteX7" fmla="*/ 22823 w 35506"/>
                      <a:gd name="connsiteY7" fmla="*/ 0 h 40614"/>
                      <a:gd name="connsiteX8" fmla="*/ 9195 w 35506"/>
                      <a:gd name="connsiteY8" fmla="*/ 0 h 40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6" h="40614">
                        <a:moveTo>
                          <a:pt x="9195" y="0"/>
                        </a:moveTo>
                        <a:cubicBezTo>
                          <a:pt x="7710" y="1754"/>
                          <a:pt x="2448" y="16597"/>
                          <a:pt x="2448" y="16597"/>
                        </a:cubicBezTo>
                        <a:cubicBezTo>
                          <a:pt x="2448" y="16597"/>
                          <a:pt x="-251" y="37647"/>
                          <a:pt x="19" y="37512"/>
                        </a:cubicBezTo>
                        <a:cubicBezTo>
                          <a:pt x="154" y="37377"/>
                          <a:pt x="2718" y="40615"/>
                          <a:pt x="2718" y="40615"/>
                        </a:cubicBezTo>
                        <a:lnTo>
                          <a:pt x="33078" y="40615"/>
                        </a:lnTo>
                        <a:lnTo>
                          <a:pt x="35507" y="34408"/>
                        </a:lnTo>
                        <a:cubicBezTo>
                          <a:pt x="35507" y="34408"/>
                          <a:pt x="34292" y="17406"/>
                          <a:pt x="33347" y="17002"/>
                        </a:cubicBezTo>
                        <a:cubicBezTo>
                          <a:pt x="32403" y="16597"/>
                          <a:pt x="22823" y="0"/>
                          <a:pt x="22823" y="0"/>
                        </a:cubicBezTo>
                        <a:lnTo>
                          <a:pt x="9195" y="0"/>
                        </a:lnTo>
                        <a:close/>
                      </a:path>
                    </a:pathLst>
                  </a:custGeom>
                  <a:solidFill>
                    <a:srgbClr val="0C3E7A"/>
                  </a:solidFill>
                  <a:ln w="1349" cap="flat">
                    <a:noFill/>
                    <a:prstDash val="solid"/>
                    <a:miter/>
                  </a:ln>
                </p:spPr>
                <p:txBody>
                  <a:bodyPr rtlCol="0" anchor="ctr"/>
                  <a:lstStyle/>
                  <a:p>
                    <a:endParaRPr lang="en-IN">
                      <a:latin typeface="+mn-lt"/>
                    </a:endParaRPr>
                  </a:p>
                </p:txBody>
              </p:sp>
              <p:sp>
                <p:nvSpPr>
                  <p:cNvPr id="323" name="Freeform: Shape 188">
                    <a:extLst>
                      <a:ext uri="{FF2B5EF4-FFF2-40B4-BE49-F238E27FC236}">
                        <a16:creationId xmlns:a16="http://schemas.microsoft.com/office/drawing/2014/main" id="{2A2F7FFE-AD91-404F-A515-D56E576F2563}"/>
                      </a:ext>
                    </a:extLst>
                  </p:cNvPr>
                  <p:cNvSpPr/>
                  <p:nvPr/>
                </p:nvSpPr>
                <p:spPr>
                  <a:xfrm>
                    <a:off x="8593193" y="3205340"/>
                    <a:ext cx="21597" cy="24557"/>
                  </a:xfrm>
                  <a:custGeom>
                    <a:avLst/>
                    <a:gdLst>
                      <a:gd name="connsiteX0" fmla="*/ 5540 w 21597"/>
                      <a:gd name="connsiteY0" fmla="*/ 0 h 24557"/>
                      <a:gd name="connsiteX1" fmla="*/ 1492 w 21597"/>
                      <a:gd name="connsiteY1" fmla="*/ 9985 h 24557"/>
                      <a:gd name="connsiteX2" fmla="*/ 8 w 21597"/>
                      <a:gd name="connsiteY2" fmla="*/ 22669 h 24557"/>
                      <a:gd name="connsiteX3" fmla="*/ 1627 w 21597"/>
                      <a:gd name="connsiteY3" fmla="*/ 24558 h 24557"/>
                      <a:gd name="connsiteX4" fmla="*/ 20113 w 21597"/>
                      <a:gd name="connsiteY4" fmla="*/ 24558 h 24557"/>
                      <a:gd name="connsiteX5" fmla="*/ 21597 w 21597"/>
                      <a:gd name="connsiteY5" fmla="*/ 20780 h 24557"/>
                      <a:gd name="connsiteX6" fmla="*/ 20248 w 21597"/>
                      <a:gd name="connsiteY6" fmla="*/ 10255 h 24557"/>
                      <a:gd name="connsiteX7" fmla="*/ 13906 w 21597"/>
                      <a:gd name="connsiteY7" fmla="*/ 0 h 24557"/>
                      <a:gd name="connsiteX8" fmla="*/ 5540 w 21597"/>
                      <a:gd name="connsiteY8" fmla="*/ 0 h 24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97" h="24557">
                        <a:moveTo>
                          <a:pt x="5540" y="0"/>
                        </a:moveTo>
                        <a:cubicBezTo>
                          <a:pt x="4596" y="1079"/>
                          <a:pt x="1492" y="9985"/>
                          <a:pt x="1492" y="9985"/>
                        </a:cubicBezTo>
                        <a:cubicBezTo>
                          <a:pt x="1492" y="9985"/>
                          <a:pt x="-127" y="22804"/>
                          <a:pt x="8" y="22669"/>
                        </a:cubicBezTo>
                        <a:cubicBezTo>
                          <a:pt x="143" y="22534"/>
                          <a:pt x="1627" y="24558"/>
                          <a:pt x="1627" y="24558"/>
                        </a:cubicBezTo>
                        <a:lnTo>
                          <a:pt x="20113" y="24558"/>
                        </a:lnTo>
                        <a:lnTo>
                          <a:pt x="21597" y="20780"/>
                        </a:lnTo>
                        <a:cubicBezTo>
                          <a:pt x="21597" y="20780"/>
                          <a:pt x="20923" y="10525"/>
                          <a:pt x="20248" y="10255"/>
                        </a:cubicBezTo>
                        <a:cubicBezTo>
                          <a:pt x="19708" y="9985"/>
                          <a:pt x="13906" y="0"/>
                          <a:pt x="13906" y="0"/>
                        </a:cubicBezTo>
                        <a:lnTo>
                          <a:pt x="5540" y="0"/>
                        </a:lnTo>
                        <a:close/>
                      </a:path>
                    </a:pathLst>
                  </a:custGeom>
                  <a:solidFill>
                    <a:srgbClr val="1C6D91"/>
                  </a:solidFill>
                  <a:ln w="1349" cap="flat">
                    <a:noFill/>
                    <a:prstDash val="solid"/>
                    <a:miter/>
                  </a:ln>
                </p:spPr>
                <p:txBody>
                  <a:bodyPr rtlCol="0" anchor="ctr"/>
                  <a:lstStyle/>
                  <a:p>
                    <a:endParaRPr lang="en-IN">
                      <a:latin typeface="+mn-lt"/>
                    </a:endParaRPr>
                  </a:p>
                </p:txBody>
              </p:sp>
              <p:sp>
                <p:nvSpPr>
                  <p:cNvPr id="324" name="Freeform: Shape 189">
                    <a:extLst>
                      <a:ext uri="{FF2B5EF4-FFF2-40B4-BE49-F238E27FC236}">
                        <a16:creationId xmlns:a16="http://schemas.microsoft.com/office/drawing/2014/main" id="{AD76C643-88FE-904A-93A4-D3F6384D6890}"/>
                      </a:ext>
                    </a:extLst>
                  </p:cNvPr>
                  <p:cNvSpPr/>
                  <p:nvPr/>
                </p:nvSpPr>
                <p:spPr>
                  <a:xfrm>
                    <a:off x="9700728" y="3204530"/>
                    <a:ext cx="24025" cy="27526"/>
                  </a:xfrm>
                  <a:custGeom>
                    <a:avLst/>
                    <a:gdLst>
                      <a:gd name="connsiteX0" fmla="*/ 6079 w 24025"/>
                      <a:gd name="connsiteY0" fmla="*/ 0 h 27526"/>
                      <a:gd name="connsiteX1" fmla="*/ 1627 w 24025"/>
                      <a:gd name="connsiteY1" fmla="*/ 11200 h 27526"/>
                      <a:gd name="connsiteX2" fmla="*/ 7 w 24025"/>
                      <a:gd name="connsiteY2" fmla="*/ 25368 h 27526"/>
                      <a:gd name="connsiteX3" fmla="*/ 1896 w 24025"/>
                      <a:gd name="connsiteY3" fmla="*/ 27526 h 27526"/>
                      <a:gd name="connsiteX4" fmla="*/ 22406 w 24025"/>
                      <a:gd name="connsiteY4" fmla="*/ 27526 h 27526"/>
                      <a:gd name="connsiteX5" fmla="*/ 24025 w 24025"/>
                      <a:gd name="connsiteY5" fmla="*/ 23344 h 27526"/>
                      <a:gd name="connsiteX6" fmla="*/ 22541 w 24025"/>
                      <a:gd name="connsiteY6" fmla="*/ 11604 h 27526"/>
                      <a:gd name="connsiteX7" fmla="*/ 15525 w 24025"/>
                      <a:gd name="connsiteY7" fmla="*/ 135 h 27526"/>
                      <a:gd name="connsiteX8" fmla="*/ 6079 w 24025"/>
                      <a:gd name="connsiteY8" fmla="*/ 135 h 2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25" h="27526">
                        <a:moveTo>
                          <a:pt x="6079" y="0"/>
                        </a:moveTo>
                        <a:cubicBezTo>
                          <a:pt x="5135" y="1214"/>
                          <a:pt x="1627" y="11200"/>
                          <a:pt x="1627" y="11200"/>
                        </a:cubicBezTo>
                        <a:cubicBezTo>
                          <a:pt x="1627" y="11200"/>
                          <a:pt x="-128" y="25502"/>
                          <a:pt x="7" y="25368"/>
                        </a:cubicBezTo>
                        <a:cubicBezTo>
                          <a:pt x="142" y="25233"/>
                          <a:pt x="1896" y="27526"/>
                          <a:pt x="1896" y="27526"/>
                        </a:cubicBezTo>
                        <a:lnTo>
                          <a:pt x="22406" y="27526"/>
                        </a:lnTo>
                        <a:lnTo>
                          <a:pt x="24025" y="23344"/>
                        </a:lnTo>
                        <a:cubicBezTo>
                          <a:pt x="24025" y="23344"/>
                          <a:pt x="23216" y="11874"/>
                          <a:pt x="22541" y="11604"/>
                        </a:cubicBezTo>
                        <a:cubicBezTo>
                          <a:pt x="21867" y="11334"/>
                          <a:pt x="15525" y="135"/>
                          <a:pt x="15525" y="135"/>
                        </a:cubicBezTo>
                        <a:lnTo>
                          <a:pt x="6079" y="135"/>
                        </a:lnTo>
                        <a:close/>
                      </a:path>
                    </a:pathLst>
                  </a:custGeom>
                  <a:solidFill>
                    <a:srgbClr val="145B82"/>
                  </a:solidFill>
                  <a:ln w="1349" cap="flat">
                    <a:noFill/>
                    <a:prstDash val="solid"/>
                    <a:miter/>
                  </a:ln>
                </p:spPr>
                <p:txBody>
                  <a:bodyPr rtlCol="0" anchor="ctr"/>
                  <a:lstStyle/>
                  <a:p>
                    <a:endParaRPr lang="en-IN">
                      <a:latin typeface="+mn-lt"/>
                    </a:endParaRPr>
                  </a:p>
                </p:txBody>
              </p:sp>
              <p:sp>
                <p:nvSpPr>
                  <p:cNvPr id="325" name="Freeform: Shape 190">
                    <a:extLst>
                      <a:ext uri="{FF2B5EF4-FFF2-40B4-BE49-F238E27FC236}">
                        <a16:creationId xmlns:a16="http://schemas.microsoft.com/office/drawing/2014/main" id="{89941B75-FBAA-2641-B791-3FBB4F1F346E}"/>
                      </a:ext>
                    </a:extLst>
                  </p:cNvPr>
                  <p:cNvSpPr/>
                  <p:nvPr/>
                </p:nvSpPr>
                <p:spPr>
                  <a:xfrm>
                    <a:off x="9572811" y="3204530"/>
                    <a:ext cx="24025" cy="27526"/>
                  </a:xfrm>
                  <a:custGeom>
                    <a:avLst/>
                    <a:gdLst>
                      <a:gd name="connsiteX0" fmla="*/ 6079 w 24025"/>
                      <a:gd name="connsiteY0" fmla="*/ 0 h 27526"/>
                      <a:gd name="connsiteX1" fmla="*/ 1627 w 24025"/>
                      <a:gd name="connsiteY1" fmla="*/ 11200 h 27526"/>
                      <a:gd name="connsiteX2" fmla="*/ 7 w 24025"/>
                      <a:gd name="connsiteY2" fmla="*/ 25368 h 27526"/>
                      <a:gd name="connsiteX3" fmla="*/ 1896 w 24025"/>
                      <a:gd name="connsiteY3" fmla="*/ 27526 h 27526"/>
                      <a:gd name="connsiteX4" fmla="*/ 22406 w 24025"/>
                      <a:gd name="connsiteY4" fmla="*/ 27526 h 27526"/>
                      <a:gd name="connsiteX5" fmla="*/ 24026 w 24025"/>
                      <a:gd name="connsiteY5" fmla="*/ 23344 h 27526"/>
                      <a:gd name="connsiteX6" fmla="*/ 22541 w 24025"/>
                      <a:gd name="connsiteY6" fmla="*/ 11604 h 27526"/>
                      <a:gd name="connsiteX7" fmla="*/ 15525 w 24025"/>
                      <a:gd name="connsiteY7" fmla="*/ 135 h 27526"/>
                      <a:gd name="connsiteX8" fmla="*/ 6079 w 24025"/>
                      <a:gd name="connsiteY8" fmla="*/ 135 h 2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25" h="27526">
                        <a:moveTo>
                          <a:pt x="6079" y="0"/>
                        </a:moveTo>
                        <a:cubicBezTo>
                          <a:pt x="5135" y="1214"/>
                          <a:pt x="1627" y="11200"/>
                          <a:pt x="1627" y="11200"/>
                        </a:cubicBezTo>
                        <a:cubicBezTo>
                          <a:pt x="1627" y="11200"/>
                          <a:pt x="-128" y="25502"/>
                          <a:pt x="7" y="25368"/>
                        </a:cubicBezTo>
                        <a:cubicBezTo>
                          <a:pt x="142" y="25233"/>
                          <a:pt x="1896" y="27526"/>
                          <a:pt x="1896" y="27526"/>
                        </a:cubicBezTo>
                        <a:lnTo>
                          <a:pt x="22406" y="27526"/>
                        </a:lnTo>
                        <a:lnTo>
                          <a:pt x="24026" y="23344"/>
                        </a:lnTo>
                        <a:cubicBezTo>
                          <a:pt x="24026" y="23344"/>
                          <a:pt x="23216" y="11874"/>
                          <a:pt x="22541" y="11604"/>
                        </a:cubicBezTo>
                        <a:cubicBezTo>
                          <a:pt x="21867" y="11334"/>
                          <a:pt x="15525" y="135"/>
                          <a:pt x="15525" y="135"/>
                        </a:cubicBezTo>
                        <a:lnTo>
                          <a:pt x="6079" y="135"/>
                        </a:lnTo>
                        <a:close/>
                      </a:path>
                    </a:pathLst>
                  </a:custGeom>
                  <a:solidFill>
                    <a:srgbClr val="145B82"/>
                  </a:solidFill>
                  <a:ln w="1349" cap="flat">
                    <a:noFill/>
                    <a:prstDash val="solid"/>
                    <a:miter/>
                  </a:ln>
                </p:spPr>
                <p:txBody>
                  <a:bodyPr rtlCol="0" anchor="ctr"/>
                  <a:lstStyle/>
                  <a:p>
                    <a:endParaRPr lang="en-IN">
                      <a:latin typeface="+mn-lt"/>
                    </a:endParaRPr>
                  </a:p>
                </p:txBody>
              </p:sp>
              <p:sp>
                <p:nvSpPr>
                  <p:cNvPr id="326" name="Freeform: Shape 191">
                    <a:extLst>
                      <a:ext uri="{FF2B5EF4-FFF2-40B4-BE49-F238E27FC236}">
                        <a16:creationId xmlns:a16="http://schemas.microsoft.com/office/drawing/2014/main" id="{C27260F8-9164-C64B-ACFC-A80658050270}"/>
                      </a:ext>
                    </a:extLst>
                  </p:cNvPr>
                  <p:cNvSpPr/>
                  <p:nvPr/>
                </p:nvSpPr>
                <p:spPr>
                  <a:xfrm>
                    <a:off x="9592646" y="3199942"/>
                    <a:ext cx="24025" cy="27526"/>
                  </a:xfrm>
                  <a:custGeom>
                    <a:avLst/>
                    <a:gdLst>
                      <a:gd name="connsiteX0" fmla="*/ 6079 w 24025"/>
                      <a:gd name="connsiteY0" fmla="*/ 0 h 27526"/>
                      <a:gd name="connsiteX1" fmla="*/ 1627 w 24025"/>
                      <a:gd name="connsiteY1" fmla="*/ 11199 h 27526"/>
                      <a:gd name="connsiteX2" fmla="*/ 7 w 24025"/>
                      <a:gd name="connsiteY2" fmla="*/ 25367 h 27526"/>
                      <a:gd name="connsiteX3" fmla="*/ 1896 w 24025"/>
                      <a:gd name="connsiteY3" fmla="*/ 27526 h 27526"/>
                      <a:gd name="connsiteX4" fmla="*/ 22407 w 24025"/>
                      <a:gd name="connsiteY4" fmla="*/ 27526 h 27526"/>
                      <a:gd name="connsiteX5" fmla="*/ 24026 w 24025"/>
                      <a:gd name="connsiteY5" fmla="*/ 23343 h 27526"/>
                      <a:gd name="connsiteX6" fmla="*/ 22541 w 24025"/>
                      <a:gd name="connsiteY6" fmla="*/ 11604 h 27526"/>
                      <a:gd name="connsiteX7" fmla="*/ 15525 w 24025"/>
                      <a:gd name="connsiteY7" fmla="*/ 135 h 27526"/>
                      <a:gd name="connsiteX8" fmla="*/ 6079 w 24025"/>
                      <a:gd name="connsiteY8" fmla="*/ 135 h 27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25" h="27526">
                        <a:moveTo>
                          <a:pt x="6079" y="0"/>
                        </a:moveTo>
                        <a:cubicBezTo>
                          <a:pt x="5135" y="1214"/>
                          <a:pt x="1627" y="11199"/>
                          <a:pt x="1627" y="11199"/>
                        </a:cubicBezTo>
                        <a:cubicBezTo>
                          <a:pt x="1627" y="11199"/>
                          <a:pt x="-128" y="25502"/>
                          <a:pt x="7" y="25367"/>
                        </a:cubicBezTo>
                        <a:cubicBezTo>
                          <a:pt x="142" y="25233"/>
                          <a:pt x="1896" y="27526"/>
                          <a:pt x="1896" y="27526"/>
                        </a:cubicBezTo>
                        <a:lnTo>
                          <a:pt x="22407" y="27526"/>
                        </a:lnTo>
                        <a:lnTo>
                          <a:pt x="24026" y="23343"/>
                        </a:lnTo>
                        <a:cubicBezTo>
                          <a:pt x="24026" y="23343"/>
                          <a:pt x="23216" y="11874"/>
                          <a:pt x="22541" y="11604"/>
                        </a:cubicBezTo>
                        <a:cubicBezTo>
                          <a:pt x="21867" y="11334"/>
                          <a:pt x="15525" y="135"/>
                          <a:pt x="15525" y="135"/>
                        </a:cubicBezTo>
                        <a:lnTo>
                          <a:pt x="6079" y="135"/>
                        </a:lnTo>
                        <a:close/>
                      </a:path>
                    </a:pathLst>
                  </a:custGeom>
                  <a:solidFill>
                    <a:srgbClr val="145B82"/>
                  </a:solidFill>
                  <a:ln w="1349" cap="flat">
                    <a:noFill/>
                    <a:prstDash val="solid"/>
                    <a:miter/>
                  </a:ln>
                </p:spPr>
                <p:txBody>
                  <a:bodyPr rtlCol="0" anchor="ctr"/>
                  <a:lstStyle/>
                  <a:p>
                    <a:endParaRPr lang="en-IN">
                      <a:latin typeface="+mn-lt"/>
                    </a:endParaRPr>
                  </a:p>
                </p:txBody>
              </p:sp>
              <p:sp>
                <p:nvSpPr>
                  <p:cNvPr id="327" name="Freeform: Shape 192">
                    <a:extLst>
                      <a:ext uri="{FF2B5EF4-FFF2-40B4-BE49-F238E27FC236}">
                        <a16:creationId xmlns:a16="http://schemas.microsoft.com/office/drawing/2014/main" id="{62597E72-6A37-A24D-BA7C-63671AB1BBAE}"/>
                      </a:ext>
                    </a:extLst>
                  </p:cNvPr>
                  <p:cNvSpPr/>
                  <p:nvPr/>
                </p:nvSpPr>
                <p:spPr>
                  <a:xfrm>
                    <a:off x="9270432" y="3228953"/>
                    <a:ext cx="56402" cy="29280"/>
                  </a:xfrm>
                  <a:custGeom>
                    <a:avLst/>
                    <a:gdLst>
                      <a:gd name="connsiteX0" fmla="*/ 50060 w 56402"/>
                      <a:gd name="connsiteY0" fmla="*/ 28201 h 29280"/>
                      <a:gd name="connsiteX1" fmla="*/ 31305 w 56402"/>
                      <a:gd name="connsiteY1" fmla="*/ 29281 h 29280"/>
                      <a:gd name="connsiteX2" fmla="*/ 4318 w 56402"/>
                      <a:gd name="connsiteY2" fmla="*/ 28336 h 29280"/>
                      <a:gd name="connsiteX3" fmla="*/ 0 w 56402"/>
                      <a:gd name="connsiteY3" fmla="*/ 12009 h 29280"/>
                      <a:gd name="connsiteX4" fmla="*/ 29281 w 56402"/>
                      <a:gd name="connsiteY4" fmla="*/ 405 h 29280"/>
                      <a:gd name="connsiteX5" fmla="*/ 56402 w 56402"/>
                      <a:gd name="connsiteY5" fmla="*/ 0 h 29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402" h="29280">
                        <a:moveTo>
                          <a:pt x="50060" y="28201"/>
                        </a:moveTo>
                        <a:lnTo>
                          <a:pt x="31305" y="29281"/>
                        </a:lnTo>
                        <a:lnTo>
                          <a:pt x="4318" y="28336"/>
                        </a:lnTo>
                        <a:lnTo>
                          <a:pt x="0" y="12009"/>
                        </a:lnTo>
                        <a:lnTo>
                          <a:pt x="29281" y="405"/>
                        </a:lnTo>
                        <a:lnTo>
                          <a:pt x="56402" y="0"/>
                        </a:lnTo>
                        <a:close/>
                      </a:path>
                    </a:pathLst>
                  </a:custGeom>
                  <a:solidFill>
                    <a:srgbClr val="0C3E7A"/>
                  </a:solidFill>
                  <a:ln w="1349" cap="flat">
                    <a:noFill/>
                    <a:prstDash val="solid"/>
                    <a:miter/>
                  </a:ln>
                </p:spPr>
                <p:txBody>
                  <a:bodyPr rtlCol="0" anchor="ctr"/>
                  <a:lstStyle/>
                  <a:p>
                    <a:endParaRPr lang="en-IN">
                      <a:latin typeface="+mn-lt"/>
                    </a:endParaRPr>
                  </a:p>
                </p:txBody>
              </p:sp>
              <p:sp>
                <p:nvSpPr>
                  <p:cNvPr id="328" name="Freeform: Shape 193">
                    <a:extLst>
                      <a:ext uri="{FF2B5EF4-FFF2-40B4-BE49-F238E27FC236}">
                        <a16:creationId xmlns:a16="http://schemas.microsoft.com/office/drawing/2014/main" id="{A42E7856-BB2A-3C45-902E-B23FA74F7DE4}"/>
                      </a:ext>
                    </a:extLst>
                  </p:cNvPr>
                  <p:cNvSpPr/>
                  <p:nvPr/>
                </p:nvSpPr>
                <p:spPr>
                  <a:xfrm>
                    <a:off x="9326835" y="3213571"/>
                    <a:ext cx="39805" cy="20644"/>
                  </a:xfrm>
                  <a:custGeom>
                    <a:avLst/>
                    <a:gdLst>
                      <a:gd name="connsiteX0" fmla="*/ 4453 w 39805"/>
                      <a:gd name="connsiteY0" fmla="*/ 19970 h 20644"/>
                      <a:gd name="connsiteX1" fmla="*/ 17811 w 39805"/>
                      <a:gd name="connsiteY1" fmla="*/ 20645 h 20644"/>
                      <a:gd name="connsiteX2" fmla="*/ 36837 w 39805"/>
                      <a:gd name="connsiteY2" fmla="*/ 19970 h 20644"/>
                      <a:gd name="connsiteX3" fmla="*/ 39805 w 39805"/>
                      <a:gd name="connsiteY3" fmla="*/ 8501 h 20644"/>
                      <a:gd name="connsiteX4" fmla="*/ 19161 w 39805"/>
                      <a:gd name="connsiteY4" fmla="*/ 270 h 20644"/>
                      <a:gd name="connsiteX5" fmla="*/ 0 w 39805"/>
                      <a:gd name="connsiteY5" fmla="*/ 0 h 20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05" h="20644">
                        <a:moveTo>
                          <a:pt x="4453" y="19970"/>
                        </a:moveTo>
                        <a:lnTo>
                          <a:pt x="17811" y="20645"/>
                        </a:lnTo>
                        <a:lnTo>
                          <a:pt x="36837" y="19970"/>
                        </a:lnTo>
                        <a:lnTo>
                          <a:pt x="39805" y="8501"/>
                        </a:lnTo>
                        <a:lnTo>
                          <a:pt x="19161" y="270"/>
                        </a:lnTo>
                        <a:lnTo>
                          <a:pt x="0" y="0"/>
                        </a:lnTo>
                        <a:close/>
                      </a:path>
                    </a:pathLst>
                  </a:custGeom>
                  <a:solidFill>
                    <a:srgbClr val="145B82"/>
                  </a:solidFill>
                  <a:ln w="1349" cap="flat">
                    <a:noFill/>
                    <a:prstDash val="solid"/>
                    <a:miter/>
                  </a:ln>
                </p:spPr>
                <p:txBody>
                  <a:bodyPr rtlCol="0" anchor="ctr"/>
                  <a:lstStyle/>
                  <a:p>
                    <a:endParaRPr lang="en-IN">
                      <a:latin typeface="+mn-lt"/>
                    </a:endParaRPr>
                  </a:p>
                </p:txBody>
              </p:sp>
              <p:sp>
                <p:nvSpPr>
                  <p:cNvPr id="329" name="Freeform: Shape 194">
                    <a:extLst>
                      <a:ext uri="{FF2B5EF4-FFF2-40B4-BE49-F238E27FC236}">
                        <a16:creationId xmlns:a16="http://schemas.microsoft.com/office/drawing/2014/main" id="{B5774678-C9B9-D842-981D-B7A3456B1458}"/>
                      </a:ext>
                    </a:extLst>
                  </p:cNvPr>
                  <p:cNvSpPr/>
                  <p:nvPr/>
                </p:nvSpPr>
                <p:spPr>
                  <a:xfrm>
                    <a:off x="9414136" y="3239748"/>
                    <a:ext cx="39805" cy="20644"/>
                  </a:xfrm>
                  <a:custGeom>
                    <a:avLst/>
                    <a:gdLst>
                      <a:gd name="connsiteX0" fmla="*/ 35353 w 39805"/>
                      <a:gd name="connsiteY0" fmla="*/ 19970 h 20644"/>
                      <a:gd name="connsiteX1" fmla="*/ 21994 w 39805"/>
                      <a:gd name="connsiteY1" fmla="*/ 20645 h 20644"/>
                      <a:gd name="connsiteX2" fmla="*/ 2968 w 39805"/>
                      <a:gd name="connsiteY2" fmla="*/ 19970 h 20644"/>
                      <a:gd name="connsiteX3" fmla="*/ 0 w 39805"/>
                      <a:gd name="connsiteY3" fmla="*/ 8501 h 20644"/>
                      <a:gd name="connsiteX4" fmla="*/ 20645 w 39805"/>
                      <a:gd name="connsiteY4" fmla="*/ 270 h 20644"/>
                      <a:gd name="connsiteX5" fmla="*/ 39805 w 39805"/>
                      <a:gd name="connsiteY5" fmla="*/ 0 h 20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05" h="20644">
                        <a:moveTo>
                          <a:pt x="35353" y="19970"/>
                        </a:moveTo>
                        <a:lnTo>
                          <a:pt x="21994" y="20645"/>
                        </a:lnTo>
                        <a:lnTo>
                          <a:pt x="2968" y="19970"/>
                        </a:lnTo>
                        <a:lnTo>
                          <a:pt x="0" y="8501"/>
                        </a:lnTo>
                        <a:lnTo>
                          <a:pt x="20645" y="270"/>
                        </a:lnTo>
                        <a:lnTo>
                          <a:pt x="39805" y="0"/>
                        </a:lnTo>
                        <a:close/>
                      </a:path>
                    </a:pathLst>
                  </a:custGeom>
                  <a:solidFill>
                    <a:srgbClr val="145B82"/>
                  </a:solidFill>
                  <a:ln w="1349" cap="flat">
                    <a:noFill/>
                    <a:prstDash val="solid"/>
                    <a:miter/>
                  </a:ln>
                </p:spPr>
                <p:txBody>
                  <a:bodyPr rtlCol="0" anchor="ctr"/>
                  <a:lstStyle/>
                  <a:p>
                    <a:endParaRPr lang="en-IN">
                      <a:latin typeface="+mn-lt"/>
                    </a:endParaRPr>
                  </a:p>
                </p:txBody>
              </p:sp>
              <p:sp>
                <p:nvSpPr>
                  <p:cNvPr id="330" name="Freeform: Shape 195">
                    <a:extLst>
                      <a:ext uri="{FF2B5EF4-FFF2-40B4-BE49-F238E27FC236}">
                        <a16:creationId xmlns:a16="http://schemas.microsoft.com/office/drawing/2014/main" id="{1374CB9A-C1E1-3D42-94BD-677DB95936FF}"/>
                      </a:ext>
                    </a:extLst>
                  </p:cNvPr>
                  <p:cNvSpPr/>
                  <p:nvPr/>
                </p:nvSpPr>
                <p:spPr>
                  <a:xfrm>
                    <a:off x="9441914" y="3232866"/>
                    <a:ext cx="35506" cy="40615"/>
                  </a:xfrm>
                  <a:custGeom>
                    <a:avLst/>
                    <a:gdLst>
                      <a:gd name="connsiteX0" fmla="*/ 9195 w 35506"/>
                      <a:gd name="connsiteY0" fmla="*/ 0 h 40615"/>
                      <a:gd name="connsiteX1" fmla="*/ 2448 w 35506"/>
                      <a:gd name="connsiteY1" fmla="*/ 16597 h 40615"/>
                      <a:gd name="connsiteX2" fmla="*/ 19 w 35506"/>
                      <a:gd name="connsiteY2" fmla="*/ 37512 h 40615"/>
                      <a:gd name="connsiteX3" fmla="*/ 2718 w 35506"/>
                      <a:gd name="connsiteY3" fmla="*/ 40615 h 40615"/>
                      <a:gd name="connsiteX4" fmla="*/ 33078 w 35506"/>
                      <a:gd name="connsiteY4" fmla="*/ 40615 h 40615"/>
                      <a:gd name="connsiteX5" fmla="*/ 35507 w 35506"/>
                      <a:gd name="connsiteY5" fmla="*/ 34408 h 40615"/>
                      <a:gd name="connsiteX6" fmla="*/ 33347 w 35506"/>
                      <a:gd name="connsiteY6" fmla="*/ 17002 h 40615"/>
                      <a:gd name="connsiteX7" fmla="*/ 22823 w 35506"/>
                      <a:gd name="connsiteY7" fmla="*/ 0 h 40615"/>
                      <a:gd name="connsiteX8" fmla="*/ 9195 w 35506"/>
                      <a:gd name="connsiteY8" fmla="*/ 0 h 4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06" h="40615">
                        <a:moveTo>
                          <a:pt x="9195" y="0"/>
                        </a:moveTo>
                        <a:cubicBezTo>
                          <a:pt x="7710" y="1754"/>
                          <a:pt x="2448" y="16597"/>
                          <a:pt x="2448" y="16597"/>
                        </a:cubicBezTo>
                        <a:cubicBezTo>
                          <a:pt x="2448" y="16597"/>
                          <a:pt x="-251" y="37647"/>
                          <a:pt x="19" y="37512"/>
                        </a:cubicBezTo>
                        <a:cubicBezTo>
                          <a:pt x="289" y="37377"/>
                          <a:pt x="2718" y="40615"/>
                          <a:pt x="2718" y="40615"/>
                        </a:cubicBezTo>
                        <a:lnTo>
                          <a:pt x="33078" y="40615"/>
                        </a:lnTo>
                        <a:lnTo>
                          <a:pt x="35507" y="34408"/>
                        </a:lnTo>
                        <a:cubicBezTo>
                          <a:pt x="35507" y="34408"/>
                          <a:pt x="34292" y="17406"/>
                          <a:pt x="33347" y="17002"/>
                        </a:cubicBezTo>
                        <a:cubicBezTo>
                          <a:pt x="32403" y="16597"/>
                          <a:pt x="22823" y="0"/>
                          <a:pt x="22823" y="0"/>
                        </a:cubicBezTo>
                        <a:lnTo>
                          <a:pt x="9195" y="0"/>
                        </a:lnTo>
                        <a:close/>
                      </a:path>
                    </a:pathLst>
                  </a:custGeom>
                  <a:solidFill>
                    <a:srgbClr val="0C3E7A"/>
                  </a:solidFill>
                  <a:ln w="1349" cap="flat">
                    <a:noFill/>
                    <a:prstDash val="solid"/>
                    <a:miter/>
                  </a:ln>
                </p:spPr>
                <p:txBody>
                  <a:bodyPr rtlCol="0" anchor="ctr"/>
                  <a:lstStyle/>
                  <a:p>
                    <a:endParaRPr lang="en-IN">
                      <a:latin typeface="+mn-lt"/>
                    </a:endParaRPr>
                  </a:p>
                </p:txBody>
              </p:sp>
              <p:sp>
                <p:nvSpPr>
                  <p:cNvPr id="331" name="Freeform: Shape 196">
                    <a:extLst>
                      <a:ext uri="{FF2B5EF4-FFF2-40B4-BE49-F238E27FC236}">
                        <a16:creationId xmlns:a16="http://schemas.microsoft.com/office/drawing/2014/main" id="{D9B3C003-0C6B-F447-8048-C6393FBC6C51}"/>
                      </a:ext>
                    </a:extLst>
                  </p:cNvPr>
                  <p:cNvSpPr/>
                  <p:nvPr/>
                </p:nvSpPr>
                <p:spPr>
                  <a:xfrm>
                    <a:off x="9739866" y="3227334"/>
                    <a:ext cx="45202" cy="20644"/>
                  </a:xfrm>
                  <a:custGeom>
                    <a:avLst/>
                    <a:gdLst>
                      <a:gd name="connsiteX0" fmla="*/ 0 w 45202"/>
                      <a:gd name="connsiteY0" fmla="*/ 19565 h 20644"/>
                      <a:gd name="connsiteX1" fmla="*/ 18486 w 45202"/>
                      <a:gd name="connsiteY1" fmla="*/ 20645 h 20644"/>
                      <a:gd name="connsiteX2" fmla="*/ 45203 w 45202"/>
                      <a:gd name="connsiteY2" fmla="*/ 19700 h 20644"/>
                      <a:gd name="connsiteX3" fmla="*/ 45203 w 45202"/>
                      <a:gd name="connsiteY3" fmla="*/ 10255 h 20644"/>
                      <a:gd name="connsiteX4" fmla="*/ 19835 w 45202"/>
                      <a:gd name="connsiteY4" fmla="*/ 270 h 20644"/>
                      <a:gd name="connsiteX5" fmla="*/ 675 w 45202"/>
                      <a:gd name="connsiteY5" fmla="*/ 0 h 20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02" h="20644">
                        <a:moveTo>
                          <a:pt x="0" y="19565"/>
                        </a:moveTo>
                        <a:lnTo>
                          <a:pt x="18486" y="20645"/>
                        </a:lnTo>
                        <a:lnTo>
                          <a:pt x="45203" y="19700"/>
                        </a:lnTo>
                        <a:lnTo>
                          <a:pt x="45203" y="10255"/>
                        </a:lnTo>
                        <a:lnTo>
                          <a:pt x="19835" y="270"/>
                        </a:lnTo>
                        <a:lnTo>
                          <a:pt x="675" y="0"/>
                        </a:lnTo>
                        <a:close/>
                      </a:path>
                    </a:pathLst>
                  </a:custGeom>
                  <a:solidFill>
                    <a:srgbClr val="0C3E7A"/>
                  </a:solidFill>
                  <a:ln w="1349" cap="flat">
                    <a:noFill/>
                    <a:prstDash val="solid"/>
                    <a:miter/>
                  </a:ln>
                </p:spPr>
                <p:txBody>
                  <a:bodyPr rtlCol="0" anchor="ctr"/>
                  <a:lstStyle/>
                  <a:p>
                    <a:endParaRPr lang="en-IN">
                      <a:latin typeface="+mn-lt"/>
                    </a:endParaRPr>
                  </a:p>
                </p:txBody>
              </p:sp>
              <p:sp>
                <p:nvSpPr>
                  <p:cNvPr id="332" name="Freeform: Shape 197">
                    <a:extLst>
                      <a:ext uri="{FF2B5EF4-FFF2-40B4-BE49-F238E27FC236}">
                        <a16:creationId xmlns:a16="http://schemas.microsoft.com/office/drawing/2014/main" id="{7FDB4341-CA22-3E4B-ABDA-5B52E56F6D13}"/>
                      </a:ext>
                    </a:extLst>
                  </p:cNvPr>
                  <p:cNvSpPr/>
                  <p:nvPr/>
                </p:nvSpPr>
                <p:spPr>
                  <a:xfrm>
                    <a:off x="9468380" y="3206554"/>
                    <a:ext cx="53433" cy="20644"/>
                  </a:xfrm>
                  <a:custGeom>
                    <a:avLst/>
                    <a:gdLst>
                      <a:gd name="connsiteX0" fmla="*/ 53434 w 53433"/>
                      <a:gd name="connsiteY0" fmla="*/ 19700 h 20644"/>
                      <a:gd name="connsiteX1" fmla="*/ 35623 w 53433"/>
                      <a:gd name="connsiteY1" fmla="*/ 20645 h 20644"/>
                      <a:gd name="connsiteX2" fmla="*/ 3104 w 53433"/>
                      <a:gd name="connsiteY2" fmla="*/ 19296 h 20644"/>
                      <a:gd name="connsiteX3" fmla="*/ 0 w 53433"/>
                      <a:gd name="connsiteY3" fmla="*/ 7691 h 20644"/>
                      <a:gd name="connsiteX4" fmla="*/ 34273 w 53433"/>
                      <a:gd name="connsiteY4" fmla="*/ 405 h 20644"/>
                      <a:gd name="connsiteX5" fmla="*/ 53434 w 53433"/>
                      <a:gd name="connsiteY5" fmla="*/ 0 h 20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33" h="20644">
                        <a:moveTo>
                          <a:pt x="53434" y="19700"/>
                        </a:moveTo>
                        <a:lnTo>
                          <a:pt x="35623" y="20645"/>
                        </a:lnTo>
                        <a:lnTo>
                          <a:pt x="3104" y="19296"/>
                        </a:lnTo>
                        <a:lnTo>
                          <a:pt x="0" y="7691"/>
                        </a:lnTo>
                        <a:lnTo>
                          <a:pt x="34273" y="405"/>
                        </a:lnTo>
                        <a:lnTo>
                          <a:pt x="53434" y="0"/>
                        </a:lnTo>
                        <a:close/>
                      </a:path>
                    </a:pathLst>
                  </a:custGeom>
                  <a:solidFill>
                    <a:srgbClr val="145B82"/>
                  </a:solidFill>
                  <a:ln w="1349" cap="flat">
                    <a:noFill/>
                    <a:prstDash val="solid"/>
                    <a:miter/>
                  </a:ln>
                </p:spPr>
                <p:txBody>
                  <a:bodyPr rtlCol="0" anchor="ctr"/>
                  <a:lstStyle/>
                  <a:p>
                    <a:endParaRPr lang="en-IN">
                      <a:latin typeface="+mn-lt"/>
                    </a:endParaRPr>
                  </a:p>
                </p:txBody>
              </p:sp>
              <p:sp>
                <p:nvSpPr>
                  <p:cNvPr id="333" name="Freeform: Shape 198">
                    <a:extLst>
                      <a:ext uri="{FF2B5EF4-FFF2-40B4-BE49-F238E27FC236}">
                        <a16:creationId xmlns:a16="http://schemas.microsoft.com/office/drawing/2014/main" id="{23E58556-A20F-8A4B-8DF3-F99AAB4A484E}"/>
                      </a:ext>
                    </a:extLst>
                  </p:cNvPr>
                  <p:cNvSpPr/>
                  <p:nvPr/>
                </p:nvSpPr>
                <p:spPr>
                  <a:xfrm>
                    <a:off x="9596027" y="3211277"/>
                    <a:ext cx="39805" cy="20644"/>
                  </a:xfrm>
                  <a:custGeom>
                    <a:avLst/>
                    <a:gdLst>
                      <a:gd name="connsiteX0" fmla="*/ 39805 w 39805"/>
                      <a:gd name="connsiteY0" fmla="*/ 19565 h 20644"/>
                      <a:gd name="connsiteX1" fmla="*/ 21994 w 39805"/>
                      <a:gd name="connsiteY1" fmla="*/ 20645 h 20644"/>
                      <a:gd name="connsiteX2" fmla="*/ 2968 w 39805"/>
                      <a:gd name="connsiteY2" fmla="*/ 19970 h 20644"/>
                      <a:gd name="connsiteX3" fmla="*/ 0 w 39805"/>
                      <a:gd name="connsiteY3" fmla="*/ 8366 h 20644"/>
                      <a:gd name="connsiteX4" fmla="*/ 20645 w 39805"/>
                      <a:gd name="connsiteY4" fmla="*/ 270 h 20644"/>
                      <a:gd name="connsiteX5" fmla="*/ 39805 w 39805"/>
                      <a:gd name="connsiteY5" fmla="*/ 0 h 20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05" h="20644">
                        <a:moveTo>
                          <a:pt x="39805" y="19565"/>
                        </a:moveTo>
                        <a:lnTo>
                          <a:pt x="21994" y="20645"/>
                        </a:lnTo>
                        <a:lnTo>
                          <a:pt x="2968" y="19970"/>
                        </a:lnTo>
                        <a:lnTo>
                          <a:pt x="0" y="8366"/>
                        </a:lnTo>
                        <a:lnTo>
                          <a:pt x="20645" y="270"/>
                        </a:lnTo>
                        <a:lnTo>
                          <a:pt x="39805" y="0"/>
                        </a:lnTo>
                        <a:close/>
                      </a:path>
                    </a:pathLst>
                  </a:custGeom>
                  <a:solidFill>
                    <a:srgbClr val="145B82"/>
                  </a:solidFill>
                  <a:ln w="1349" cap="flat">
                    <a:noFill/>
                    <a:prstDash val="solid"/>
                    <a:miter/>
                  </a:ln>
                </p:spPr>
                <p:txBody>
                  <a:bodyPr rtlCol="0" anchor="ctr"/>
                  <a:lstStyle/>
                  <a:p>
                    <a:endParaRPr lang="en-IN">
                      <a:latin typeface="+mn-lt"/>
                    </a:endParaRPr>
                  </a:p>
                </p:txBody>
              </p:sp>
              <p:sp>
                <p:nvSpPr>
                  <p:cNvPr id="334" name="Freeform: Shape 199">
                    <a:extLst>
                      <a:ext uri="{FF2B5EF4-FFF2-40B4-BE49-F238E27FC236}">
                        <a16:creationId xmlns:a16="http://schemas.microsoft.com/office/drawing/2014/main" id="{66235B3E-6CE8-B742-9741-3293003FE606}"/>
                      </a:ext>
                    </a:extLst>
                  </p:cNvPr>
                  <p:cNvSpPr/>
                  <p:nvPr/>
                </p:nvSpPr>
                <p:spPr>
                  <a:xfrm>
                    <a:off x="8880339" y="3206149"/>
                    <a:ext cx="42638" cy="22264"/>
                  </a:xfrm>
                  <a:custGeom>
                    <a:avLst/>
                    <a:gdLst>
                      <a:gd name="connsiteX0" fmla="*/ 38321 w 42638"/>
                      <a:gd name="connsiteY0" fmla="*/ 21589 h 22264"/>
                      <a:gd name="connsiteX1" fmla="*/ 25367 w 42638"/>
                      <a:gd name="connsiteY1" fmla="*/ 22264 h 22264"/>
                      <a:gd name="connsiteX2" fmla="*/ 0 w 42638"/>
                      <a:gd name="connsiteY2" fmla="*/ 21319 h 22264"/>
                      <a:gd name="connsiteX3" fmla="*/ 3913 w 42638"/>
                      <a:gd name="connsiteY3" fmla="*/ 10390 h 22264"/>
                      <a:gd name="connsiteX4" fmla="*/ 24018 w 42638"/>
                      <a:gd name="connsiteY4" fmla="*/ 405 h 22264"/>
                      <a:gd name="connsiteX5" fmla="*/ 42639 w 42638"/>
                      <a:gd name="connsiteY5" fmla="*/ 0 h 2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38" h="22264">
                        <a:moveTo>
                          <a:pt x="38321" y="21589"/>
                        </a:moveTo>
                        <a:lnTo>
                          <a:pt x="25367" y="22264"/>
                        </a:lnTo>
                        <a:lnTo>
                          <a:pt x="0" y="21319"/>
                        </a:lnTo>
                        <a:lnTo>
                          <a:pt x="3913" y="10390"/>
                        </a:lnTo>
                        <a:lnTo>
                          <a:pt x="24018" y="405"/>
                        </a:lnTo>
                        <a:lnTo>
                          <a:pt x="42639" y="0"/>
                        </a:lnTo>
                        <a:close/>
                      </a:path>
                    </a:pathLst>
                  </a:custGeom>
                  <a:solidFill>
                    <a:srgbClr val="145B82"/>
                  </a:solidFill>
                  <a:ln w="1349" cap="flat">
                    <a:noFill/>
                    <a:prstDash val="solid"/>
                    <a:miter/>
                  </a:ln>
                </p:spPr>
                <p:txBody>
                  <a:bodyPr rtlCol="0" anchor="ctr"/>
                  <a:lstStyle/>
                  <a:p>
                    <a:endParaRPr lang="en-IN">
                      <a:latin typeface="+mn-lt"/>
                    </a:endParaRPr>
                  </a:p>
                </p:txBody>
              </p:sp>
              <p:sp>
                <p:nvSpPr>
                  <p:cNvPr id="335" name="Freeform: Shape 200">
                    <a:extLst>
                      <a:ext uri="{FF2B5EF4-FFF2-40B4-BE49-F238E27FC236}">
                        <a16:creationId xmlns:a16="http://schemas.microsoft.com/office/drawing/2014/main" id="{475AC4F8-CBFC-CB40-A2D1-F360B6D31477}"/>
                      </a:ext>
                    </a:extLst>
                  </p:cNvPr>
                  <p:cNvSpPr/>
                  <p:nvPr/>
                </p:nvSpPr>
                <p:spPr>
                  <a:xfrm>
                    <a:off x="9002724" y="3205205"/>
                    <a:ext cx="44123" cy="25097"/>
                  </a:xfrm>
                  <a:custGeom>
                    <a:avLst/>
                    <a:gdLst>
                      <a:gd name="connsiteX0" fmla="*/ 0 w 44123"/>
                      <a:gd name="connsiteY0" fmla="*/ 22399 h 25097"/>
                      <a:gd name="connsiteX1" fmla="*/ 41155 w 44123"/>
                      <a:gd name="connsiteY1" fmla="*/ 25098 h 25097"/>
                      <a:gd name="connsiteX2" fmla="*/ 44123 w 44123"/>
                      <a:gd name="connsiteY2" fmla="*/ 13898 h 25097"/>
                      <a:gd name="connsiteX3" fmla="*/ 25233 w 44123"/>
                      <a:gd name="connsiteY3" fmla="*/ 945 h 25097"/>
                      <a:gd name="connsiteX4" fmla="*/ 0 w 44123"/>
                      <a:gd name="connsiteY4" fmla="*/ 0 h 25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23" h="25097">
                        <a:moveTo>
                          <a:pt x="0" y="22399"/>
                        </a:moveTo>
                        <a:lnTo>
                          <a:pt x="41155" y="25098"/>
                        </a:lnTo>
                        <a:lnTo>
                          <a:pt x="44123" y="13898"/>
                        </a:lnTo>
                        <a:lnTo>
                          <a:pt x="25233" y="945"/>
                        </a:lnTo>
                        <a:lnTo>
                          <a:pt x="0" y="0"/>
                        </a:lnTo>
                        <a:close/>
                      </a:path>
                    </a:pathLst>
                  </a:custGeom>
                  <a:solidFill>
                    <a:srgbClr val="145B82"/>
                  </a:solidFill>
                  <a:ln w="1349" cap="flat">
                    <a:noFill/>
                    <a:prstDash val="solid"/>
                    <a:miter/>
                  </a:ln>
                </p:spPr>
                <p:txBody>
                  <a:bodyPr rtlCol="0" anchor="ctr"/>
                  <a:lstStyle/>
                  <a:p>
                    <a:endParaRPr lang="en-IN">
                      <a:latin typeface="+mn-lt"/>
                    </a:endParaRPr>
                  </a:p>
                </p:txBody>
              </p:sp>
              <p:sp>
                <p:nvSpPr>
                  <p:cNvPr id="336" name="Freeform: Shape 201">
                    <a:extLst>
                      <a:ext uri="{FF2B5EF4-FFF2-40B4-BE49-F238E27FC236}">
                        <a16:creationId xmlns:a16="http://schemas.microsoft.com/office/drawing/2014/main" id="{C3D9D540-2381-8A44-B531-07B7B826B69F}"/>
                      </a:ext>
                    </a:extLst>
                  </p:cNvPr>
                  <p:cNvSpPr/>
                  <p:nvPr/>
                </p:nvSpPr>
                <p:spPr>
                  <a:xfrm>
                    <a:off x="8818405" y="3212356"/>
                    <a:ext cx="44932" cy="20105"/>
                  </a:xfrm>
                  <a:custGeom>
                    <a:avLst/>
                    <a:gdLst>
                      <a:gd name="connsiteX0" fmla="*/ 40615 w 44932"/>
                      <a:gd name="connsiteY0" fmla="*/ 19430 h 20105"/>
                      <a:gd name="connsiteX1" fmla="*/ 27661 w 44932"/>
                      <a:gd name="connsiteY1" fmla="*/ 20105 h 20105"/>
                      <a:gd name="connsiteX2" fmla="*/ 2834 w 44932"/>
                      <a:gd name="connsiteY2" fmla="*/ 19430 h 20105"/>
                      <a:gd name="connsiteX3" fmla="*/ 0 w 44932"/>
                      <a:gd name="connsiteY3" fmla="*/ 8231 h 20105"/>
                      <a:gd name="connsiteX4" fmla="*/ 26312 w 44932"/>
                      <a:gd name="connsiteY4" fmla="*/ 270 h 20105"/>
                      <a:gd name="connsiteX5" fmla="*/ 44933 w 44932"/>
                      <a:gd name="connsiteY5" fmla="*/ 0 h 2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932" h="20105">
                        <a:moveTo>
                          <a:pt x="40615" y="19430"/>
                        </a:moveTo>
                        <a:lnTo>
                          <a:pt x="27661" y="20105"/>
                        </a:lnTo>
                        <a:lnTo>
                          <a:pt x="2834" y="19430"/>
                        </a:lnTo>
                        <a:lnTo>
                          <a:pt x="0" y="8231"/>
                        </a:lnTo>
                        <a:lnTo>
                          <a:pt x="26312" y="270"/>
                        </a:lnTo>
                        <a:lnTo>
                          <a:pt x="44933" y="0"/>
                        </a:lnTo>
                        <a:close/>
                      </a:path>
                    </a:pathLst>
                  </a:custGeom>
                  <a:solidFill>
                    <a:srgbClr val="145B82"/>
                  </a:solidFill>
                  <a:ln w="1349" cap="flat">
                    <a:noFill/>
                    <a:prstDash val="solid"/>
                    <a:miter/>
                  </a:ln>
                </p:spPr>
                <p:txBody>
                  <a:bodyPr rtlCol="0" anchor="ctr"/>
                  <a:lstStyle/>
                  <a:p>
                    <a:endParaRPr lang="en-IN">
                      <a:latin typeface="+mn-lt"/>
                    </a:endParaRPr>
                  </a:p>
                </p:txBody>
              </p:sp>
              <p:sp>
                <p:nvSpPr>
                  <p:cNvPr id="337" name="Freeform: Shape 202">
                    <a:extLst>
                      <a:ext uri="{FF2B5EF4-FFF2-40B4-BE49-F238E27FC236}">
                        <a16:creationId xmlns:a16="http://schemas.microsoft.com/office/drawing/2014/main" id="{97A8A14B-B33E-D34B-8C13-D1CC7C7E0565}"/>
                      </a:ext>
                    </a:extLst>
                  </p:cNvPr>
                  <p:cNvSpPr/>
                  <p:nvPr/>
                </p:nvSpPr>
                <p:spPr>
                  <a:xfrm>
                    <a:off x="9107432" y="3212356"/>
                    <a:ext cx="47361" cy="20105"/>
                  </a:xfrm>
                  <a:custGeom>
                    <a:avLst/>
                    <a:gdLst>
                      <a:gd name="connsiteX0" fmla="*/ 47362 w 47361"/>
                      <a:gd name="connsiteY0" fmla="*/ 19026 h 20105"/>
                      <a:gd name="connsiteX1" fmla="*/ 27661 w 47361"/>
                      <a:gd name="connsiteY1" fmla="*/ 20105 h 20105"/>
                      <a:gd name="connsiteX2" fmla="*/ 2834 w 47361"/>
                      <a:gd name="connsiteY2" fmla="*/ 19430 h 20105"/>
                      <a:gd name="connsiteX3" fmla="*/ 0 w 47361"/>
                      <a:gd name="connsiteY3" fmla="*/ 8231 h 20105"/>
                      <a:gd name="connsiteX4" fmla="*/ 26312 w 47361"/>
                      <a:gd name="connsiteY4" fmla="*/ 270 h 20105"/>
                      <a:gd name="connsiteX5" fmla="*/ 44933 w 47361"/>
                      <a:gd name="connsiteY5" fmla="*/ 0 h 2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61" h="20105">
                        <a:moveTo>
                          <a:pt x="47362" y="19026"/>
                        </a:moveTo>
                        <a:lnTo>
                          <a:pt x="27661" y="20105"/>
                        </a:lnTo>
                        <a:lnTo>
                          <a:pt x="2834" y="19430"/>
                        </a:lnTo>
                        <a:lnTo>
                          <a:pt x="0" y="8231"/>
                        </a:lnTo>
                        <a:lnTo>
                          <a:pt x="26312" y="270"/>
                        </a:lnTo>
                        <a:lnTo>
                          <a:pt x="44933" y="0"/>
                        </a:lnTo>
                        <a:close/>
                      </a:path>
                    </a:pathLst>
                  </a:custGeom>
                  <a:solidFill>
                    <a:srgbClr val="145B82"/>
                  </a:solidFill>
                  <a:ln w="1349" cap="flat">
                    <a:noFill/>
                    <a:prstDash val="solid"/>
                    <a:miter/>
                  </a:ln>
                </p:spPr>
                <p:txBody>
                  <a:bodyPr rtlCol="0" anchor="ctr"/>
                  <a:lstStyle/>
                  <a:p>
                    <a:endParaRPr lang="en-IN">
                      <a:latin typeface="+mn-lt"/>
                    </a:endParaRPr>
                  </a:p>
                </p:txBody>
              </p:sp>
              <p:sp>
                <p:nvSpPr>
                  <p:cNvPr id="338" name="Freeform: Shape 203">
                    <a:extLst>
                      <a:ext uri="{FF2B5EF4-FFF2-40B4-BE49-F238E27FC236}">
                        <a16:creationId xmlns:a16="http://schemas.microsoft.com/office/drawing/2014/main" id="{7653AC89-D17A-D743-B983-5E190A394B40}"/>
                      </a:ext>
                    </a:extLst>
                  </p:cNvPr>
                  <p:cNvSpPr/>
                  <p:nvPr/>
                </p:nvSpPr>
                <p:spPr>
                  <a:xfrm>
                    <a:off x="9207013" y="3212356"/>
                    <a:ext cx="45068" cy="20105"/>
                  </a:xfrm>
                  <a:custGeom>
                    <a:avLst/>
                    <a:gdLst>
                      <a:gd name="connsiteX0" fmla="*/ 40615 w 45068"/>
                      <a:gd name="connsiteY0" fmla="*/ 19430 h 20105"/>
                      <a:gd name="connsiteX1" fmla="*/ 27796 w 45068"/>
                      <a:gd name="connsiteY1" fmla="*/ 20105 h 20105"/>
                      <a:gd name="connsiteX2" fmla="*/ 2968 w 45068"/>
                      <a:gd name="connsiteY2" fmla="*/ 19430 h 20105"/>
                      <a:gd name="connsiteX3" fmla="*/ 0 w 45068"/>
                      <a:gd name="connsiteY3" fmla="*/ 8231 h 20105"/>
                      <a:gd name="connsiteX4" fmla="*/ 26447 w 45068"/>
                      <a:gd name="connsiteY4" fmla="*/ 270 h 20105"/>
                      <a:gd name="connsiteX5" fmla="*/ 45068 w 45068"/>
                      <a:gd name="connsiteY5" fmla="*/ 0 h 2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68" h="20105">
                        <a:moveTo>
                          <a:pt x="40615" y="19430"/>
                        </a:moveTo>
                        <a:lnTo>
                          <a:pt x="27796" y="20105"/>
                        </a:lnTo>
                        <a:lnTo>
                          <a:pt x="2968" y="19430"/>
                        </a:lnTo>
                        <a:lnTo>
                          <a:pt x="0" y="8231"/>
                        </a:lnTo>
                        <a:lnTo>
                          <a:pt x="26447" y="270"/>
                        </a:lnTo>
                        <a:lnTo>
                          <a:pt x="45068" y="0"/>
                        </a:lnTo>
                        <a:close/>
                      </a:path>
                    </a:pathLst>
                  </a:custGeom>
                  <a:solidFill>
                    <a:srgbClr val="145B82"/>
                  </a:solidFill>
                  <a:ln w="1349" cap="flat">
                    <a:noFill/>
                    <a:prstDash val="solid"/>
                    <a:miter/>
                  </a:ln>
                </p:spPr>
                <p:txBody>
                  <a:bodyPr rtlCol="0" anchor="ctr"/>
                  <a:lstStyle/>
                  <a:p>
                    <a:endParaRPr lang="en-IN">
                      <a:latin typeface="+mn-lt"/>
                    </a:endParaRPr>
                  </a:p>
                </p:txBody>
              </p:sp>
            </p:grpSp>
            <p:grpSp>
              <p:nvGrpSpPr>
                <p:cNvPr id="147" name="Graphic 1">
                  <a:extLst>
                    <a:ext uri="{FF2B5EF4-FFF2-40B4-BE49-F238E27FC236}">
                      <a16:creationId xmlns:a16="http://schemas.microsoft.com/office/drawing/2014/main" id="{5DF16EC8-F6DA-7F42-9067-0258ECD3B66E}"/>
                    </a:ext>
                  </a:extLst>
                </p:cNvPr>
                <p:cNvGrpSpPr/>
                <p:nvPr/>
              </p:nvGrpSpPr>
              <p:grpSpPr>
                <a:xfrm flipH="1">
                  <a:off x="-160617" y="4476435"/>
                  <a:ext cx="1776987" cy="1313193"/>
                  <a:chOff x="8281774" y="2597329"/>
                  <a:chExt cx="1508950" cy="1115114"/>
                </a:xfrm>
                <a:solidFill>
                  <a:schemeClr val="accent1"/>
                </a:solidFill>
              </p:grpSpPr>
              <p:sp>
                <p:nvSpPr>
                  <p:cNvPr id="271" name="Freeform: Shape 136">
                    <a:extLst>
                      <a:ext uri="{FF2B5EF4-FFF2-40B4-BE49-F238E27FC236}">
                        <a16:creationId xmlns:a16="http://schemas.microsoft.com/office/drawing/2014/main" id="{FDAE7C90-7290-C245-9D43-F46E2B97A519}"/>
                      </a:ext>
                    </a:extLst>
                  </p:cNvPr>
                  <p:cNvSpPr/>
                  <p:nvPr/>
                </p:nvSpPr>
                <p:spPr>
                  <a:xfrm>
                    <a:off x="8411941" y="2830494"/>
                    <a:ext cx="124317" cy="190796"/>
                  </a:xfrm>
                  <a:custGeom>
                    <a:avLst/>
                    <a:gdLst>
                      <a:gd name="connsiteX0" fmla="*/ 124318 w 124317"/>
                      <a:gd name="connsiteY0" fmla="*/ 81365 h 190796"/>
                      <a:gd name="connsiteX1" fmla="*/ 59549 w 124317"/>
                      <a:gd name="connsiteY1" fmla="*/ 190796 h 190796"/>
                      <a:gd name="connsiteX2" fmla="*/ 43897 w 124317"/>
                      <a:gd name="connsiteY2" fmla="*/ 147213 h 190796"/>
                      <a:gd name="connsiteX3" fmla="*/ 19339 w 124317"/>
                      <a:gd name="connsiteY3" fmla="*/ 140736 h 190796"/>
                      <a:gd name="connsiteX4" fmla="*/ 853 w 124317"/>
                      <a:gd name="connsiteY4" fmla="*/ 81230 h 190796"/>
                      <a:gd name="connsiteX5" fmla="*/ 10029 w 124317"/>
                      <a:gd name="connsiteY5" fmla="*/ 12954 h 190796"/>
                      <a:gd name="connsiteX6" fmla="*/ 62518 w 124317"/>
                      <a:gd name="connsiteY6" fmla="*/ 0 h 190796"/>
                      <a:gd name="connsiteX7" fmla="*/ 124318 w 124317"/>
                      <a:gd name="connsiteY7" fmla="*/ 81365 h 190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17" h="190796">
                        <a:moveTo>
                          <a:pt x="124318" y="81365"/>
                        </a:moveTo>
                        <a:cubicBezTo>
                          <a:pt x="124318" y="126298"/>
                          <a:pt x="93553" y="190796"/>
                          <a:pt x="59549" y="190796"/>
                        </a:cubicBezTo>
                        <a:cubicBezTo>
                          <a:pt x="48890" y="190796"/>
                          <a:pt x="43897" y="147213"/>
                          <a:pt x="43897" y="147213"/>
                        </a:cubicBezTo>
                        <a:lnTo>
                          <a:pt x="19339" y="140736"/>
                        </a:lnTo>
                        <a:cubicBezTo>
                          <a:pt x="15831" y="126568"/>
                          <a:pt x="853" y="98097"/>
                          <a:pt x="853" y="81230"/>
                        </a:cubicBezTo>
                        <a:cubicBezTo>
                          <a:pt x="853" y="55458"/>
                          <a:pt x="-4139" y="27796"/>
                          <a:pt x="10029" y="12954"/>
                        </a:cubicBezTo>
                        <a:cubicBezTo>
                          <a:pt x="20553" y="1889"/>
                          <a:pt x="48080" y="0"/>
                          <a:pt x="62518" y="0"/>
                        </a:cubicBezTo>
                        <a:cubicBezTo>
                          <a:pt x="96656" y="135"/>
                          <a:pt x="124318" y="36567"/>
                          <a:pt x="124318" y="81365"/>
                        </a:cubicBezTo>
                        <a:close/>
                      </a:path>
                    </a:pathLst>
                  </a:custGeom>
                  <a:solidFill>
                    <a:srgbClr val="1C6D91"/>
                  </a:solidFill>
                  <a:ln w="1349" cap="flat">
                    <a:noFill/>
                    <a:prstDash val="solid"/>
                    <a:miter/>
                  </a:ln>
                </p:spPr>
                <p:txBody>
                  <a:bodyPr rtlCol="0" anchor="ctr"/>
                  <a:lstStyle/>
                  <a:p>
                    <a:endParaRPr lang="en-IN">
                      <a:latin typeface="+mn-lt"/>
                    </a:endParaRPr>
                  </a:p>
                </p:txBody>
              </p:sp>
              <p:sp>
                <p:nvSpPr>
                  <p:cNvPr id="272" name="Freeform: Shape 137">
                    <a:extLst>
                      <a:ext uri="{FF2B5EF4-FFF2-40B4-BE49-F238E27FC236}">
                        <a16:creationId xmlns:a16="http://schemas.microsoft.com/office/drawing/2014/main" id="{B6A5CDAB-860D-D144-8851-AA754F9495C6}"/>
                      </a:ext>
                    </a:extLst>
                  </p:cNvPr>
                  <p:cNvSpPr/>
                  <p:nvPr/>
                </p:nvSpPr>
                <p:spPr>
                  <a:xfrm>
                    <a:off x="8304577" y="2867466"/>
                    <a:ext cx="239471" cy="811895"/>
                  </a:xfrm>
                  <a:custGeom>
                    <a:avLst/>
                    <a:gdLst>
                      <a:gd name="connsiteX0" fmla="*/ 76912 w 239471"/>
                      <a:gd name="connsiteY0" fmla="*/ 811895 h 811895"/>
                      <a:gd name="connsiteX1" fmla="*/ 81635 w 239471"/>
                      <a:gd name="connsiteY1" fmla="*/ 694098 h 811895"/>
                      <a:gd name="connsiteX2" fmla="*/ 123869 w 239471"/>
                      <a:gd name="connsiteY2" fmla="*/ 530694 h 811895"/>
                      <a:gd name="connsiteX3" fmla="*/ 169882 w 239471"/>
                      <a:gd name="connsiteY3" fmla="*/ 811625 h 811895"/>
                      <a:gd name="connsiteX4" fmla="*/ 184454 w 239471"/>
                      <a:gd name="connsiteY4" fmla="*/ 808792 h 811895"/>
                      <a:gd name="connsiteX5" fmla="*/ 197678 w 239471"/>
                      <a:gd name="connsiteY5" fmla="*/ 531233 h 811895"/>
                      <a:gd name="connsiteX6" fmla="*/ 217918 w 239471"/>
                      <a:gd name="connsiteY6" fmla="*/ 489269 h 811895"/>
                      <a:gd name="connsiteX7" fmla="*/ 238832 w 239471"/>
                      <a:gd name="connsiteY7" fmla="*/ 384426 h 811895"/>
                      <a:gd name="connsiteX8" fmla="*/ 204964 w 239471"/>
                      <a:gd name="connsiteY8" fmla="*/ 153689 h 811895"/>
                      <a:gd name="connsiteX9" fmla="*/ 40480 w 239471"/>
                      <a:gd name="connsiteY9" fmla="*/ 119281 h 811895"/>
                      <a:gd name="connsiteX10" fmla="*/ 29820 w 239471"/>
                      <a:gd name="connsiteY10" fmla="*/ 9580 h 811895"/>
                      <a:gd name="connsiteX11" fmla="*/ 1080 w 239471"/>
                      <a:gd name="connsiteY11" fmla="*/ 0 h 811895"/>
                      <a:gd name="connsiteX12" fmla="*/ 0 w 239471"/>
                      <a:gd name="connsiteY12" fmla="*/ 156658 h 811895"/>
                      <a:gd name="connsiteX13" fmla="*/ 94858 w 239471"/>
                      <a:gd name="connsiteY13" fmla="*/ 195654 h 811895"/>
                      <a:gd name="connsiteX14" fmla="*/ 46282 w 239471"/>
                      <a:gd name="connsiteY14" fmla="*/ 454591 h 811895"/>
                      <a:gd name="connsiteX15" fmla="*/ 33599 w 239471"/>
                      <a:gd name="connsiteY15" fmla="*/ 706107 h 811895"/>
                      <a:gd name="connsiteX16" fmla="*/ 34138 w 239471"/>
                      <a:gd name="connsiteY16" fmla="*/ 811760 h 811895"/>
                      <a:gd name="connsiteX17" fmla="*/ 76912 w 239471"/>
                      <a:gd name="connsiteY17" fmla="*/ 811895 h 81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9471" h="811895">
                        <a:moveTo>
                          <a:pt x="76912" y="811895"/>
                        </a:moveTo>
                        <a:lnTo>
                          <a:pt x="81635" y="694098"/>
                        </a:lnTo>
                        <a:cubicBezTo>
                          <a:pt x="81635" y="694098"/>
                          <a:pt x="113749" y="515986"/>
                          <a:pt x="123869" y="530694"/>
                        </a:cubicBezTo>
                        <a:cubicBezTo>
                          <a:pt x="133989" y="545536"/>
                          <a:pt x="169882" y="811625"/>
                          <a:pt x="169882" y="811625"/>
                        </a:cubicBezTo>
                        <a:lnTo>
                          <a:pt x="184454" y="808792"/>
                        </a:lnTo>
                        <a:lnTo>
                          <a:pt x="197678" y="531233"/>
                        </a:lnTo>
                        <a:cubicBezTo>
                          <a:pt x="197678" y="531233"/>
                          <a:pt x="217918" y="496690"/>
                          <a:pt x="217918" y="489269"/>
                        </a:cubicBezTo>
                        <a:cubicBezTo>
                          <a:pt x="217918" y="481848"/>
                          <a:pt x="243825" y="416540"/>
                          <a:pt x="238832" y="384426"/>
                        </a:cubicBezTo>
                        <a:cubicBezTo>
                          <a:pt x="233840" y="352312"/>
                          <a:pt x="230197" y="151395"/>
                          <a:pt x="204964" y="153689"/>
                        </a:cubicBezTo>
                        <a:cubicBezTo>
                          <a:pt x="187963" y="155174"/>
                          <a:pt x="47901" y="122924"/>
                          <a:pt x="40480" y="119281"/>
                        </a:cubicBezTo>
                        <a:lnTo>
                          <a:pt x="29820" y="9580"/>
                        </a:lnTo>
                        <a:lnTo>
                          <a:pt x="1080" y="0"/>
                        </a:lnTo>
                        <a:lnTo>
                          <a:pt x="0" y="156658"/>
                        </a:lnTo>
                        <a:lnTo>
                          <a:pt x="94858" y="195654"/>
                        </a:lnTo>
                        <a:cubicBezTo>
                          <a:pt x="94858" y="195654"/>
                          <a:pt x="41560" y="376330"/>
                          <a:pt x="46282" y="454591"/>
                        </a:cubicBezTo>
                        <a:cubicBezTo>
                          <a:pt x="47092" y="466870"/>
                          <a:pt x="32114" y="670890"/>
                          <a:pt x="33599" y="706107"/>
                        </a:cubicBezTo>
                        <a:cubicBezTo>
                          <a:pt x="35083" y="740515"/>
                          <a:pt x="34138" y="811760"/>
                          <a:pt x="34138" y="811760"/>
                        </a:cubicBezTo>
                        <a:lnTo>
                          <a:pt x="76912" y="811895"/>
                        </a:lnTo>
                        <a:close/>
                      </a:path>
                    </a:pathLst>
                  </a:custGeom>
                  <a:solidFill>
                    <a:srgbClr val="1C6D91"/>
                  </a:solidFill>
                  <a:ln w="1349" cap="flat">
                    <a:noFill/>
                    <a:prstDash val="solid"/>
                    <a:miter/>
                  </a:ln>
                </p:spPr>
                <p:txBody>
                  <a:bodyPr rtlCol="0" anchor="ctr"/>
                  <a:lstStyle/>
                  <a:p>
                    <a:endParaRPr lang="en-IN">
                      <a:latin typeface="+mn-lt"/>
                    </a:endParaRPr>
                  </a:p>
                </p:txBody>
              </p:sp>
              <p:sp>
                <p:nvSpPr>
                  <p:cNvPr id="273" name="Freeform: Shape 138">
                    <a:extLst>
                      <a:ext uri="{FF2B5EF4-FFF2-40B4-BE49-F238E27FC236}">
                        <a16:creationId xmlns:a16="http://schemas.microsoft.com/office/drawing/2014/main" id="{0B66ACF8-9574-5A44-9DAE-0C6D708311F4}"/>
                      </a:ext>
                    </a:extLst>
                  </p:cNvPr>
                  <p:cNvSpPr/>
                  <p:nvPr/>
                </p:nvSpPr>
                <p:spPr>
                  <a:xfrm>
                    <a:off x="8507781" y="2777628"/>
                    <a:ext cx="143748" cy="160327"/>
                  </a:xfrm>
                  <a:custGeom>
                    <a:avLst/>
                    <a:gdLst>
                      <a:gd name="connsiteX0" fmla="*/ 123201 w 143748"/>
                      <a:gd name="connsiteY0" fmla="*/ 116960 h 160327"/>
                      <a:gd name="connsiteX1" fmla="*/ 51821 w 143748"/>
                      <a:gd name="connsiteY1" fmla="*/ 155281 h 160327"/>
                      <a:gd name="connsiteX2" fmla="*/ 8777 w 143748"/>
                      <a:gd name="connsiteY2" fmla="*/ 142732 h 160327"/>
                      <a:gd name="connsiteX3" fmla="*/ 2975 w 143748"/>
                      <a:gd name="connsiteY3" fmla="*/ 65415 h 160327"/>
                      <a:gd name="connsiteX4" fmla="*/ 17413 w 143748"/>
                      <a:gd name="connsiteY4" fmla="*/ 6449 h 160327"/>
                      <a:gd name="connsiteX5" fmla="*/ 92301 w 143748"/>
                      <a:gd name="connsiteY5" fmla="*/ 1996 h 160327"/>
                      <a:gd name="connsiteX6" fmla="*/ 143711 w 143748"/>
                      <a:gd name="connsiteY6" fmla="*/ 60962 h 160327"/>
                      <a:gd name="connsiteX7" fmla="*/ 123201 w 143748"/>
                      <a:gd name="connsiteY7" fmla="*/ 116960 h 16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748" h="160327">
                        <a:moveTo>
                          <a:pt x="123201" y="116960"/>
                        </a:moveTo>
                        <a:cubicBezTo>
                          <a:pt x="108493" y="162567"/>
                          <a:pt x="86364" y="165941"/>
                          <a:pt x="51821" y="155281"/>
                        </a:cubicBezTo>
                        <a:cubicBezTo>
                          <a:pt x="39002" y="151368"/>
                          <a:pt x="8777" y="142732"/>
                          <a:pt x="8777" y="142732"/>
                        </a:cubicBezTo>
                        <a:cubicBezTo>
                          <a:pt x="8777" y="142732"/>
                          <a:pt x="-6201" y="94156"/>
                          <a:pt x="2975" y="65415"/>
                        </a:cubicBezTo>
                        <a:cubicBezTo>
                          <a:pt x="8912" y="47064"/>
                          <a:pt x="17413" y="6449"/>
                          <a:pt x="17413" y="6449"/>
                        </a:cubicBezTo>
                        <a:cubicBezTo>
                          <a:pt x="17413" y="6449"/>
                          <a:pt x="71656" y="-4345"/>
                          <a:pt x="92301" y="1996"/>
                        </a:cubicBezTo>
                        <a:cubicBezTo>
                          <a:pt x="116185" y="9283"/>
                          <a:pt x="141552" y="31817"/>
                          <a:pt x="143711" y="60962"/>
                        </a:cubicBezTo>
                        <a:cubicBezTo>
                          <a:pt x="144655" y="74186"/>
                          <a:pt x="127654" y="102792"/>
                          <a:pt x="123201" y="116960"/>
                        </a:cubicBezTo>
                        <a:close/>
                      </a:path>
                    </a:pathLst>
                  </a:custGeom>
                  <a:solidFill>
                    <a:srgbClr val="0C3E7A"/>
                  </a:solidFill>
                  <a:ln w="1349" cap="flat">
                    <a:noFill/>
                    <a:prstDash val="solid"/>
                    <a:miter/>
                  </a:ln>
                </p:spPr>
                <p:txBody>
                  <a:bodyPr rtlCol="0" anchor="ctr"/>
                  <a:lstStyle/>
                  <a:p>
                    <a:endParaRPr lang="en-IN">
                      <a:latin typeface="+mn-lt"/>
                    </a:endParaRPr>
                  </a:p>
                </p:txBody>
              </p:sp>
              <p:sp>
                <p:nvSpPr>
                  <p:cNvPr id="274" name="Freeform: Shape 139">
                    <a:extLst>
                      <a:ext uri="{FF2B5EF4-FFF2-40B4-BE49-F238E27FC236}">
                        <a16:creationId xmlns:a16="http://schemas.microsoft.com/office/drawing/2014/main" id="{FE8AAFBA-BB7B-004E-AEC2-89A456DCBBF1}"/>
                      </a:ext>
                    </a:extLst>
                  </p:cNvPr>
                  <p:cNvSpPr/>
                  <p:nvPr/>
                </p:nvSpPr>
                <p:spPr>
                  <a:xfrm>
                    <a:off x="9216999" y="2638754"/>
                    <a:ext cx="107406" cy="141410"/>
                  </a:xfrm>
                  <a:custGeom>
                    <a:avLst/>
                    <a:gdLst>
                      <a:gd name="connsiteX0" fmla="*/ 107407 w 107406"/>
                      <a:gd name="connsiteY0" fmla="*/ 70705 h 141410"/>
                      <a:gd name="connsiteX1" fmla="*/ 53703 w 107406"/>
                      <a:gd name="connsiteY1" fmla="*/ 141410 h 141410"/>
                      <a:gd name="connsiteX2" fmla="*/ 0 w 107406"/>
                      <a:gd name="connsiteY2" fmla="*/ 70705 h 141410"/>
                      <a:gd name="connsiteX3" fmla="*/ 8366 w 107406"/>
                      <a:gd name="connsiteY3" fmla="*/ 13088 h 141410"/>
                      <a:gd name="connsiteX4" fmla="*/ 53838 w 107406"/>
                      <a:gd name="connsiteY4" fmla="*/ 0 h 141410"/>
                      <a:gd name="connsiteX5" fmla="*/ 107407 w 107406"/>
                      <a:gd name="connsiteY5" fmla="*/ 70705 h 14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406" h="141410">
                        <a:moveTo>
                          <a:pt x="107407" y="70705"/>
                        </a:moveTo>
                        <a:cubicBezTo>
                          <a:pt x="107407" y="109836"/>
                          <a:pt x="83389" y="141410"/>
                          <a:pt x="53703" y="141410"/>
                        </a:cubicBezTo>
                        <a:cubicBezTo>
                          <a:pt x="24018" y="141410"/>
                          <a:pt x="0" y="109701"/>
                          <a:pt x="0" y="70705"/>
                        </a:cubicBezTo>
                        <a:cubicBezTo>
                          <a:pt x="0" y="55997"/>
                          <a:pt x="2564" y="24288"/>
                          <a:pt x="8366" y="13088"/>
                        </a:cubicBezTo>
                        <a:cubicBezTo>
                          <a:pt x="8366" y="13088"/>
                          <a:pt x="35217" y="0"/>
                          <a:pt x="53838" y="0"/>
                        </a:cubicBezTo>
                        <a:cubicBezTo>
                          <a:pt x="83389" y="0"/>
                          <a:pt x="107407" y="31709"/>
                          <a:pt x="107407" y="70705"/>
                        </a:cubicBezTo>
                        <a:close/>
                      </a:path>
                    </a:pathLst>
                  </a:custGeom>
                  <a:solidFill>
                    <a:srgbClr val="145B82"/>
                  </a:solidFill>
                  <a:ln w="1349" cap="flat">
                    <a:noFill/>
                    <a:prstDash val="solid"/>
                    <a:miter/>
                  </a:ln>
                </p:spPr>
                <p:txBody>
                  <a:bodyPr rtlCol="0" anchor="ctr"/>
                  <a:lstStyle/>
                  <a:p>
                    <a:endParaRPr lang="en-IN">
                      <a:latin typeface="+mn-lt"/>
                    </a:endParaRPr>
                  </a:p>
                </p:txBody>
              </p:sp>
              <p:sp>
                <p:nvSpPr>
                  <p:cNvPr id="275" name="Freeform: Shape 140">
                    <a:extLst>
                      <a:ext uri="{FF2B5EF4-FFF2-40B4-BE49-F238E27FC236}">
                        <a16:creationId xmlns:a16="http://schemas.microsoft.com/office/drawing/2014/main" id="{CACE1311-B0E9-5B4F-A1C3-AAAC76B79FA0}"/>
                      </a:ext>
                    </a:extLst>
                  </p:cNvPr>
                  <p:cNvSpPr/>
                  <p:nvPr/>
                </p:nvSpPr>
                <p:spPr>
                  <a:xfrm>
                    <a:off x="9219832" y="2760329"/>
                    <a:ext cx="146268" cy="192685"/>
                  </a:xfrm>
                  <a:custGeom>
                    <a:avLst/>
                    <a:gdLst>
                      <a:gd name="connsiteX0" fmla="*/ 146268 w 146268"/>
                      <a:gd name="connsiteY0" fmla="*/ 96343 h 192685"/>
                      <a:gd name="connsiteX1" fmla="*/ 73134 w 146268"/>
                      <a:gd name="connsiteY1" fmla="*/ 192685 h 192685"/>
                      <a:gd name="connsiteX2" fmla="*/ 0 w 146268"/>
                      <a:gd name="connsiteY2" fmla="*/ 96343 h 192685"/>
                      <a:gd name="connsiteX3" fmla="*/ 5532 w 146268"/>
                      <a:gd name="connsiteY3" fmla="*/ 36702 h 192685"/>
                      <a:gd name="connsiteX4" fmla="*/ 73134 w 146268"/>
                      <a:gd name="connsiteY4" fmla="*/ 0 h 192685"/>
                      <a:gd name="connsiteX5" fmla="*/ 146268 w 146268"/>
                      <a:gd name="connsiteY5" fmla="*/ 96343 h 192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268" h="192685">
                        <a:moveTo>
                          <a:pt x="146268" y="96343"/>
                        </a:moveTo>
                        <a:cubicBezTo>
                          <a:pt x="146268" y="149506"/>
                          <a:pt x="113479" y="192685"/>
                          <a:pt x="73134" y="192685"/>
                        </a:cubicBezTo>
                        <a:cubicBezTo>
                          <a:pt x="32789" y="192685"/>
                          <a:pt x="0" y="149506"/>
                          <a:pt x="0" y="96343"/>
                        </a:cubicBezTo>
                        <a:cubicBezTo>
                          <a:pt x="0" y="70435"/>
                          <a:pt x="5532" y="36702"/>
                          <a:pt x="5532" y="36702"/>
                        </a:cubicBezTo>
                        <a:lnTo>
                          <a:pt x="73134" y="0"/>
                        </a:lnTo>
                        <a:cubicBezTo>
                          <a:pt x="73134" y="0"/>
                          <a:pt x="146268" y="43179"/>
                          <a:pt x="146268" y="96343"/>
                        </a:cubicBezTo>
                        <a:close/>
                      </a:path>
                    </a:pathLst>
                  </a:custGeom>
                  <a:solidFill>
                    <a:srgbClr val="145B82"/>
                  </a:solidFill>
                  <a:ln w="1349" cap="flat">
                    <a:noFill/>
                    <a:prstDash val="solid"/>
                    <a:miter/>
                  </a:ln>
                </p:spPr>
                <p:txBody>
                  <a:bodyPr rtlCol="0" anchor="ctr"/>
                  <a:lstStyle/>
                  <a:p>
                    <a:endParaRPr lang="en-IN">
                      <a:latin typeface="+mn-lt"/>
                    </a:endParaRPr>
                  </a:p>
                </p:txBody>
              </p:sp>
              <p:sp>
                <p:nvSpPr>
                  <p:cNvPr id="276" name="Freeform: Shape 141">
                    <a:extLst>
                      <a:ext uri="{FF2B5EF4-FFF2-40B4-BE49-F238E27FC236}">
                        <a16:creationId xmlns:a16="http://schemas.microsoft.com/office/drawing/2014/main" id="{6576C260-21B5-F344-AEE5-5FDF13F185A1}"/>
                      </a:ext>
                    </a:extLst>
                  </p:cNvPr>
                  <p:cNvSpPr/>
                  <p:nvPr/>
                </p:nvSpPr>
                <p:spPr>
                  <a:xfrm>
                    <a:off x="8448282" y="3658447"/>
                    <a:ext cx="58156" cy="41829"/>
                  </a:xfrm>
                  <a:custGeom>
                    <a:avLst/>
                    <a:gdLst>
                      <a:gd name="connsiteX0" fmla="*/ 45743 w 58156"/>
                      <a:gd name="connsiteY0" fmla="*/ 0 h 41829"/>
                      <a:gd name="connsiteX1" fmla="*/ 26177 w 58156"/>
                      <a:gd name="connsiteY1" fmla="*/ 20645 h 41829"/>
                      <a:gd name="connsiteX2" fmla="*/ 4723 w 58156"/>
                      <a:gd name="connsiteY2" fmla="*/ 24288 h 41829"/>
                      <a:gd name="connsiteX3" fmla="*/ 0 w 58156"/>
                      <a:gd name="connsiteY3" fmla="*/ 41829 h 41829"/>
                      <a:gd name="connsiteX4" fmla="*/ 58157 w 58156"/>
                      <a:gd name="connsiteY4" fmla="*/ 41829 h 41829"/>
                      <a:gd name="connsiteX5" fmla="*/ 58157 w 58156"/>
                      <a:gd name="connsiteY5" fmla="*/ 12954 h 4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56" h="41829">
                        <a:moveTo>
                          <a:pt x="45743" y="0"/>
                        </a:moveTo>
                        <a:lnTo>
                          <a:pt x="26177" y="20645"/>
                        </a:lnTo>
                        <a:lnTo>
                          <a:pt x="4723" y="24288"/>
                        </a:lnTo>
                        <a:lnTo>
                          <a:pt x="0" y="41829"/>
                        </a:lnTo>
                        <a:lnTo>
                          <a:pt x="58157" y="41829"/>
                        </a:lnTo>
                        <a:lnTo>
                          <a:pt x="58157" y="12954"/>
                        </a:lnTo>
                        <a:close/>
                      </a:path>
                    </a:pathLst>
                  </a:custGeom>
                  <a:solidFill>
                    <a:srgbClr val="0C3E7A"/>
                  </a:solidFill>
                  <a:ln w="1349" cap="flat">
                    <a:noFill/>
                    <a:prstDash val="solid"/>
                    <a:miter/>
                  </a:ln>
                </p:spPr>
                <p:txBody>
                  <a:bodyPr rtlCol="0" anchor="ctr"/>
                  <a:lstStyle/>
                  <a:p>
                    <a:endParaRPr lang="en-IN">
                      <a:latin typeface="+mn-lt"/>
                    </a:endParaRPr>
                  </a:p>
                </p:txBody>
              </p:sp>
              <p:sp>
                <p:nvSpPr>
                  <p:cNvPr id="277" name="Freeform: Shape 142">
                    <a:extLst>
                      <a:ext uri="{FF2B5EF4-FFF2-40B4-BE49-F238E27FC236}">
                        <a16:creationId xmlns:a16="http://schemas.microsoft.com/office/drawing/2014/main" id="{922F8C90-0A5D-C246-A452-6A0C69429A84}"/>
                      </a:ext>
                    </a:extLst>
                  </p:cNvPr>
                  <p:cNvSpPr/>
                  <p:nvPr/>
                </p:nvSpPr>
                <p:spPr>
                  <a:xfrm>
                    <a:off x="9192868" y="2860674"/>
                    <a:ext cx="189367" cy="544367"/>
                  </a:xfrm>
                  <a:custGeom>
                    <a:avLst/>
                    <a:gdLst>
                      <a:gd name="connsiteX0" fmla="*/ 23051 w 189367"/>
                      <a:gd name="connsiteY0" fmla="*/ 523048 h 544367"/>
                      <a:gd name="connsiteX1" fmla="*/ 44100 w 189367"/>
                      <a:gd name="connsiteY1" fmla="*/ 419689 h 544367"/>
                      <a:gd name="connsiteX2" fmla="*/ 74190 w 189367"/>
                      <a:gd name="connsiteY2" fmla="*/ 340213 h 544367"/>
                      <a:gd name="connsiteX3" fmla="*/ 127759 w 189367"/>
                      <a:gd name="connsiteY3" fmla="*/ 542074 h 544367"/>
                      <a:gd name="connsiteX4" fmla="*/ 139363 w 189367"/>
                      <a:gd name="connsiteY4" fmla="*/ 544368 h 544367"/>
                      <a:gd name="connsiteX5" fmla="*/ 150968 w 189367"/>
                      <a:gd name="connsiteY5" fmla="*/ 270183 h 544367"/>
                      <a:gd name="connsiteX6" fmla="*/ 169588 w 189367"/>
                      <a:gd name="connsiteY6" fmla="*/ 231592 h 544367"/>
                      <a:gd name="connsiteX7" fmla="*/ 188749 w 189367"/>
                      <a:gd name="connsiteY7" fmla="*/ 135249 h 544367"/>
                      <a:gd name="connsiteX8" fmla="*/ 139363 w 189367"/>
                      <a:gd name="connsiteY8" fmla="*/ 450 h 544367"/>
                      <a:gd name="connsiteX9" fmla="*/ 41941 w 189367"/>
                      <a:gd name="connsiteY9" fmla="*/ 11785 h 544367"/>
                      <a:gd name="connsiteX10" fmla="*/ 11716 w 189367"/>
                      <a:gd name="connsiteY10" fmla="*/ 199882 h 544367"/>
                      <a:gd name="connsiteX11" fmla="*/ 112 w 189367"/>
                      <a:gd name="connsiteY11" fmla="*/ 431023 h 544367"/>
                      <a:gd name="connsiteX12" fmla="*/ 11716 w 189367"/>
                      <a:gd name="connsiteY12" fmla="*/ 517111 h 544367"/>
                      <a:gd name="connsiteX13" fmla="*/ 23051 w 189367"/>
                      <a:gd name="connsiteY13" fmla="*/ 523048 h 54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9367" h="544367">
                        <a:moveTo>
                          <a:pt x="23051" y="523048"/>
                        </a:moveTo>
                        <a:cubicBezTo>
                          <a:pt x="23051" y="523048"/>
                          <a:pt x="34790" y="440064"/>
                          <a:pt x="44100" y="419689"/>
                        </a:cubicBezTo>
                        <a:cubicBezTo>
                          <a:pt x="53411" y="399314"/>
                          <a:pt x="64880" y="326585"/>
                          <a:pt x="74190" y="340213"/>
                        </a:cubicBezTo>
                        <a:cubicBezTo>
                          <a:pt x="83501" y="353841"/>
                          <a:pt x="116155" y="539780"/>
                          <a:pt x="127759" y="542074"/>
                        </a:cubicBezTo>
                        <a:cubicBezTo>
                          <a:pt x="139363" y="544368"/>
                          <a:pt x="139363" y="544368"/>
                          <a:pt x="139363" y="544368"/>
                        </a:cubicBezTo>
                        <a:lnTo>
                          <a:pt x="150968" y="270183"/>
                        </a:lnTo>
                        <a:cubicBezTo>
                          <a:pt x="150968" y="270183"/>
                          <a:pt x="169588" y="238473"/>
                          <a:pt x="169588" y="231592"/>
                        </a:cubicBezTo>
                        <a:cubicBezTo>
                          <a:pt x="169588" y="224710"/>
                          <a:pt x="193472" y="164665"/>
                          <a:pt x="188749" y="135249"/>
                        </a:cubicBezTo>
                        <a:cubicBezTo>
                          <a:pt x="184027" y="105834"/>
                          <a:pt x="162572" y="2609"/>
                          <a:pt x="139363" y="450"/>
                        </a:cubicBezTo>
                        <a:cubicBezTo>
                          <a:pt x="116155" y="-1844"/>
                          <a:pt x="46529" y="5038"/>
                          <a:pt x="41941" y="11785"/>
                        </a:cubicBezTo>
                        <a:cubicBezTo>
                          <a:pt x="37354" y="18531"/>
                          <a:pt x="5240" y="90991"/>
                          <a:pt x="11716" y="199882"/>
                        </a:cubicBezTo>
                        <a:cubicBezTo>
                          <a:pt x="12391" y="211217"/>
                          <a:pt x="-1372" y="398639"/>
                          <a:pt x="112" y="431023"/>
                        </a:cubicBezTo>
                        <a:cubicBezTo>
                          <a:pt x="1596" y="462598"/>
                          <a:pt x="7129" y="508070"/>
                          <a:pt x="11716" y="517111"/>
                        </a:cubicBezTo>
                        <a:cubicBezTo>
                          <a:pt x="16169" y="526152"/>
                          <a:pt x="23051" y="523048"/>
                          <a:pt x="23051" y="523048"/>
                        </a:cubicBezTo>
                        <a:close/>
                      </a:path>
                    </a:pathLst>
                  </a:custGeom>
                  <a:solidFill>
                    <a:srgbClr val="145B82"/>
                  </a:solidFill>
                  <a:ln w="1349" cap="flat">
                    <a:noFill/>
                    <a:prstDash val="solid"/>
                    <a:miter/>
                  </a:ln>
                </p:spPr>
                <p:txBody>
                  <a:bodyPr rtlCol="0" anchor="ctr"/>
                  <a:lstStyle/>
                  <a:p>
                    <a:endParaRPr lang="en-IN">
                      <a:latin typeface="+mn-lt"/>
                    </a:endParaRPr>
                  </a:p>
                </p:txBody>
              </p:sp>
              <p:sp>
                <p:nvSpPr>
                  <p:cNvPr id="278" name="Freeform: Shape 143">
                    <a:extLst>
                      <a:ext uri="{FF2B5EF4-FFF2-40B4-BE49-F238E27FC236}">
                        <a16:creationId xmlns:a16="http://schemas.microsoft.com/office/drawing/2014/main" id="{48E07585-FC0D-F94C-A960-A09F6BB427B2}"/>
                      </a:ext>
                    </a:extLst>
                  </p:cNvPr>
                  <p:cNvSpPr/>
                  <p:nvPr/>
                </p:nvSpPr>
                <p:spPr>
                  <a:xfrm>
                    <a:off x="9292966" y="2930210"/>
                    <a:ext cx="146268" cy="192685"/>
                  </a:xfrm>
                  <a:custGeom>
                    <a:avLst/>
                    <a:gdLst>
                      <a:gd name="connsiteX0" fmla="*/ 146268 w 146268"/>
                      <a:gd name="connsiteY0" fmla="*/ 96343 h 192685"/>
                      <a:gd name="connsiteX1" fmla="*/ 73134 w 146268"/>
                      <a:gd name="connsiteY1" fmla="*/ 192685 h 192685"/>
                      <a:gd name="connsiteX2" fmla="*/ 0 w 146268"/>
                      <a:gd name="connsiteY2" fmla="*/ 96343 h 192685"/>
                      <a:gd name="connsiteX3" fmla="*/ 73134 w 146268"/>
                      <a:gd name="connsiteY3" fmla="*/ 0 h 192685"/>
                      <a:gd name="connsiteX4" fmla="*/ 146268 w 146268"/>
                      <a:gd name="connsiteY4" fmla="*/ 96343 h 192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268" h="192685">
                        <a:moveTo>
                          <a:pt x="146268" y="96343"/>
                        </a:moveTo>
                        <a:cubicBezTo>
                          <a:pt x="146268" y="149551"/>
                          <a:pt x="113525" y="192685"/>
                          <a:pt x="73134" y="192685"/>
                        </a:cubicBezTo>
                        <a:cubicBezTo>
                          <a:pt x="32743" y="192685"/>
                          <a:pt x="0" y="149551"/>
                          <a:pt x="0" y="96343"/>
                        </a:cubicBezTo>
                        <a:cubicBezTo>
                          <a:pt x="0" y="43134"/>
                          <a:pt x="32743" y="0"/>
                          <a:pt x="73134" y="0"/>
                        </a:cubicBezTo>
                        <a:cubicBezTo>
                          <a:pt x="113525" y="0"/>
                          <a:pt x="146268" y="43134"/>
                          <a:pt x="146268" y="96343"/>
                        </a:cubicBezTo>
                        <a:close/>
                      </a:path>
                    </a:pathLst>
                  </a:custGeom>
                  <a:solidFill>
                    <a:srgbClr val="145B82"/>
                  </a:solidFill>
                  <a:ln w="1349" cap="flat">
                    <a:noFill/>
                    <a:prstDash val="solid"/>
                    <a:miter/>
                  </a:ln>
                </p:spPr>
                <p:txBody>
                  <a:bodyPr rtlCol="0" anchor="ctr"/>
                  <a:lstStyle/>
                  <a:p>
                    <a:endParaRPr lang="en-IN">
                      <a:latin typeface="+mn-lt"/>
                    </a:endParaRPr>
                  </a:p>
                </p:txBody>
              </p:sp>
              <p:sp>
                <p:nvSpPr>
                  <p:cNvPr id="279" name="Freeform: Shape 144">
                    <a:extLst>
                      <a:ext uri="{FF2B5EF4-FFF2-40B4-BE49-F238E27FC236}">
                        <a16:creationId xmlns:a16="http://schemas.microsoft.com/office/drawing/2014/main" id="{AA972282-A001-1A40-A902-156DAE5FE43C}"/>
                      </a:ext>
                    </a:extLst>
                  </p:cNvPr>
                  <p:cNvSpPr/>
                  <p:nvPr/>
                </p:nvSpPr>
                <p:spPr>
                  <a:xfrm>
                    <a:off x="9450338" y="2815982"/>
                    <a:ext cx="147915" cy="424979"/>
                  </a:xfrm>
                  <a:custGeom>
                    <a:avLst/>
                    <a:gdLst>
                      <a:gd name="connsiteX0" fmla="*/ 18176 w 147915"/>
                      <a:gd name="connsiteY0" fmla="*/ 408383 h 424979"/>
                      <a:gd name="connsiteX1" fmla="*/ 34638 w 147915"/>
                      <a:gd name="connsiteY1" fmla="*/ 327693 h 424979"/>
                      <a:gd name="connsiteX2" fmla="*/ 58117 w 147915"/>
                      <a:gd name="connsiteY2" fmla="*/ 265623 h 424979"/>
                      <a:gd name="connsiteX3" fmla="*/ 99946 w 147915"/>
                      <a:gd name="connsiteY3" fmla="*/ 423226 h 424979"/>
                      <a:gd name="connsiteX4" fmla="*/ 108987 w 147915"/>
                      <a:gd name="connsiteY4" fmla="*/ 424980 h 424979"/>
                      <a:gd name="connsiteX5" fmla="*/ 118027 w 147915"/>
                      <a:gd name="connsiteY5" fmla="*/ 210840 h 424979"/>
                      <a:gd name="connsiteX6" fmla="*/ 132465 w 147915"/>
                      <a:gd name="connsiteY6" fmla="*/ 180750 h 424979"/>
                      <a:gd name="connsiteX7" fmla="*/ 147443 w 147915"/>
                      <a:gd name="connsiteY7" fmla="*/ 105592 h 424979"/>
                      <a:gd name="connsiteX8" fmla="*/ 108852 w 147915"/>
                      <a:gd name="connsiteY8" fmla="*/ 344 h 424979"/>
                      <a:gd name="connsiteX9" fmla="*/ 32749 w 147915"/>
                      <a:gd name="connsiteY9" fmla="*/ 9249 h 424979"/>
                      <a:gd name="connsiteX10" fmla="*/ 9136 w 147915"/>
                      <a:gd name="connsiteY10" fmla="*/ 156057 h 424979"/>
                      <a:gd name="connsiteX11" fmla="*/ 95 w 147915"/>
                      <a:gd name="connsiteY11" fmla="*/ 336598 h 424979"/>
                      <a:gd name="connsiteX12" fmla="*/ 9136 w 147915"/>
                      <a:gd name="connsiteY12" fmla="*/ 403795 h 424979"/>
                      <a:gd name="connsiteX13" fmla="*/ 18176 w 147915"/>
                      <a:gd name="connsiteY13" fmla="*/ 408383 h 42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915" h="424979">
                        <a:moveTo>
                          <a:pt x="18176" y="408383"/>
                        </a:moveTo>
                        <a:cubicBezTo>
                          <a:pt x="18176" y="408383"/>
                          <a:pt x="27352" y="343615"/>
                          <a:pt x="34638" y="327693"/>
                        </a:cubicBezTo>
                        <a:cubicBezTo>
                          <a:pt x="41925" y="311771"/>
                          <a:pt x="50830" y="255098"/>
                          <a:pt x="58117" y="265623"/>
                        </a:cubicBezTo>
                        <a:cubicBezTo>
                          <a:pt x="65403" y="276283"/>
                          <a:pt x="90771" y="421471"/>
                          <a:pt x="99946" y="423226"/>
                        </a:cubicBezTo>
                        <a:cubicBezTo>
                          <a:pt x="108987" y="424980"/>
                          <a:pt x="108987" y="424980"/>
                          <a:pt x="108987" y="424980"/>
                        </a:cubicBezTo>
                        <a:lnTo>
                          <a:pt x="118027" y="210840"/>
                        </a:lnTo>
                        <a:cubicBezTo>
                          <a:pt x="118027" y="210840"/>
                          <a:pt x="132465" y="186012"/>
                          <a:pt x="132465" y="180750"/>
                        </a:cubicBezTo>
                        <a:cubicBezTo>
                          <a:pt x="132465" y="175488"/>
                          <a:pt x="151086" y="128531"/>
                          <a:pt x="147443" y="105592"/>
                        </a:cubicBezTo>
                        <a:cubicBezTo>
                          <a:pt x="143800" y="82653"/>
                          <a:pt x="126933" y="2098"/>
                          <a:pt x="108852" y="344"/>
                        </a:cubicBezTo>
                        <a:cubicBezTo>
                          <a:pt x="90771" y="-1410"/>
                          <a:pt x="36392" y="3852"/>
                          <a:pt x="32749" y="9249"/>
                        </a:cubicBezTo>
                        <a:cubicBezTo>
                          <a:pt x="29106" y="14512"/>
                          <a:pt x="4008" y="71049"/>
                          <a:pt x="9136" y="156057"/>
                        </a:cubicBezTo>
                        <a:cubicBezTo>
                          <a:pt x="9675" y="164828"/>
                          <a:pt x="-1119" y="311231"/>
                          <a:pt x="95" y="336598"/>
                        </a:cubicBezTo>
                        <a:cubicBezTo>
                          <a:pt x="1175" y="361291"/>
                          <a:pt x="5493" y="396779"/>
                          <a:pt x="9136" y="403795"/>
                        </a:cubicBezTo>
                        <a:cubicBezTo>
                          <a:pt x="12914" y="410812"/>
                          <a:pt x="18176" y="408383"/>
                          <a:pt x="18176" y="408383"/>
                        </a:cubicBezTo>
                        <a:close/>
                      </a:path>
                    </a:pathLst>
                  </a:custGeom>
                  <a:solidFill>
                    <a:srgbClr val="1C6D91"/>
                  </a:solidFill>
                  <a:ln w="1349" cap="flat">
                    <a:noFill/>
                    <a:prstDash val="solid"/>
                    <a:miter/>
                  </a:ln>
                </p:spPr>
                <p:txBody>
                  <a:bodyPr rtlCol="0" anchor="ctr"/>
                  <a:lstStyle/>
                  <a:p>
                    <a:endParaRPr lang="en-IN">
                      <a:latin typeface="+mn-lt"/>
                    </a:endParaRPr>
                  </a:p>
                </p:txBody>
              </p:sp>
              <p:sp>
                <p:nvSpPr>
                  <p:cNvPr id="280" name="Freeform: Shape 145">
                    <a:extLst>
                      <a:ext uri="{FF2B5EF4-FFF2-40B4-BE49-F238E27FC236}">
                        <a16:creationId xmlns:a16="http://schemas.microsoft.com/office/drawing/2014/main" id="{C1DE2B39-A868-504B-99EF-660374BEFAB9}"/>
                      </a:ext>
                    </a:extLst>
                  </p:cNvPr>
                  <p:cNvSpPr/>
                  <p:nvPr/>
                </p:nvSpPr>
                <p:spPr>
                  <a:xfrm>
                    <a:off x="8995696" y="2665471"/>
                    <a:ext cx="117293" cy="150450"/>
                  </a:xfrm>
                  <a:custGeom>
                    <a:avLst/>
                    <a:gdLst>
                      <a:gd name="connsiteX0" fmla="*/ 114165 w 117293"/>
                      <a:gd name="connsiteY0" fmla="*/ 75293 h 150450"/>
                      <a:gd name="connsiteX1" fmla="*/ 57088 w 117293"/>
                      <a:gd name="connsiteY1" fmla="*/ 150451 h 150450"/>
                      <a:gd name="connsiteX2" fmla="*/ 15394 w 117293"/>
                      <a:gd name="connsiteY2" fmla="*/ 138172 h 150450"/>
                      <a:gd name="connsiteX3" fmla="*/ 12 w 117293"/>
                      <a:gd name="connsiteY3" fmla="*/ 75158 h 150450"/>
                      <a:gd name="connsiteX4" fmla="*/ 57088 w 117293"/>
                      <a:gd name="connsiteY4" fmla="*/ 0 h 150450"/>
                      <a:gd name="connsiteX5" fmla="*/ 114165 w 117293"/>
                      <a:gd name="connsiteY5" fmla="*/ 75293 h 1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293" h="150450">
                        <a:moveTo>
                          <a:pt x="114165" y="75293"/>
                        </a:moveTo>
                        <a:cubicBezTo>
                          <a:pt x="104720" y="115773"/>
                          <a:pt x="88663" y="150451"/>
                          <a:pt x="57088" y="150451"/>
                        </a:cubicBezTo>
                        <a:cubicBezTo>
                          <a:pt x="39682" y="150451"/>
                          <a:pt x="15394" y="138172"/>
                          <a:pt x="15394" y="138172"/>
                        </a:cubicBezTo>
                        <a:cubicBezTo>
                          <a:pt x="6893" y="125083"/>
                          <a:pt x="12" y="93914"/>
                          <a:pt x="12" y="75158"/>
                        </a:cubicBezTo>
                        <a:cubicBezTo>
                          <a:pt x="12" y="33598"/>
                          <a:pt x="-2282" y="0"/>
                          <a:pt x="57088" y="0"/>
                        </a:cubicBezTo>
                        <a:cubicBezTo>
                          <a:pt x="88663" y="135"/>
                          <a:pt x="128873" y="12549"/>
                          <a:pt x="114165" y="75293"/>
                        </a:cubicBezTo>
                        <a:close/>
                      </a:path>
                    </a:pathLst>
                  </a:custGeom>
                  <a:solidFill>
                    <a:srgbClr val="1C6D91"/>
                  </a:solidFill>
                  <a:ln w="1349" cap="flat">
                    <a:noFill/>
                    <a:prstDash val="solid"/>
                    <a:miter/>
                  </a:ln>
                </p:spPr>
                <p:txBody>
                  <a:bodyPr rtlCol="0" anchor="ctr"/>
                  <a:lstStyle/>
                  <a:p>
                    <a:endParaRPr lang="en-IN">
                      <a:latin typeface="+mn-lt"/>
                    </a:endParaRPr>
                  </a:p>
                </p:txBody>
              </p:sp>
              <p:sp>
                <p:nvSpPr>
                  <p:cNvPr id="281" name="Freeform: Shape 146">
                    <a:extLst>
                      <a:ext uri="{FF2B5EF4-FFF2-40B4-BE49-F238E27FC236}">
                        <a16:creationId xmlns:a16="http://schemas.microsoft.com/office/drawing/2014/main" id="{4AF8FD1D-6C34-F443-9FBC-7F3C21C1B68C}"/>
                      </a:ext>
                    </a:extLst>
                  </p:cNvPr>
                  <p:cNvSpPr/>
                  <p:nvPr/>
                </p:nvSpPr>
                <p:spPr>
                  <a:xfrm>
                    <a:off x="8820465" y="2634404"/>
                    <a:ext cx="116815" cy="150347"/>
                  </a:xfrm>
                  <a:custGeom>
                    <a:avLst/>
                    <a:gdLst>
                      <a:gd name="connsiteX0" fmla="*/ 116816 w 116815"/>
                      <a:gd name="connsiteY0" fmla="*/ 75190 h 150347"/>
                      <a:gd name="connsiteX1" fmla="*/ 59739 w 116815"/>
                      <a:gd name="connsiteY1" fmla="*/ 150348 h 150347"/>
                      <a:gd name="connsiteX2" fmla="*/ 2662 w 116815"/>
                      <a:gd name="connsiteY2" fmla="*/ 75190 h 150347"/>
                      <a:gd name="connsiteX3" fmla="*/ 59739 w 116815"/>
                      <a:gd name="connsiteY3" fmla="*/ 32 h 150347"/>
                      <a:gd name="connsiteX4" fmla="*/ 99409 w 116815"/>
                      <a:gd name="connsiteY4" fmla="*/ 9342 h 150347"/>
                      <a:gd name="connsiteX5" fmla="*/ 116816 w 116815"/>
                      <a:gd name="connsiteY5" fmla="*/ 75190 h 150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815" h="150347">
                        <a:moveTo>
                          <a:pt x="116816" y="75190"/>
                        </a:moveTo>
                        <a:cubicBezTo>
                          <a:pt x="116816" y="116749"/>
                          <a:pt x="91313" y="150348"/>
                          <a:pt x="59739" y="150348"/>
                        </a:cubicBezTo>
                        <a:cubicBezTo>
                          <a:pt x="28165" y="150348"/>
                          <a:pt x="12647" y="115400"/>
                          <a:pt x="2662" y="75190"/>
                        </a:cubicBezTo>
                        <a:cubicBezTo>
                          <a:pt x="-10562" y="22026"/>
                          <a:pt x="28165" y="32"/>
                          <a:pt x="59739" y="32"/>
                        </a:cubicBezTo>
                        <a:cubicBezTo>
                          <a:pt x="73367" y="32"/>
                          <a:pt x="89559" y="-1048"/>
                          <a:pt x="99409" y="9342"/>
                        </a:cubicBezTo>
                        <a:cubicBezTo>
                          <a:pt x="112228" y="23106"/>
                          <a:pt x="116816" y="51577"/>
                          <a:pt x="116816" y="75190"/>
                        </a:cubicBezTo>
                        <a:close/>
                      </a:path>
                    </a:pathLst>
                  </a:custGeom>
                  <a:solidFill>
                    <a:srgbClr val="1C6D91"/>
                  </a:solidFill>
                  <a:ln w="1349" cap="flat">
                    <a:noFill/>
                    <a:prstDash val="solid"/>
                    <a:miter/>
                  </a:ln>
                </p:spPr>
                <p:txBody>
                  <a:bodyPr rtlCol="0" anchor="ctr"/>
                  <a:lstStyle/>
                  <a:p>
                    <a:endParaRPr lang="en-IN">
                      <a:latin typeface="+mn-lt"/>
                    </a:endParaRPr>
                  </a:p>
                </p:txBody>
              </p:sp>
              <p:sp>
                <p:nvSpPr>
                  <p:cNvPr id="282" name="Freeform: Shape 147">
                    <a:extLst>
                      <a:ext uri="{FF2B5EF4-FFF2-40B4-BE49-F238E27FC236}">
                        <a16:creationId xmlns:a16="http://schemas.microsoft.com/office/drawing/2014/main" id="{023B0BF4-7AE7-D749-BAB7-BEC48DA3F3B0}"/>
                      </a:ext>
                    </a:extLst>
                  </p:cNvPr>
                  <p:cNvSpPr/>
                  <p:nvPr/>
                </p:nvSpPr>
                <p:spPr>
                  <a:xfrm>
                    <a:off x="8976856" y="2803618"/>
                    <a:ext cx="147780" cy="424795"/>
                  </a:xfrm>
                  <a:custGeom>
                    <a:avLst/>
                    <a:gdLst>
                      <a:gd name="connsiteX0" fmla="*/ 18042 w 147780"/>
                      <a:gd name="connsiteY0" fmla="*/ 408198 h 424795"/>
                      <a:gd name="connsiteX1" fmla="*/ 34503 w 147780"/>
                      <a:gd name="connsiteY1" fmla="*/ 327508 h 424795"/>
                      <a:gd name="connsiteX2" fmla="*/ 57982 w 147780"/>
                      <a:gd name="connsiteY2" fmla="*/ 265439 h 424795"/>
                      <a:gd name="connsiteX3" fmla="*/ 99811 w 147780"/>
                      <a:gd name="connsiteY3" fmla="*/ 423041 h 424795"/>
                      <a:gd name="connsiteX4" fmla="*/ 108852 w 147780"/>
                      <a:gd name="connsiteY4" fmla="*/ 424795 h 424795"/>
                      <a:gd name="connsiteX5" fmla="*/ 117892 w 147780"/>
                      <a:gd name="connsiteY5" fmla="*/ 210655 h 424795"/>
                      <a:gd name="connsiteX6" fmla="*/ 132330 w 147780"/>
                      <a:gd name="connsiteY6" fmla="*/ 180565 h 424795"/>
                      <a:gd name="connsiteX7" fmla="*/ 147308 w 147780"/>
                      <a:gd name="connsiteY7" fmla="*/ 105407 h 424795"/>
                      <a:gd name="connsiteX8" fmla="*/ 108717 w 147780"/>
                      <a:gd name="connsiteY8" fmla="*/ 159 h 424795"/>
                      <a:gd name="connsiteX9" fmla="*/ 18986 w 147780"/>
                      <a:gd name="connsiteY9" fmla="*/ 16891 h 424795"/>
                      <a:gd name="connsiteX10" fmla="*/ 9136 w 147780"/>
                      <a:gd name="connsiteY10" fmla="*/ 155872 h 424795"/>
                      <a:gd name="connsiteX11" fmla="*/ 95 w 147780"/>
                      <a:gd name="connsiteY11" fmla="*/ 336414 h 424795"/>
                      <a:gd name="connsiteX12" fmla="*/ 9136 w 147780"/>
                      <a:gd name="connsiteY12" fmla="*/ 403610 h 424795"/>
                      <a:gd name="connsiteX13" fmla="*/ 18042 w 147780"/>
                      <a:gd name="connsiteY13" fmla="*/ 408198 h 42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780" h="424795">
                        <a:moveTo>
                          <a:pt x="18042" y="408198"/>
                        </a:moveTo>
                        <a:cubicBezTo>
                          <a:pt x="18042" y="408198"/>
                          <a:pt x="27217" y="343430"/>
                          <a:pt x="34503" y="327508"/>
                        </a:cubicBezTo>
                        <a:cubicBezTo>
                          <a:pt x="41790" y="311586"/>
                          <a:pt x="50695" y="254914"/>
                          <a:pt x="57982" y="265439"/>
                        </a:cubicBezTo>
                        <a:cubicBezTo>
                          <a:pt x="65268" y="276098"/>
                          <a:pt x="90636" y="421287"/>
                          <a:pt x="99811" y="423041"/>
                        </a:cubicBezTo>
                        <a:cubicBezTo>
                          <a:pt x="108987" y="424795"/>
                          <a:pt x="108852" y="424795"/>
                          <a:pt x="108852" y="424795"/>
                        </a:cubicBezTo>
                        <a:lnTo>
                          <a:pt x="117892" y="210655"/>
                        </a:lnTo>
                        <a:cubicBezTo>
                          <a:pt x="117892" y="210655"/>
                          <a:pt x="132330" y="185828"/>
                          <a:pt x="132330" y="180565"/>
                        </a:cubicBezTo>
                        <a:cubicBezTo>
                          <a:pt x="132330" y="175303"/>
                          <a:pt x="150951" y="128346"/>
                          <a:pt x="147308" y="105407"/>
                        </a:cubicBezTo>
                        <a:cubicBezTo>
                          <a:pt x="143665" y="82468"/>
                          <a:pt x="126798" y="1913"/>
                          <a:pt x="108717" y="159"/>
                        </a:cubicBezTo>
                        <a:cubicBezTo>
                          <a:pt x="90636" y="-1595"/>
                          <a:pt x="22494" y="11628"/>
                          <a:pt x="18986" y="16891"/>
                        </a:cubicBezTo>
                        <a:cubicBezTo>
                          <a:pt x="15343" y="22153"/>
                          <a:pt x="4009" y="70729"/>
                          <a:pt x="9136" y="155872"/>
                        </a:cubicBezTo>
                        <a:cubicBezTo>
                          <a:pt x="9676" y="164643"/>
                          <a:pt x="-1119" y="311046"/>
                          <a:pt x="95" y="336414"/>
                        </a:cubicBezTo>
                        <a:cubicBezTo>
                          <a:pt x="1175" y="361106"/>
                          <a:pt x="5493" y="396594"/>
                          <a:pt x="9136" y="403610"/>
                        </a:cubicBezTo>
                        <a:cubicBezTo>
                          <a:pt x="12644" y="410627"/>
                          <a:pt x="18042" y="408198"/>
                          <a:pt x="18042" y="408198"/>
                        </a:cubicBezTo>
                        <a:close/>
                      </a:path>
                    </a:pathLst>
                  </a:custGeom>
                  <a:solidFill>
                    <a:srgbClr val="1C6D91"/>
                  </a:solidFill>
                  <a:ln w="1349" cap="flat">
                    <a:noFill/>
                    <a:prstDash val="solid"/>
                    <a:miter/>
                  </a:ln>
                </p:spPr>
                <p:txBody>
                  <a:bodyPr rtlCol="0" anchor="ctr"/>
                  <a:lstStyle/>
                  <a:p>
                    <a:endParaRPr lang="en-IN">
                      <a:latin typeface="+mn-lt"/>
                    </a:endParaRPr>
                  </a:p>
                </p:txBody>
              </p:sp>
              <p:sp>
                <p:nvSpPr>
                  <p:cNvPr id="283" name="Freeform: Shape 148">
                    <a:extLst>
                      <a:ext uri="{FF2B5EF4-FFF2-40B4-BE49-F238E27FC236}">
                        <a16:creationId xmlns:a16="http://schemas.microsoft.com/office/drawing/2014/main" id="{752713F1-8B4D-4E45-9701-00535B42EE19}"/>
                      </a:ext>
                    </a:extLst>
                  </p:cNvPr>
                  <p:cNvSpPr/>
                  <p:nvPr/>
                </p:nvSpPr>
                <p:spPr>
                  <a:xfrm>
                    <a:off x="8820873" y="2773123"/>
                    <a:ext cx="147780" cy="424795"/>
                  </a:xfrm>
                  <a:custGeom>
                    <a:avLst/>
                    <a:gdLst>
                      <a:gd name="connsiteX0" fmla="*/ 18041 w 147780"/>
                      <a:gd name="connsiteY0" fmla="*/ 408198 h 424795"/>
                      <a:gd name="connsiteX1" fmla="*/ 34503 w 147780"/>
                      <a:gd name="connsiteY1" fmla="*/ 327508 h 424795"/>
                      <a:gd name="connsiteX2" fmla="*/ 57982 w 147780"/>
                      <a:gd name="connsiteY2" fmla="*/ 265438 h 424795"/>
                      <a:gd name="connsiteX3" fmla="*/ 99811 w 147780"/>
                      <a:gd name="connsiteY3" fmla="*/ 423041 h 424795"/>
                      <a:gd name="connsiteX4" fmla="*/ 108852 w 147780"/>
                      <a:gd name="connsiteY4" fmla="*/ 424795 h 424795"/>
                      <a:gd name="connsiteX5" fmla="*/ 117892 w 147780"/>
                      <a:gd name="connsiteY5" fmla="*/ 210655 h 424795"/>
                      <a:gd name="connsiteX6" fmla="*/ 132330 w 147780"/>
                      <a:gd name="connsiteY6" fmla="*/ 180565 h 424795"/>
                      <a:gd name="connsiteX7" fmla="*/ 147308 w 147780"/>
                      <a:gd name="connsiteY7" fmla="*/ 105407 h 424795"/>
                      <a:gd name="connsiteX8" fmla="*/ 108717 w 147780"/>
                      <a:gd name="connsiteY8" fmla="*/ 159 h 424795"/>
                      <a:gd name="connsiteX9" fmla="*/ 18986 w 147780"/>
                      <a:gd name="connsiteY9" fmla="*/ 16891 h 424795"/>
                      <a:gd name="connsiteX10" fmla="*/ 9136 w 147780"/>
                      <a:gd name="connsiteY10" fmla="*/ 155872 h 424795"/>
                      <a:gd name="connsiteX11" fmla="*/ 95 w 147780"/>
                      <a:gd name="connsiteY11" fmla="*/ 336414 h 424795"/>
                      <a:gd name="connsiteX12" fmla="*/ 9136 w 147780"/>
                      <a:gd name="connsiteY12" fmla="*/ 403610 h 424795"/>
                      <a:gd name="connsiteX13" fmla="*/ 18041 w 147780"/>
                      <a:gd name="connsiteY13" fmla="*/ 408198 h 42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780" h="424795">
                        <a:moveTo>
                          <a:pt x="18041" y="408198"/>
                        </a:moveTo>
                        <a:cubicBezTo>
                          <a:pt x="18041" y="408198"/>
                          <a:pt x="27217" y="343430"/>
                          <a:pt x="34503" y="327508"/>
                        </a:cubicBezTo>
                        <a:cubicBezTo>
                          <a:pt x="41790" y="311586"/>
                          <a:pt x="50695" y="254914"/>
                          <a:pt x="57982" y="265438"/>
                        </a:cubicBezTo>
                        <a:cubicBezTo>
                          <a:pt x="65268" y="276098"/>
                          <a:pt x="90636" y="421287"/>
                          <a:pt x="99811" y="423041"/>
                        </a:cubicBezTo>
                        <a:cubicBezTo>
                          <a:pt x="108852" y="424795"/>
                          <a:pt x="108852" y="424795"/>
                          <a:pt x="108852" y="424795"/>
                        </a:cubicBezTo>
                        <a:lnTo>
                          <a:pt x="117892" y="210655"/>
                        </a:lnTo>
                        <a:cubicBezTo>
                          <a:pt x="117892" y="210655"/>
                          <a:pt x="132330" y="185828"/>
                          <a:pt x="132330" y="180565"/>
                        </a:cubicBezTo>
                        <a:cubicBezTo>
                          <a:pt x="132330" y="175303"/>
                          <a:pt x="150951" y="128346"/>
                          <a:pt x="147308" y="105407"/>
                        </a:cubicBezTo>
                        <a:cubicBezTo>
                          <a:pt x="143665" y="82468"/>
                          <a:pt x="126798" y="1913"/>
                          <a:pt x="108717" y="159"/>
                        </a:cubicBezTo>
                        <a:cubicBezTo>
                          <a:pt x="90636" y="-1595"/>
                          <a:pt x="22494" y="11628"/>
                          <a:pt x="18986" y="16891"/>
                        </a:cubicBezTo>
                        <a:cubicBezTo>
                          <a:pt x="15343" y="22153"/>
                          <a:pt x="4008" y="70729"/>
                          <a:pt x="9136" y="155872"/>
                        </a:cubicBezTo>
                        <a:cubicBezTo>
                          <a:pt x="9675" y="164643"/>
                          <a:pt x="-1119" y="311046"/>
                          <a:pt x="95" y="336414"/>
                        </a:cubicBezTo>
                        <a:cubicBezTo>
                          <a:pt x="1175" y="361106"/>
                          <a:pt x="5493" y="396594"/>
                          <a:pt x="9136" y="403610"/>
                        </a:cubicBezTo>
                        <a:cubicBezTo>
                          <a:pt x="12644" y="410627"/>
                          <a:pt x="18041" y="408198"/>
                          <a:pt x="18041" y="408198"/>
                        </a:cubicBezTo>
                        <a:close/>
                      </a:path>
                    </a:pathLst>
                  </a:custGeom>
                  <a:solidFill>
                    <a:srgbClr val="1C6D91"/>
                  </a:solidFill>
                  <a:ln w="1349" cap="flat">
                    <a:noFill/>
                    <a:prstDash val="solid"/>
                    <a:miter/>
                  </a:ln>
                </p:spPr>
                <p:txBody>
                  <a:bodyPr rtlCol="0" anchor="ctr"/>
                  <a:lstStyle/>
                  <a:p>
                    <a:endParaRPr lang="en-IN">
                      <a:latin typeface="+mn-lt"/>
                    </a:endParaRPr>
                  </a:p>
                </p:txBody>
              </p:sp>
              <p:sp>
                <p:nvSpPr>
                  <p:cNvPr id="284" name="Freeform: Shape 149">
                    <a:extLst>
                      <a:ext uri="{FF2B5EF4-FFF2-40B4-BE49-F238E27FC236}">
                        <a16:creationId xmlns:a16="http://schemas.microsoft.com/office/drawing/2014/main" id="{4A3F1648-A69E-9747-8559-C7400D99403F}"/>
                      </a:ext>
                    </a:extLst>
                  </p:cNvPr>
                  <p:cNvSpPr/>
                  <p:nvPr/>
                </p:nvSpPr>
                <p:spPr>
                  <a:xfrm>
                    <a:off x="9468068" y="2678026"/>
                    <a:ext cx="115545" cy="150444"/>
                  </a:xfrm>
                  <a:custGeom>
                    <a:avLst/>
                    <a:gdLst>
                      <a:gd name="connsiteX0" fmla="*/ 115546 w 115545"/>
                      <a:gd name="connsiteY0" fmla="*/ 75287 h 150444"/>
                      <a:gd name="connsiteX1" fmla="*/ 58469 w 115545"/>
                      <a:gd name="connsiteY1" fmla="*/ 150445 h 150444"/>
                      <a:gd name="connsiteX2" fmla="*/ 1392 w 115545"/>
                      <a:gd name="connsiteY2" fmla="*/ 75287 h 150444"/>
                      <a:gd name="connsiteX3" fmla="*/ 58469 w 115545"/>
                      <a:gd name="connsiteY3" fmla="*/ 129 h 150444"/>
                      <a:gd name="connsiteX4" fmla="*/ 115546 w 115545"/>
                      <a:gd name="connsiteY4" fmla="*/ 75287 h 150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45" h="150444">
                        <a:moveTo>
                          <a:pt x="115546" y="75287"/>
                        </a:moveTo>
                        <a:cubicBezTo>
                          <a:pt x="115546" y="116846"/>
                          <a:pt x="90043" y="150445"/>
                          <a:pt x="58469" y="150445"/>
                        </a:cubicBezTo>
                        <a:cubicBezTo>
                          <a:pt x="26894" y="150445"/>
                          <a:pt x="1392" y="116711"/>
                          <a:pt x="1392" y="75287"/>
                        </a:cubicBezTo>
                        <a:cubicBezTo>
                          <a:pt x="1392" y="33727"/>
                          <a:pt x="-14126" y="5931"/>
                          <a:pt x="58469" y="129"/>
                        </a:cubicBezTo>
                        <a:cubicBezTo>
                          <a:pt x="89908" y="-2435"/>
                          <a:pt x="115546" y="33727"/>
                          <a:pt x="115546" y="75287"/>
                        </a:cubicBezTo>
                        <a:close/>
                      </a:path>
                    </a:pathLst>
                  </a:custGeom>
                  <a:solidFill>
                    <a:srgbClr val="1C6D91"/>
                  </a:solidFill>
                  <a:ln w="1349" cap="flat">
                    <a:noFill/>
                    <a:prstDash val="solid"/>
                    <a:miter/>
                  </a:ln>
                </p:spPr>
                <p:txBody>
                  <a:bodyPr rtlCol="0" anchor="ctr"/>
                  <a:lstStyle/>
                  <a:p>
                    <a:endParaRPr lang="en-IN">
                      <a:latin typeface="+mn-lt"/>
                    </a:endParaRPr>
                  </a:p>
                </p:txBody>
              </p:sp>
              <p:sp>
                <p:nvSpPr>
                  <p:cNvPr id="285" name="Freeform: Shape 150">
                    <a:extLst>
                      <a:ext uri="{FF2B5EF4-FFF2-40B4-BE49-F238E27FC236}">
                        <a16:creationId xmlns:a16="http://schemas.microsoft.com/office/drawing/2014/main" id="{7C5E7B9B-9C19-104D-A65F-E1241B35F374}"/>
                      </a:ext>
                    </a:extLst>
                  </p:cNvPr>
                  <p:cNvSpPr/>
                  <p:nvPr/>
                </p:nvSpPr>
                <p:spPr>
                  <a:xfrm>
                    <a:off x="8528734" y="3102050"/>
                    <a:ext cx="205976" cy="593723"/>
                  </a:xfrm>
                  <a:custGeom>
                    <a:avLst/>
                    <a:gdLst>
                      <a:gd name="connsiteX0" fmla="*/ 40044 w 205976"/>
                      <a:gd name="connsiteY0" fmla="*/ 564627 h 593723"/>
                      <a:gd name="connsiteX1" fmla="*/ 48140 w 205976"/>
                      <a:gd name="connsiteY1" fmla="*/ 456680 h 593723"/>
                      <a:gd name="connsiteX2" fmla="*/ 80794 w 205976"/>
                      <a:gd name="connsiteY2" fmla="*/ 370188 h 593723"/>
                      <a:gd name="connsiteX3" fmla="*/ 138950 w 205976"/>
                      <a:gd name="connsiteY3" fmla="*/ 589860 h 593723"/>
                      <a:gd name="connsiteX4" fmla="*/ 162294 w 205976"/>
                      <a:gd name="connsiteY4" fmla="*/ 590400 h 593723"/>
                      <a:gd name="connsiteX5" fmla="*/ 164183 w 205976"/>
                      <a:gd name="connsiteY5" fmla="*/ 293950 h 593723"/>
                      <a:gd name="connsiteX6" fmla="*/ 184423 w 205976"/>
                      <a:gd name="connsiteY6" fmla="*/ 251986 h 593723"/>
                      <a:gd name="connsiteX7" fmla="*/ 205337 w 205976"/>
                      <a:gd name="connsiteY7" fmla="*/ 147143 h 593723"/>
                      <a:gd name="connsiteX8" fmla="*/ 151634 w 205976"/>
                      <a:gd name="connsiteY8" fmla="*/ 470 h 593723"/>
                      <a:gd name="connsiteX9" fmla="*/ 45576 w 205976"/>
                      <a:gd name="connsiteY9" fmla="*/ 12749 h 593723"/>
                      <a:gd name="connsiteX10" fmla="*/ 12787 w 205976"/>
                      <a:gd name="connsiteY10" fmla="*/ 217443 h 593723"/>
                      <a:gd name="connsiteX11" fmla="*/ 104 w 205976"/>
                      <a:gd name="connsiteY11" fmla="*/ 468959 h 593723"/>
                      <a:gd name="connsiteX12" fmla="*/ 6985 w 205976"/>
                      <a:gd name="connsiteY12" fmla="*/ 558555 h 593723"/>
                      <a:gd name="connsiteX13" fmla="*/ 40044 w 205976"/>
                      <a:gd name="connsiteY13" fmla="*/ 564627 h 593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976" h="593723">
                        <a:moveTo>
                          <a:pt x="40044" y="564627"/>
                        </a:moveTo>
                        <a:cubicBezTo>
                          <a:pt x="40044" y="564627"/>
                          <a:pt x="38020" y="478944"/>
                          <a:pt x="48140" y="456680"/>
                        </a:cubicBezTo>
                        <a:cubicBezTo>
                          <a:pt x="58260" y="434551"/>
                          <a:pt x="70674" y="355480"/>
                          <a:pt x="80794" y="370188"/>
                        </a:cubicBezTo>
                        <a:cubicBezTo>
                          <a:pt x="90914" y="385031"/>
                          <a:pt x="129235" y="581494"/>
                          <a:pt x="138950" y="589860"/>
                        </a:cubicBezTo>
                        <a:cubicBezTo>
                          <a:pt x="148800" y="598226"/>
                          <a:pt x="162294" y="590400"/>
                          <a:pt x="162294" y="590400"/>
                        </a:cubicBezTo>
                        <a:lnTo>
                          <a:pt x="164183" y="293950"/>
                        </a:lnTo>
                        <a:cubicBezTo>
                          <a:pt x="164183" y="293950"/>
                          <a:pt x="184423" y="259407"/>
                          <a:pt x="184423" y="251986"/>
                        </a:cubicBezTo>
                        <a:cubicBezTo>
                          <a:pt x="184423" y="244565"/>
                          <a:pt x="210330" y="179257"/>
                          <a:pt x="205337" y="147143"/>
                        </a:cubicBezTo>
                        <a:cubicBezTo>
                          <a:pt x="200345" y="115028"/>
                          <a:pt x="176867" y="2899"/>
                          <a:pt x="151634" y="470"/>
                        </a:cubicBezTo>
                        <a:cubicBezTo>
                          <a:pt x="126401" y="-1959"/>
                          <a:pt x="50569" y="5462"/>
                          <a:pt x="45576" y="12749"/>
                        </a:cubicBezTo>
                        <a:cubicBezTo>
                          <a:pt x="40584" y="20170"/>
                          <a:pt x="5636" y="98971"/>
                          <a:pt x="12787" y="217443"/>
                        </a:cubicBezTo>
                        <a:cubicBezTo>
                          <a:pt x="13597" y="229722"/>
                          <a:pt x="-1381" y="433742"/>
                          <a:pt x="104" y="468959"/>
                        </a:cubicBezTo>
                        <a:cubicBezTo>
                          <a:pt x="1588" y="503367"/>
                          <a:pt x="6985" y="558555"/>
                          <a:pt x="6985" y="558555"/>
                        </a:cubicBezTo>
                        <a:lnTo>
                          <a:pt x="40044" y="564627"/>
                        </a:lnTo>
                        <a:close/>
                      </a:path>
                    </a:pathLst>
                  </a:custGeom>
                  <a:solidFill>
                    <a:srgbClr val="1C6D91"/>
                  </a:solidFill>
                  <a:ln w="1349" cap="flat">
                    <a:noFill/>
                    <a:prstDash val="solid"/>
                    <a:miter/>
                  </a:ln>
                </p:spPr>
                <p:txBody>
                  <a:bodyPr rtlCol="0" anchor="ctr"/>
                  <a:lstStyle/>
                  <a:p>
                    <a:endParaRPr lang="en-IN">
                      <a:latin typeface="+mn-lt"/>
                    </a:endParaRPr>
                  </a:p>
                </p:txBody>
              </p:sp>
              <p:sp>
                <p:nvSpPr>
                  <p:cNvPr id="286" name="Freeform: Shape 151">
                    <a:extLst>
                      <a:ext uri="{FF2B5EF4-FFF2-40B4-BE49-F238E27FC236}">
                        <a16:creationId xmlns:a16="http://schemas.microsoft.com/office/drawing/2014/main" id="{EC683C6D-0F00-244F-934E-2155E244CA17}"/>
                      </a:ext>
                    </a:extLst>
                  </p:cNvPr>
                  <p:cNvSpPr/>
                  <p:nvPr/>
                </p:nvSpPr>
                <p:spPr>
                  <a:xfrm rot="-3149510">
                    <a:off x="8594923" y="2902643"/>
                    <a:ext cx="225618" cy="168404"/>
                  </a:xfrm>
                  <a:custGeom>
                    <a:avLst/>
                    <a:gdLst>
                      <a:gd name="connsiteX0" fmla="*/ 225618 w 225618"/>
                      <a:gd name="connsiteY0" fmla="*/ 84202 h 168404"/>
                      <a:gd name="connsiteX1" fmla="*/ 112809 w 225618"/>
                      <a:gd name="connsiteY1" fmla="*/ 168404 h 168404"/>
                      <a:gd name="connsiteX2" fmla="*/ 0 w 225618"/>
                      <a:gd name="connsiteY2" fmla="*/ 84202 h 168404"/>
                      <a:gd name="connsiteX3" fmla="*/ 112809 w 225618"/>
                      <a:gd name="connsiteY3" fmla="*/ 0 h 168404"/>
                      <a:gd name="connsiteX4" fmla="*/ 225618 w 225618"/>
                      <a:gd name="connsiteY4" fmla="*/ 84202 h 168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618" h="168404">
                        <a:moveTo>
                          <a:pt x="225618" y="84202"/>
                        </a:moveTo>
                        <a:cubicBezTo>
                          <a:pt x="225618" y="130706"/>
                          <a:pt x="175112" y="168404"/>
                          <a:pt x="112809" y="168404"/>
                        </a:cubicBezTo>
                        <a:cubicBezTo>
                          <a:pt x="50506" y="168404"/>
                          <a:pt x="0" y="130706"/>
                          <a:pt x="0" y="84202"/>
                        </a:cubicBezTo>
                        <a:cubicBezTo>
                          <a:pt x="0" y="37699"/>
                          <a:pt x="50506" y="0"/>
                          <a:pt x="112809" y="0"/>
                        </a:cubicBezTo>
                        <a:cubicBezTo>
                          <a:pt x="175112" y="0"/>
                          <a:pt x="225618" y="37698"/>
                          <a:pt x="225618" y="84202"/>
                        </a:cubicBezTo>
                        <a:close/>
                      </a:path>
                    </a:pathLst>
                  </a:custGeom>
                  <a:solidFill>
                    <a:srgbClr val="145B82"/>
                  </a:solidFill>
                  <a:ln w="1349" cap="flat">
                    <a:noFill/>
                    <a:prstDash val="solid"/>
                    <a:miter/>
                  </a:ln>
                </p:spPr>
                <p:txBody>
                  <a:bodyPr rtlCol="0" anchor="ctr"/>
                  <a:lstStyle/>
                  <a:p>
                    <a:endParaRPr lang="en-IN">
                      <a:latin typeface="+mn-lt"/>
                    </a:endParaRPr>
                  </a:p>
                </p:txBody>
              </p:sp>
              <p:sp>
                <p:nvSpPr>
                  <p:cNvPr id="287" name="Freeform: Shape 152">
                    <a:extLst>
                      <a:ext uri="{FF2B5EF4-FFF2-40B4-BE49-F238E27FC236}">
                        <a16:creationId xmlns:a16="http://schemas.microsoft.com/office/drawing/2014/main" id="{2F96127E-94EA-A44D-86E0-FD162D889762}"/>
                      </a:ext>
                    </a:extLst>
                  </p:cNvPr>
                  <p:cNvSpPr/>
                  <p:nvPr/>
                </p:nvSpPr>
                <p:spPr>
                  <a:xfrm>
                    <a:off x="8630731" y="3060289"/>
                    <a:ext cx="219946" cy="632160"/>
                  </a:xfrm>
                  <a:custGeom>
                    <a:avLst/>
                    <a:gdLst>
                      <a:gd name="connsiteX0" fmla="*/ 26968 w 219946"/>
                      <a:gd name="connsiteY0" fmla="*/ 607468 h 632160"/>
                      <a:gd name="connsiteX1" fmla="*/ 51390 w 219946"/>
                      <a:gd name="connsiteY1" fmla="*/ 487377 h 632160"/>
                      <a:gd name="connsiteX2" fmla="*/ 86338 w 219946"/>
                      <a:gd name="connsiteY2" fmla="*/ 395082 h 632160"/>
                      <a:gd name="connsiteX3" fmla="*/ 148408 w 219946"/>
                      <a:gd name="connsiteY3" fmla="*/ 629462 h 632160"/>
                      <a:gd name="connsiteX4" fmla="*/ 161901 w 219946"/>
                      <a:gd name="connsiteY4" fmla="*/ 632161 h 632160"/>
                      <a:gd name="connsiteX5" fmla="*/ 175395 w 219946"/>
                      <a:gd name="connsiteY5" fmla="*/ 313717 h 632160"/>
                      <a:gd name="connsiteX6" fmla="*/ 196984 w 219946"/>
                      <a:gd name="connsiteY6" fmla="*/ 268919 h 632160"/>
                      <a:gd name="connsiteX7" fmla="*/ 219248 w 219946"/>
                      <a:gd name="connsiteY7" fmla="*/ 157059 h 632160"/>
                      <a:gd name="connsiteX8" fmla="*/ 161901 w 219946"/>
                      <a:gd name="connsiteY8" fmla="*/ 536 h 632160"/>
                      <a:gd name="connsiteX9" fmla="*/ 48692 w 219946"/>
                      <a:gd name="connsiteY9" fmla="*/ 13760 h 632160"/>
                      <a:gd name="connsiteX10" fmla="*/ 13609 w 219946"/>
                      <a:gd name="connsiteY10" fmla="*/ 232217 h 632160"/>
                      <a:gd name="connsiteX11" fmla="*/ 116 w 219946"/>
                      <a:gd name="connsiteY11" fmla="*/ 500600 h 632160"/>
                      <a:gd name="connsiteX12" fmla="*/ 13609 w 219946"/>
                      <a:gd name="connsiteY12" fmla="*/ 600586 h 632160"/>
                      <a:gd name="connsiteX13" fmla="*/ 26968 w 219946"/>
                      <a:gd name="connsiteY13" fmla="*/ 607468 h 63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946" h="632160">
                        <a:moveTo>
                          <a:pt x="26968" y="607468"/>
                        </a:moveTo>
                        <a:cubicBezTo>
                          <a:pt x="26968" y="607468"/>
                          <a:pt x="40596" y="511125"/>
                          <a:pt x="51390" y="487377"/>
                        </a:cubicBezTo>
                        <a:cubicBezTo>
                          <a:pt x="62185" y="463629"/>
                          <a:pt x="75544" y="379295"/>
                          <a:pt x="86338" y="395082"/>
                        </a:cubicBezTo>
                        <a:cubicBezTo>
                          <a:pt x="97133" y="410870"/>
                          <a:pt x="135724" y="634589"/>
                          <a:pt x="148408" y="629462"/>
                        </a:cubicBezTo>
                        <a:cubicBezTo>
                          <a:pt x="182951" y="615429"/>
                          <a:pt x="161901" y="632161"/>
                          <a:pt x="161901" y="632161"/>
                        </a:cubicBezTo>
                        <a:lnTo>
                          <a:pt x="175395" y="313717"/>
                        </a:lnTo>
                        <a:cubicBezTo>
                          <a:pt x="175395" y="313717"/>
                          <a:pt x="196984" y="276880"/>
                          <a:pt x="196984" y="268919"/>
                        </a:cubicBezTo>
                        <a:cubicBezTo>
                          <a:pt x="196984" y="260958"/>
                          <a:pt x="224645" y="191333"/>
                          <a:pt x="219248" y="157059"/>
                        </a:cubicBezTo>
                        <a:cubicBezTo>
                          <a:pt x="213851" y="122786"/>
                          <a:pt x="188888" y="3100"/>
                          <a:pt x="161901" y="536"/>
                        </a:cubicBezTo>
                        <a:cubicBezTo>
                          <a:pt x="134915" y="-2162"/>
                          <a:pt x="54089" y="5799"/>
                          <a:pt x="48692" y="13760"/>
                        </a:cubicBezTo>
                        <a:cubicBezTo>
                          <a:pt x="43294" y="21721"/>
                          <a:pt x="6053" y="105650"/>
                          <a:pt x="13609" y="232217"/>
                        </a:cubicBezTo>
                        <a:cubicBezTo>
                          <a:pt x="14419" y="245306"/>
                          <a:pt x="-1503" y="462954"/>
                          <a:pt x="116" y="500600"/>
                        </a:cubicBezTo>
                        <a:cubicBezTo>
                          <a:pt x="1735" y="537302"/>
                          <a:pt x="8212" y="590061"/>
                          <a:pt x="13609" y="600586"/>
                        </a:cubicBezTo>
                        <a:cubicBezTo>
                          <a:pt x="19006" y="611111"/>
                          <a:pt x="26968" y="607468"/>
                          <a:pt x="26968" y="607468"/>
                        </a:cubicBezTo>
                        <a:close/>
                      </a:path>
                    </a:pathLst>
                  </a:custGeom>
                  <a:solidFill>
                    <a:srgbClr val="145B82"/>
                  </a:solidFill>
                  <a:ln w="1349" cap="flat">
                    <a:noFill/>
                    <a:prstDash val="solid"/>
                    <a:miter/>
                  </a:ln>
                </p:spPr>
                <p:txBody>
                  <a:bodyPr rtlCol="0" anchor="ctr"/>
                  <a:lstStyle/>
                  <a:p>
                    <a:endParaRPr lang="en-IN">
                      <a:latin typeface="+mn-lt"/>
                    </a:endParaRPr>
                  </a:p>
                </p:txBody>
              </p:sp>
              <p:sp>
                <p:nvSpPr>
                  <p:cNvPr id="288" name="Freeform: Shape 153">
                    <a:extLst>
                      <a:ext uri="{FF2B5EF4-FFF2-40B4-BE49-F238E27FC236}">
                        <a16:creationId xmlns:a16="http://schemas.microsoft.com/office/drawing/2014/main" id="{D359A4BA-EE6A-BE4E-A5DC-E584668E234C}"/>
                      </a:ext>
                    </a:extLst>
                  </p:cNvPr>
                  <p:cNvSpPr/>
                  <p:nvPr/>
                </p:nvSpPr>
                <p:spPr>
                  <a:xfrm>
                    <a:off x="9520464" y="3070545"/>
                    <a:ext cx="224013" cy="611515"/>
                  </a:xfrm>
                  <a:custGeom>
                    <a:avLst/>
                    <a:gdLst>
                      <a:gd name="connsiteX0" fmla="*/ 36702 w 224013"/>
                      <a:gd name="connsiteY0" fmla="*/ 601261 h 611515"/>
                      <a:gd name="connsiteX1" fmla="*/ 70030 w 224013"/>
                      <a:gd name="connsiteY1" fmla="*/ 413973 h 611515"/>
                      <a:gd name="connsiteX2" fmla="*/ 90406 w 224013"/>
                      <a:gd name="connsiteY2" fmla="*/ 395217 h 611515"/>
                      <a:gd name="connsiteX3" fmla="*/ 95803 w 224013"/>
                      <a:gd name="connsiteY3" fmla="*/ 595863 h 611515"/>
                      <a:gd name="connsiteX4" fmla="*/ 147752 w 224013"/>
                      <a:gd name="connsiteY4" fmla="*/ 611516 h 611515"/>
                      <a:gd name="connsiteX5" fmla="*/ 179462 w 224013"/>
                      <a:gd name="connsiteY5" fmla="*/ 313717 h 611515"/>
                      <a:gd name="connsiteX6" fmla="*/ 201051 w 224013"/>
                      <a:gd name="connsiteY6" fmla="*/ 268919 h 611515"/>
                      <a:gd name="connsiteX7" fmla="*/ 223315 w 224013"/>
                      <a:gd name="connsiteY7" fmla="*/ 157059 h 611515"/>
                      <a:gd name="connsiteX8" fmla="*/ 165968 w 224013"/>
                      <a:gd name="connsiteY8" fmla="*/ 536 h 611515"/>
                      <a:gd name="connsiteX9" fmla="*/ 52759 w 224013"/>
                      <a:gd name="connsiteY9" fmla="*/ 13760 h 611515"/>
                      <a:gd name="connsiteX10" fmla="*/ 17676 w 224013"/>
                      <a:gd name="connsiteY10" fmla="*/ 232217 h 611515"/>
                      <a:gd name="connsiteX11" fmla="*/ 4183 w 224013"/>
                      <a:gd name="connsiteY11" fmla="*/ 500600 h 611515"/>
                      <a:gd name="connsiteX12" fmla="*/ 0 w 224013"/>
                      <a:gd name="connsiteY12" fmla="*/ 606793 h 611515"/>
                      <a:gd name="connsiteX13" fmla="*/ 36702 w 224013"/>
                      <a:gd name="connsiteY13" fmla="*/ 601261 h 61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4013" h="611515">
                        <a:moveTo>
                          <a:pt x="36702" y="601261"/>
                        </a:moveTo>
                        <a:lnTo>
                          <a:pt x="70030" y="413973"/>
                        </a:lnTo>
                        <a:cubicBezTo>
                          <a:pt x="80825" y="390224"/>
                          <a:pt x="79611" y="379430"/>
                          <a:pt x="90406" y="395217"/>
                        </a:cubicBezTo>
                        <a:cubicBezTo>
                          <a:pt x="101200" y="411004"/>
                          <a:pt x="95803" y="595863"/>
                          <a:pt x="95803" y="595863"/>
                        </a:cubicBezTo>
                        <a:lnTo>
                          <a:pt x="147752" y="611516"/>
                        </a:lnTo>
                        <a:lnTo>
                          <a:pt x="179462" y="313717"/>
                        </a:lnTo>
                        <a:cubicBezTo>
                          <a:pt x="179462" y="313717"/>
                          <a:pt x="201051" y="276880"/>
                          <a:pt x="201051" y="268919"/>
                        </a:cubicBezTo>
                        <a:cubicBezTo>
                          <a:pt x="201051" y="260958"/>
                          <a:pt x="228712" y="191332"/>
                          <a:pt x="223315" y="157059"/>
                        </a:cubicBezTo>
                        <a:cubicBezTo>
                          <a:pt x="217918" y="122786"/>
                          <a:pt x="192955" y="3100"/>
                          <a:pt x="165968" y="536"/>
                        </a:cubicBezTo>
                        <a:cubicBezTo>
                          <a:pt x="138982" y="-2162"/>
                          <a:pt x="58157" y="5799"/>
                          <a:pt x="52759" y="13760"/>
                        </a:cubicBezTo>
                        <a:cubicBezTo>
                          <a:pt x="47362" y="21721"/>
                          <a:pt x="10120" y="105650"/>
                          <a:pt x="17676" y="232217"/>
                        </a:cubicBezTo>
                        <a:cubicBezTo>
                          <a:pt x="18486" y="245306"/>
                          <a:pt x="2564" y="462954"/>
                          <a:pt x="4183" y="500600"/>
                        </a:cubicBezTo>
                        <a:cubicBezTo>
                          <a:pt x="5802" y="537302"/>
                          <a:pt x="0" y="606793"/>
                          <a:pt x="0" y="606793"/>
                        </a:cubicBezTo>
                        <a:lnTo>
                          <a:pt x="36702" y="601261"/>
                        </a:lnTo>
                        <a:close/>
                      </a:path>
                    </a:pathLst>
                  </a:custGeom>
                  <a:solidFill>
                    <a:srgbClr val="145B82"/>
                  </a:solidFill>
                  <a:ln w="1349" cap="flat">
                    <a:noFill/>
                    <a:prstDash val="solid"/>
                    <a:miter/>
                  </a:ln>
                </p:spPr>
                <p:txBody>
                  <a:bodyPr rtlCol="0" anchor="ctr"/>
                  <a:lstStyle/>
                  <a:p>
                    <a:endParaRPr lang="en-IN">
                      <a:latin typeface="+mn-lt"/>
                    </a:endParaRPr>
                  </a:p>
                </p:txBody>
              </p:sp>
              <p:sp>
                <p:nvSpPr>
                  <p:cNvPr id="289" name="Freeform: Shape 154">
                    <a:extLst>
                      <a:ext uri="{FF2B5EF4-FFF2-40B4-BE49-F238E27FC236}">
                        <a16:creationId xmlns:a16="http://schemas.microsoft.com/office/drawing/2014/main" id="{39966D71-9242-3A48-A52E-7EF6CF61BB6B}"/>
                      </a:ext>
                    </a:extLst>
                  </p:cNvPr>
                  <p:cNvSpPr/>
                  <p:nvPr/>
                </p:nvSpPr>
                <p:spPr>
                  <a:xfrm>
                    <a:off x="8947536" y="3032223"/>
                    <a:ext cx="229006" cy="634699"/>
                  </a:xfrm>
                  <a:custGeom>
                    <a:avLst/>
                    <a:gdLst>
                      <a:gd name="connsiteX0" fmla="*/ 41020 w 229006"/>
                      <a:gd name="connsiteY0" fmla="*/ 632430 h 634699"/>
                      <a:gd name="connsiteX1" fmla="*/ 60450 w 229006"/>
                      <a:gd name="connsiteY1" fmla="*/ 487512 h 634699"/>
                      <a:gd name="connsiteX2" fmla="*/ 95398 w 229006"/>
                      <a:gd name="connsiteY2" fmla="*/ 395217 h 634699"/>
                      <a:gd name="connsiteX3" fmla="*/ 139252 w 229006"/>
                      <a:gd name="connsiteY3" fmla="*/ 632430 h 634699"/>
                      <a:gd name="connsiteX4" fmla="*/ 168937 w 229006"/>
                      <a:gd name="connsiteY4" fmla="*/ 629462 h 634699"/>
                      <a:gd name="connsiteX5" fmla="*/ 184454 w 229006"/>
                      <a:gd name="connsiteY5" fmla="*/ 313717 h 634699"/>
                      <a:gd name="connsiteX6" fmla="*/ 206044 w 229006"/>
                      <a:gd name="connsiteY6" fmla="*/ 268919 h 634699"/>
                      <a:gd name="connsiteX7" fmla="*/ 228308 w 229006"/>
                      <a:gd name="connsiteY7" fmla="*/ 157059 h 634699"/>
                      <a:gd name="connsiteX8" fmla="*/ 170961 w 229006"/>
                      <a:gd name="connsiteY8" fmla="*/ 536 h 634699"/>
                      <a:gd name="connsiteX9" fmla="*/ 57752 w 229006"/>
                      <a:gd name="connsiteY9" fmla="*/ 13760 h 634699"/>
                      <a:gd name="connsiteX10" fmla="*/ 22669 w 229006"/>
                      <a:gd name="connsiteY10" fmla="*/ 232217 h 634699"/>
                      <a:gd name="connsiteX11" fmla="*/ 9176 w 229006"/>
                      <a:gd name="connsiteY11" fmla="*/ 500600 h 634699"/>
                      <a:gd name="connsiteX12" fmla="*/ 0 w 229006"/>
                      <a:gd name="connsiteY12" fmla="*/ 632430 h 634699"/>
                      <a:gd name="connsiteX13" fmla="*/ 41020 w 229006"/>
                      <a:gd name="connsiteY13" fmla="*/ 632430 h 634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9006" h="634699">
                        <a:moveTo>
                          <a:pt x="41020" y="632430"/>
                        </a:moveTo>
                        <a:cubicBezTo>
                          <a:pt x="41020" y="632430"/>
                          <a:pt x="52894" y="512339"/>
                          <a:pt x="60450" y="487512"/>
                        </a:cubicBezTo>
                        <a:cubicBezTo>
                          <a:pt x="71380" y="451349"/>
                          <a:pt x="84604" y="379430"/>
                          <a:pt x="95398" y="395217"/>
                        </a:cubicBezTo>
                        <a:cubicBezTo>
                          <a:pt x="106193" y="411004"/>
                          <a:pt x="139252" y="632430"/>
                          <a:pt x="139252" y="632430"/>
                        </a:cubicBezTo>
                        <a:cubicBezTo>
                          <a:pt x="154229" y="638907"/>
                          <a:pt x="168937" y="629462"/>
                          <a:pt x="168937" y="629462"/>
                        </a:cubicBezTo>
                        <a:lnTo>
                          <a:pt x="184454" y="313717"/>
                        </a:lnTo>
                        <a:cubicBezTo>
                          <a:pt x="184454" y="313717"/>
                          <a:pt x="206044" y="276880"/>
                          <a:pt x="206044" y="268919"/>
                        </a:cubicBezTo>
                        <a:cubicBezTo>
                          <a:pt x="206044" y="260958"/>
                          <a:pt x="233705" y="191333"/>
                          <a:pt x="228308" y="157059"/>
                        </a:cubicBezTo>
                        <a:cubicBezTo>
                          <a:pt x="222911" y="122786"/>
                          <a:pt x="197948" y="3100"/>
                          <a:pt x="170961" y="536"/>
                        </a:cubicBezTo>
                        <a:cubicBezTo>
                          <a:pt x="143974" y="-2162"/>
                          <a:pt x="63149" y="5799"/>
                          <a:pt x="57752" y="13760"/>
                        </a:cubicBezTo>
                        <a:cubicBezTo>
                          <a:pt x="52354" y="21721"/>
                          <a:pt x="15113" y="105650"/>
                          <a:pt x="22669" y="232217"/>
                        </a:cubicBezTo>
                        <a:cubicBezTo>
                          <a:pt x="23479" y="245306"/>
                          <a:pt x="7556" y="462954"/>
                          <a:pt x="9176" y="500600"/>
                        </a:cubicBezTo>
                        <a:lnTo>
                          <a:pt x="0" y="632430"/>
                        </a:lnTo>
                        <a:lnTo>
                          <a:pt x="41020" y="632430"/>
                        </a:lnTo>
                        <a:close/>
                      </a:path>
                    </a:pathLst>
                  </a:custGeom>
                  <a:solidFill>
                    <a:srgbClr val="145B82"/>
                  </a:solidFill>
                  <a:ln w="1349" cap="flat">
                    <a:noFill/>
                    <a:prstDash val="solid"/>
                    <a:miter/>
                  </a:ln>
                </p:spPr>
                <p:txBody>
                  <a:bodyPr rtlCol="0" anchor="ctr"/>
                  <a:lstStyle/>
                  <a:p>
                    <a:endParaRPr lang="en-IN">
                      <a:latin typeface="+mn-lt"/>
                    </a:endParaRPr>
                  </a:p>
                </p:txBody>
              </p:sp>
              <p:sp>
                <p:nvSpPr>
                  <p:cNvPr id="290" name="Freeform: Shape 155">
                    <a:extLst>
                      <a:ext uri="{FF2B5EF4-FFF2-40B4-BE49-F238E27FC236}">
                        <a16:creationId xmlns:a16="http://schemas.microsoft.com/office/drawing/2014/main" id="{A5AC1C63-91C8-7B4E-AC06-C2B021E446F6}"/>
                      </a:ext>
                    </a:extLst>
                  </p:cNvPr>
                  <p:cNvSpPr/>
                  <p:nvPr/>
                </p:nvSpPr>
                <p:spPr>
                  <a:xfrm>
                    <a:off x="9252621" y="3032223"/>
                    <a:ext cx="228736" cy="642373"/>
                  </a:xfrm>
                  <a:custGeom>
                    <a:avLst/>
                    <a:gdLst>
                      <a:gd name="connsiteX0" fmla="*/ 40750 w 228736"/>
                      <a:gd name="connsiteY0" fmla="*/ 641336 h 642373"/>
                      <a:gd name="connsiteX1" fmla="*/ 60181 w 228736"/>
                      <a:gd name="connsiteY1" fmla="*/ 487377 h 642373"/>
                      <a:gd name="connsiteX2" fmla="*/ 95128 w 228736"/>
                      <a:gd name="connsiteY2" fmla="*/ 395082 h 642373"/>
                      <a:gd name="connsiteX3" fmla="*/ 141410 w 228736"/>
                      <a:gd name="connsiteY3" fmla="*/ 641066 h 642373"/>
                      <a:gd name="connsiteX4" fmla="*/ 184454 w 228736"/>
                      <a:gd name="connsiteY4" fmla="*/ 627843 h 642373"/>
                      <a:gd name="connsiteX5" fmla="*/ 184184 w 228736"/>
                      <a:gd name="connsiteY5" fmla="*/ 313717 h 642373"/>
                      <a:gd name="connsiteX6" fmla="*/ 205774 w 228736"/>
                      <a:gd name="connsiteY6" fmla="*/ 268919 h 642373"/>
                      <a:gd name="connsiteX7" fmla="*/ 228038 w 228736"/>
                      <a:gd name="connsiteY7" fmla="*/ 157059 h 642373"/>
                      <a:gd name="connsiteX8" fmla="*/ 170691 w 228736"/>
                      <a:gd name="connsiteY8" fmla="*/ 536 h 642373"/>
                      <a:gd name="connsiteX9" fmla="*/ 57482 w 228736"/>
                      <a:gd name="connsiteY9" fmla="*/ 13760 h 642373"/>
                      <a:gd name="connsiteX10" fmla="*/ 22399 w 228736"/>
                      <a:gd name="connsiteY10" fmla="*/ 232217 h 642373"/>
                      <a:gd name="connsiteX11" fmla="*/ 8906 w 228736"/>
                      <a:gd name="connsiteY11" fmla="*/ 500600 h 642373"/>
                      <a:gd name="connsiteX12" fmla="*/ 0 w 228736"/>
                      <a:gd name="connsiteY12" fmla="*/ 636478 h 642373"/>
                      <a:gd name="connsiteX13" fmla="*/ 40750 w 228736"/>
                      <a:gd name="connsiteY13" fmla="*/ 641336 h 64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736" h="642373">
                        <a:moveTo>
                          <a:pt x="40750" y="641336"/>
                        </a:moveTo>
                        <a:cubicBezTo>
                          <a:pt x="40750" y="641336"/>
                          <a:pt x="49386" y="511125"/>
                          <a:pt x="60181" y="487377"/>
                        </a:cubicBezTo>
                        <a:cubicBezTo>
                          <a:pt x="70975" y="463628"/>
                          <a:pt x="84334" y="379295"/>
                          <a:pt x="95128" y="395082"/>
                        </a:cubicBezTo>
                        <a:cubicBezTo>
                          <a:pt x="105923" y="410869"/>
                          <a:pt x="141410" y="641066"/>
                          <a:pt x="141410" y="641066"/>
                        </a:cubicBezTo>
                        <a:cubicBezTo>
                          <a:pt x="156388" y="647543"/>
                          <a:pt x="184454" y="627843"/>
                          <a:pt x="184454" y="627843"/>
                        </a:cubicBezTo>
                        <a:lnTo>
                          <a:pt x="184184" y="313717"/>
                        </a:lnTo>
                        <a:cubicBezTo>
                          <a:pt x="184184" y="313717"/>
                          <a:pt x="205774" y="276880"/>
                          <a:pt x="205774" y="268919"/>
                        </a:cubicBezTo>
                        <a:cubicBezTo>
                          <a:pt x="205774" y="260958"/>
                          <a:pt x="233435" y="191333"/>
                          <a:pt x="228038" y="157059"/>
                        </a:cubicBezTo>
                        <a:cubicBezTo>
                          <a:pt x="222640" y="122786"/>
                          <a:pt x="197678" y="3100"/>
                          <a:pt x="170691" y="536"/>
                        </a:cubicBezTo>
                        <a:cubicBezTo>
                          <a:pt x="143704" y="-2162"/>
                          <a:pt x="62879" y="5799"/>
                          <a:pt x="57482" y="13760"/>
                        </a:cubicBezTo>
                        <a:cubicBezTo>
                          <a:pt x="52085" y="21721"/>
                          <a:pt x="14843" y="105650"/>
                          <a:pt x="22399" y="232217"/>
                        </a:cubicBezTo>
                        <a:cubicBezTo>
                          <a:pt x="23209" y="245306"/>
                          <a:pt x="7286" y="462954"/>
                          <a:pt x="8906" y="500600"/>
                        </a:cubicBezTo>
                        <a:lnTo>
                          <a:pt x="0" y="636478"/>
                        </a:lnTo>
                        <a:lnTo>
                          <a:pt x="40750" y="641336"/>
                        </a:lnTo>
                        <a:close/>
                      </a:path>
                    </a:pathLst>
                  </a:custGeom>
                  <a:solidFill>
                    <a:srgbClr val="145B82"/>
                  </a:solidFill>
                  <a:ln w="1349" cap="flat">
                    <a:noFill/>
                    <a:prstDash val="solid"/>
                    <a:miter/>
                  </a:ln>
                </p:spPr>
                <p:txBody>
                  <a:bodyPr rtlCol="0" anchor="ctr"/>
                  <a:lstStyle/>
                  <a:p>
                    <a:endParaRPr lang="en-IN">
                      <a:latin typeface="+mn-lt"/>
                    </a:endParaRPr>
                  </a:p>
                </p:txBody>
              </p:sp>
              <p:sp>
                <p:nvSpPr>
                  <p:cNvPr id="291" name="Freeform: Shape 156">
                    <a:extLst>
                      <a:ext uri="{FF2B5EF4-FFF2-40B4-BE49-F238E27FC236}">
                        <a16:creationId xmlns:a16="http://schemas.microsoft.com/office/drawing/2014/main" id="{15D1988B-B71C-6F4F-BA4A-A412989D180E}"/>
                      </a:ext>
                    </a:extLst>
                  </p:cNvPr>
                  <p:cNvSpPr/>
                  <p:nvPr/>
                </p:nvSpPr>
                <p:spPr>
                  <a:xfrm>
                    <a:off x="8866730" y="3040994"/>
                    <a:ext cx="219946" cy="630271"/>
                  </a:xfrm>
                  <a:custGeom>
                    <a:avLst/>
                    <a:gdLst>
                      <a:gd name="connsiteX0" fmla="*/ 36818 w 219946"/>
                      <a:gd name="connsiteY0" fmla="*/ 627843 h 630271"/>
                      <a:gd name="connsiteX1" fmla="*/ 51391 w 219946"/>
                      <a:gd name="connsiteY1" fmla="*/ 487377 h 630271"/>
                      <a:gd name="connsiteX2" fmla="*/ 90926 w 219946"/>
                      <a:gd name="connsiteY2" fmla="*/ 311019 h 630271"/>
                      <a:gd name="connsiteX3" fmla="*/ 141121 w 219946"/>
                      <a:gd name="connsiteY3" fmla="*/ 627438 h 630271"/>
                      <a:gd name="connsiteX4" fmla="*/ 170132 w 219946"/>
                      <a:gd name="connsiteY4" fmla="*/ 630271 h 630271"/>
                      <a:gd name="connsiteX5" fmla="*/ 175394 w 219946"/>
                      <a:gd name="connsiteY5" fmla="*/ 313717 h 630271"/>
                      <a:gd name="connsiteX6" fmla="*/ 196984 w 219946"/>
                      <a:gd name="connsiteY6" fmla="*/ 268919 h 630271"/>
                      <a:gd name="connsiteX7" fmla="*/ 219248 w 219946"/>
                      <a:gd name="connsiteY7" fmla="*/ 157059 h 630271"/>
                      <a:gd name="connsiteX8" fmla="*/ 161901 w 219946"/>
                      <a:gd name="connsiteY8" fmla="*/ 536 h 630271"/>
                      <a:gd name="connsiteX9" fmla="*/ 48692 w 219946"/>
                      <a:gd name="connsiteY9" fmla="*/ 13760 h 630271"/>
                      <a:gd name="connsiteX10" fmla="*/ 13609 w 219946"/>
                      <a:gd name="connsiteY10" fmla="*/ 232217 h 630271"/>
                      <a:gd name="connsiteX11" fmla="*/ 116 w 219946"/>
                      <a:gd name="connsiteY11" fmla="*/ 500600 h 630271"/>
                      <a:gd name="connsiteX12" fmla="*/ 5108 w 219946"/>
                      <a:gd name="connsiteY12" fmla="*/ 630271 h 630271"/>
                      <a:gd name="connsiteX13" fmla="*/ 36818 w 219946"/>
                      <a:gd name="connsiteY13" fmla="*/ 627843 h 630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946" h="630271">
                        <a:moveTo>
                          <a:pt x="36818" y="627843"/>
                        </a:moveTo>
                        <a:cubicBezTo>
                          <a:pt x="36818" y="627843"/>
                          <a:pt x="40596" y="510990"/>
                          <a:pt x="51391" y="487377"/>
                        </a:cubicBezTo>
                        <a:cubicBezTo>
                          <a:pt x="62185" y="463628"/>
                          <a:pt x="80131" y="295231"/>
                          <a:pt x="90926" y="311019"/>
                        </a:cubicBezTo>
                        <a:cubicBezTo>
                          <a:pt x="101720" y="326806"/>
                          <a:pt x="141121" y="627438"/>
                          <a:pt x="141121" y="627438"/>
                        </a:cubicBezTo>
                        <a:lnTo>
                          <a:pt x="170132" y="630271"/>
                        </a:lnTo>
                        <a:lnTo>
                          <a:pt x="175394" y="313717"/>
                        </a:lnTo>
                        <a:cubicBezTo>
                          <a:pt x="175394" y="313717"/>
                          <a:pt x="196984" y="276880"/>
                          <a:pt x="196984" y="268919"/>
                        </a:cubicBezTo>
                        <a:cubicBezTo>
                          <a:pt x="196984" y="260958"/>
                          <a:pt x="224645" y="191333"/>
                          <a:pt x="219248" y="157059"/>
                        </a:cubicBezTo>
                        <a:cubicBezTo>
                          <a:pt x="213850" y="122786"/>
                          <a:pt x="188888" y="3100"/>
                          <a:pt x="161901" y="536"/>
                        </a:cubicBezTo>
                        <a:cubicBezTo>
                          <a:pt x="134914" y="-2162"/>
                          <a:pt x="54089" y="5799"/>
                          <a:pt x="48692" y="13760"/>
                        </a:cubicBezTo>
                        <a:cubicBezTo>
                          <a:pt x="43295" y="21721"/>
                          <a:pt x="6053" y="105650"/>
                          <a:pt x="13609" y="232217"/>
                        </a:cubicBezTo>
                        <a:cubicBezTo>
                          <a:pt x="14419" y="245306"/>
                          <a:pt x="-1504" y="462954"/>
                          <a:pt x="116" y="500600"/>
                        </a:cubicBezTo>
                        <a:cubicBezTo>
                          <a:pt x="1735" y="537302"/>
                          <a:pt x="5108" y="630271"/>
                          <a:pt x="5108" y="630271"/>
                        </a:cubicBezTo>
                        <a:lnTo>
                          <a:pt x="36818" y="627843"/>
                        </a:lnTo>
                        <a:close/>
                      </a:path>
                    </a:pathLst>
                  </a:custGeom>
                  <a:solidFill>
                    <a:srgbClr val="145B82"/>
                  </a:solidFill>
                  <a:ln w="1349" cap="flat">
                    <a:noFill/>
                    <a:prstDash val="solid"/>
                    <a:miter/>
                  </a:ln>
                </p:spPr>
                <p:txBody>
                  <a:bodyPr rtlCol="0" anchor="ctr"/>
                  <a:lstStyle/>
                  <a:p>
                    <a:endParaRPr lang="en-IN">
                      <a:latin typeface="+mn-lt"/>
                    </a:endParaRPr>
                  </a:p>
                </p:txBody>
              </p:sp>
              <p:sp>
                <p:nvSpPr>
                  <p:cNvPr id="292" name="Freeform: Shape 157">
                    <a:extLst>
                      <a:ext uri="{FF2B5EF4-FFF2-40B4-BE49-F238E27FC236}">
                        <a16:creationId xmlns:a16="http://schemas.microsoft.com/office/drawing/2014/main" id="{CCE8948F-03CA-8C41-B654-A952000B30B1}"/>
                      </a:ext>
                    </a:extLst>
                  </p:cNvPr>
                  <p:cNvSpPr/>
                  <p:nvPr/>
                </p:nvSpPr>
                <p:spPr>
                  <a:xfrm>
                    <a:off x="8487702" y="3063029"/>
                    <a:ext cx="219946" cy="632119"/>
                  </a:xfrm>
                  <a:custGeom>
                    <a:avLst/>
                    <a:gdLst>
                      <a:gd name="connsiteX0" fmla="*/ 41406 w 219946"/>
                      <a:gd name="connsiteY0" fmla="*/ 620111 h 632119"/>
                      <a:gd name="connsiteX1" fmla="*/ 51390 w 219946"/>
                      <a:gd name="connsiteY1" fmla="*/ 487336 h 632119"/>
                      <a:gd name="connsiteX2" fmla="*/ 86338 w 219946"/>
                      <a:gd name="connsiteY2" fmla="*/ 395042 h 632119"/>
                      <a:gd name="connsiteX3" fmla="*/ 148408 w 219946"/>
                      <a:gd name="connsiteY3" fmla="*/ 629421 h 632119"/>
                      <a:gd name="connsiteX4" fmla="*/ 161901 w 219946"/>
                      <a:gd name="connsiteY4" fmla="*/ 632120 h 632119"/>
                      <a:gd name="connsiteX5" fmla="*/ 175395 w 219946"/>
                      <a:gd name="connsiteY5" fmla="*/ 313677 h 632119"/>
                      <a:gd name="connsiteX6" fmla="*/ 196984 w 219946"/>
                      <a:gd name="connsiteY6" fmla="*/ 268879 h 632119"/>
                      <a:gd name="connsiteX7" fmla="*/ 219248 w 219946"/>
                      <a:gd name="connsiteY7" fmla="*/ 157019 h 632119"/>
                      <a:gd name="connsiteX8" fmla="*/ 161901 w 219946"/>
                      <a:gd name="connsiteY8" fmla="*/ 496 h 632119"/>
                      <a:gd name="connsiteX9" fmla="*/ 48692 w 219946"/>
                      <a:gd name="connsiteY9" fmla="*/ 13719 h 632119"/>
                      <a:gd name="connsiteX10" fmla="*/ 13609 w 219946"/>
                      <a:gd name="connsiteY10" fmla="*/ 232177 h 632119"/>
                      <a:gd name="connsiteX11" fmla="*/ 116 w 219946"/>
                      <a:gd name="connsiteY11" fmla="*/ 500560 h 632119"/>
                      <a:gd name="connsiteX12" fmla="*/ 18737 w 219946"/>
                      <a:gd name="connsiteY12" fmla="*/ 617952 h 632119"/>
                      <a:gd name="connsiteX13" fmla="*/ 41406 w 219946"/>
                      <a:gd name="connsiteY13" fmla="*/ 620111 h 6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946" h="632119">
                        <a:moveTo>
                          <a:pt x="41406" y="620111"/>
                        </a:moveTo>
                        <a:cubicBezTo>
                          <a:pt x="41406" y="620111"/>
                          <a:pt x="40731" y="511084"/>
                          <a:pt x="51390" y="487336"/>
                        </a:cubicBezTo>
                        <a:cubicBezTo>
                          <a:pt x="62185" y="463588"/>
                          <a:pt x="75544" y="379254"/>
                          <a:pt x="86338" y="395042"/>
                        </a:cubicBezTo>
                        <a:cubicBezTo>
                          <a:pt x="97133" y="410829"/>
                          <a:pt x="135049" y="626723"/>
                          <a:pt x="148408" y="629421"/>
                        </a:cubicBezTo>
                        <a:cubicBezTo>
                          <a:pt x="161901" y="632120"/>
                          <a:pt x="161901" y="632120"/>
                          <a:pt x="161901" y="632120"/>
                        </a:cubicBezTo>
                        <a:lnTo>
                          <a:pt x="175395" y="313677"/>
                        </a:lnTo>
                        <a:cubicBezTo>
                          <a:pt x="175395" y="313677"/>
                          <a:pt x="196984" y="276840"/>
                          <a:pt x="196984" y="268879"/>
                        </a:cubicBezTo>
                        <a:cubicBezTo>
                          <a:pt x="196984" y="260917"/>
                          <a:pt x="224645" y="191292"/>
                          <a:pt x="219248" y="157019"/>
                        </a:cubicBezTo>
                        <a:cubicBezTo>
                          <a:pt x="213851" y="122746"/>
                          <a:pt x="188888" y="3059"/>
                          <a:pt x="161901" y="496"/>
                        </a:cubicBezTo>
                        <a:cubicBezTo>
                          <a:pt x="134915" y="-2068"/>
                          <a:pt x="54089" y="5758"/>
                          <a:pt x="48692" y="13719"/>
                        </a:cubicBezTo>
                        <a:cubicBezTo>
                          <a:pt x="43294" y="21680"/>
                          <a:pt x="6053" y="105609"/>
                          <a:pt x="13609" y="232177"/>
                        </a:cubicBezTo>
                        <a:cubicBezTo>
                          <a:pt x="14419" y="245265"/>
                          <a:pt x="-1503" y="462913"/>
                          <a:pt x="116" y="500560"/>
                        </a:cubicBezTo>
                        <a:cubicBezTo>
                          <a:pt x="1735" y="537262"/>
                          <a:pt x="18737" y="617952"/>
                          <a:pt x="18737" y="617952"/>
                        </a:cubicBezTo>
                        <a:lnTo>
                          <a:pt x="41406" y="620111"/>
                        </a:lnTo>
                        <a:close/>
                      </a:path>
                    </a:pathLst>
                  </a:custGeom>
                  <a:solidFill>
                    <a:srgbClr val="145B82"/>
                  </a:solidFill>
                  <a:ln w="1349" cap="flat">
                    <a:noFill/>
                    <a:prstDash val="solid"/>
                    <a:miter/>
                  </a:ln>
                </p:spPr>
                <p:txBody>
                  <a:bodyPr rtlCol="0" anchor="ctr"/>
                  <a:lstStyle/>
                  <a:p>
                    <a:endParaRPr lang="en-IN">
                      <a:latin typeface="+mn-lt"/>
                    </a:endParaRPr>
                  </a:p>
                </p:txBody>
              </p:sp>
              <p:sp>
                <p:nvSpPr>
                  <p:cNvPr id="293" name="Freeform: Shape 158">
                    <a:extLst>
                      <a:ext uri="{FF2B5EF4-FFF2-40B4-BE49-F238E27FC236}">
                        <a16:creationId xmlns:a16="http://schemas.microsoft.com/office/drawing/2014/main" id="{7763C163-8FEF-A14E-B902-3FFA0DAC237C}"/>
                      </a:ext>
                    </a:extLst>
                  </p:cNvPr>
                  <p:cNvSpPr/>
                  <p:nvPr/>
                </p:nvSpPr>
                <p:spPr>
                  <a:xfrm>
                    <a:off x="8755024" y="2781723"/>
                    <a:ext cx="154496" cy="194550"/>
                  </a:xfrm>
                  <a:custGeom>
                    <a:avLst/>
                    <a:gdLst>
                      <a:gd name="connsiteX0" fmla="*/ 147849 w 154496"/>
                      <a:gd name="connsiteY0" fmla="*/ 103419 h 194550"/>
                      <a:gd name="connsiteX1" fmla="*/ 65674 w 154496"/>
                      <a:gd name="connsiteY1" fmla="*/ 194365 h 194550"/>
                      <a:gd name="connsiteX2" fmla="*/ 502 w 154496"/>
                      <a:gd name="connsiteY2" fmla="*/ 91140 h 194550"/>
                      <a:gd name="connsiteX3" fmla="*/ 82676 w 154496"/>
                      <a:gd name="connsiteY3" fmla="*/ 195 h 194550"/>
                      <a:gd name="connsiteX4" fmla="*/ 147849 w 154496"/>
                      <a:gd name="connsiteY4" fmla="*/ 103419 h 194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96" h="194550">
                        <a:moveTo>
                          <a:pt x="147849" y="103419"/>
                        </a:moveTo>
                        <a:cubicBezTo>
                          <a:pt x="131657" y="154829"/>
                          <a:pt x="106425" y="197738"/>
                          <a:pt x="65674" y="194365"/>
                        </a:cubicBezTo>
                        <a:cubicBezTo>
                          <a:pt x="24925" y="190991"/>
                          <a:pt x="-4221" y="144709"/>
                          <a:pt x="502" y="91140"/>
                        </a:cubicBezTo>
                        <a:cubicBezTo>
                          <a:pt x="5224" y="37572"/>
                          <a:pt x="41926" y="-3178"/>
                          <a:pt x="82676" y="195"/>
                        </a:cubicBezTo>
                        <a:cubicBezTo>
                          <a:pt x="123426" y="3569"/>
                          <a:pt x="172542" y="24888"/>
                          <a:pt x="147849" y="103419"/>
                        </a:cubicBezTo>
                        <a:close/>
                      </a:path>
                    </a:pathLst>
                  </a:custGeom>
                  <a:solidFill>
                    <a:srgbClr val="0C3E7A"/>
                  </a:solidFill>
                  <a:ln w="1349" cap="flat">
                    <a:noFill/>
                    <a:prstDash val="solid"/>
                    <a:miter/>
                  </a:ln>
                </p:spPr>
                <p:txBody>
                  <a:bodyPr rtlCol="0" anchor="ctr"/>
                  <a:lstStyle/>
                  <a:p>
                    <a:endParaRPr lang="en-IN">
                      <a:latin typeface="+mn-lt"/>
                    </a:endParaRPr>
                  </a:p>
                </p:txBody>
              </p:sp>
              <p:sp>
                <p:nvSpPr>
                  <p:cNvPr id="294" name="Freeform: Shape 159">
                    <a:extLst>
                      <a:ext uri="{FF2B5EF4-FFF2-40B4-BE49-F238E27FC236}">
                        <a16:creationId xmlns:a16="http://schemas.microsoft.com/office/drawing/2014/main" id="{A67D3E2B-F374-2B43-B93A-69DBC0E47700}"/>
                      </a:ext>
                    </a:extLst>
                  </p:cNvPr>
                  <p:cNvSpPr/>
                  <p:nvPr/>
                </p:nvSpPr>
                <p:spPr>
                  <a:xfrm>
                    <a:off x="8620961" y="2733798"/>
                    <a:ext cx="137912" cy="173635"/>
                  </a:xfrm>
                  <a:custGeom>
                    <a:avLst/>
                    <a:gdLst>
                      <a:gd name="connsiteX0" fmla="*/ 132001 w 137912"/>
                      <a:gd name="connsiteY0" fmla="*/ 92243 h 173635"/>
                      <a:gd name="connsiteX1" fmla="*/ 58597 w 137912"/>
                      <a:gd name="connsiteY1" fmla="*/ 173473 h 173635"/>
                      <a:gd name="connsiteX2" fmla="*/ 441 w 137912"/>
                      <a:gd name="connsiteY2" fmla="*/ 81314 h 173635"/>
                      <a:gd name="connsiteX3" fmla="*/ 27833 w 137912"/>
                      <a:gd name="connsiteY3" fmla="*/ 8720 h 173635"/>
                      <a:gd name="connsiteX4" fmla="*/ 73845 w 137912"/>
                      <a:gd name="connsiteY4" fmla="*/ 84 h 173635"/>
                      <a:gd name="connsiteX5" fmla="*/ 132001 w 137912"/>
                      <a:gd name="connsiteY5" fmla="*/ 92243 h 17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912" h="173635">
                        <a:moveTo>
                          <a:pt x="132001" y="92243"/>
                        </a:moveTo>
                        <a:cubicBezTo>
                          <a:pt x="117563" y="138121"/>
                          <a:pt x="95030" y="176442"/>
                          <a:pt x="58597" y="173473"/>
                        </a:cubicBezTo>
                        <a:cubicBezTo>
                          <a:pt x="22300" y="170505"/>
                          <a:pt x="-3742" y="129215"/>
                          <a:pt x="441" y="81314"/>
                        </a:cubicBezTo>
                        <a:cubicBezTo>
                          <a:pt x="3275" y="49469"/>
                          <a:pt x="27833" y="8720"/>
                          <a:pt x="27833" y="8720"/>
                        </a:cubicBezTo>
                        <a:cubicBezTo>
                          <a:pt x="27833" y="8720"/>
                          <a:pt x="61566" y="-996"/>
                          <a:pt x="73845" y="84"/>
                        </a:cubicBezTo>
                        <a:cubicBezTo>
                          <a:pt x="110142" y="3187"/>
                          <a:pt x="153995" y="22213"/>
                          <a:pt x="132001" y="92243"/>
                        </a:cubicBezTo>
                        <a:close/>
                      </a:path>
                    </a:pathLst>
                  </a:custGeom>
                  <a:solidFill>
                    <a:srgbClr val="0C3E7A"/>
                  </a:solidFill>
                  <a:ln w="1349" cap="flat">
                    <a:noFill/>
                    <a:prstDash val="solid"/>
                    <a:miter/>
                  </a:ln>
                </p:spPr>
                <p:txBody>
                  <a:bodyPr rtlCol="0" anchor="ctr"/>
                  <a:lstStyle/>
                  <a:p>
                    <a:endParaRPr lang="en-IN">
                      <a:latin typeface="+mn-lt"/>
                    </a:endParaRPr>
                  </a:p>
                </p:txBody>
              </p:sp>
              <p:sp>
                <p:nvSpPr>
                  <p:cNvPr id="295" name="Freeform: Shape 160">
                    <a:extLst>
                      <a:ext uri="{FF2B5EF4-FFF2-40B4-BE49-F238E27FC236}">
                        <a16:creationId xmlns:a16="http://schemas.microsoft.com/office/drawing/2014/main" id="{8D290F3C-2A0C-AC49-A01F-E576CD509FE2}"/>
                      </a:ext>
                    </a:extLst>
                  </p:cNvPr>
                  <p:cNvSpPr/>
                  <p:nvPr/>
                </p:nvSpPr>
                <p:spPr>
                  <a:xfrm>
                    <a:off x="9053189" y="2695561"/>
                    <a:ext cx="206448" cy="146672"/>
                  </a:xfrm>
                  <a:custGeom>
                    <a:avLst/>
                    <a:gdLst>
                      <a:gd name="connsiteX0" fmla="*/ 206448 w 206448"/>
                      <a:gd name="connsiteY0" fmla="*/ 96612 h 146672"/>
                      <a:gd name="connsiteX1" fmla="*/ 113074 w 206448"/>
                      <a:gd name="connsiteY1" fmla="*/ 73809 h 146672"/>
                      <a:gd name="connsiteX2" fmla="*/ 31035 w 206448"/>
                      <a:gd name="connsiteY2" fmla="*/ 0 h 146672"/>
                      <a:gd name="connsiteX3" fmla="*/ 0 w 206448"/>
                      <a:gd name="connsiteY3" fmla="*/ 22399 h 146672"/>
                      <a:gd name="connsiteX4" fmla="*/ 77857 w 206448"/>
                      <a:gd name="connsiteY4" fmla="*/ 101605 h 146672"/>
                      <a:gd name="connsiteX5" fmla="*/ 197138 w 206448"/>
                      <a:gd name="connsiteY5" fmla="*/ 146673 h 1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448" h="146672">
                        <a:moveTo>
                          <a:pt x="206448" y="96612"/>
                        </a:moveTo>
                        <a:lnTo>
                          <a:pt x="113074" y="73809"/>
                        </a:lnTo>
                        <a:lnTo>
                          <a:pt x="31035" y="0"/>
                        </a:lnTo>
                        <a:lnTo>
                          <a:pt x="0" y="22399"/>
                        </a:lnTo>
                        <a:lnTo>
                          <a:pt x="77857" y="101605"/>
                        </a:lnTo>
                        <a:lnTo>
                          <a:pt x="197138" y="146673"/>
                        </a:lnTo>
                        <a:close/>
                      </a:path>
                    </a:pathLst>
                  </a:custGeom>
                  <a:solidFill>
                    <a:srgbClr val="145B82"/>
                  </a:solidFill>
                  <a:ln w="1349" cap="flat">
                    <a:noFill/>
                    <a:prstDash val="solid"/>
                    <a:miter/>
                  </a:ln>
                </p:spPr>
                <p:txBody>
                  <a:bodyPr rtlCol="0" anchor="ctr"/>
                  <a:lstStyle/>
                  <a:p>
                    <a:endParaRPr lang="en-IN">
                      <a:latin typeface="+mn-lt"/>
                    </a:endParaRPr>
                  </a:p>
                </p:txBody>
              </p:sp>
              <p:sp>
                <p:nvSpPr>
                  <p:cNvPr id="296" name="Freeform: Shape 161">
                    <a:extLst>
                      <a:ext uri="{FF2B5EF4-FFF2-40B4-BE49-F238E27FC236}">
                        <a16:creationId xmlns:a16="http://schemas.microsoft.com/office/drawing/2014/main" id="{F8518F17-B6E2-7443-8687-CC10489A43E3}"/>
                      </a:ext>
                    </a:extLst>
                  </p:cNvPr>
                  <p:cNvSpPr/>
                  <p:nvPr/>
                </p:nvSpPr>
                <p:spPr>
                  <a:xfrm>
                    <a:off x="8553530" y="2597329"/>
                    <a:ext cx="195788" cy="212925"/>
                  </a:xfrm>
                  <a:custGeom>
                    <a:avLst/>
                    <a:gdLst>
                      <a:gd name="connsiteX0" fmla="*/ 163675 w 195788"/>
                      <a:gd name="connsiteY0" fmla="*/ 212925 h 212925"/>
                      <a:gd name="connsiteX1" fmla="*/ 78127 w 195788"/>
                      <a:gd name="connsiteY1" fmla="*/ 142220 h 212925"/>
                      <a:gd name="connsiteX2" fmla="*/ 30225 w 195788"/>
                      <a:gd name="connsiteY2" fmla="*/ 53704 h 212925"/>
                      <a:gd name="connsiteX3" fmla="*/ 31170 w 195788"/>
                      <a:gd name="connsiteY3" fmla="*/ 45203 h 212925"/>
                      <a:gd name="connsiteX4" fmla="*/ 13763 w 195788"/>
                      <a:gd name="connsiteY4" fmla="*/ 31574 h 212925"/>
                      <a:gd name="connsiteX5" fmla="*/ 0 w 195788"/>
                      <a:gd name="connsiteY5" fmla="*/ 2159 h 212925"/>
                      <a:gd name="connsiteX6" fmla="*/ 34813 w 195788"/>
                      <a:gd name="connsiteY6" fmla="*/ 0 h 212925"/>
                      <a:gd name="connsiteX7" fmla="*/ 56268 w 195788"/>
                      <a:gd name="connsiteY7" fmla="*/ 28201 h 212925"/>
                      <a:gd name="connsiteX8" fmla="*/ 104978 w 195788"/>
                      <a:gd name="connsiteY8" fmla="*/ 100661 h 212925"/>
                      <a:gd name="connsiteX9" fmla="*/ 195789 w 195788"/>
                      <a:gd name="connsiteY9" fmla="*/ 166508 h 2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788" h="212925">
                        <a:moveTo>
                          <a:pt x="163675" y="212925"/>
                        </a:moveTo>
                        <a:lnTo>
                          <a:pt x="78127" y="142220"/>
                        </a:lnTo>
                        <a:lnTo>
                          <a:pt x="30225" y="53704"/>
                        </a:lnTo>
                        <a:lnTo>
                          <a:pt x="31170" y="45203"/>
                        </a:lnTo>
                        <a:lnTo>
                          <a:pt x="13763" y="31574"/>
                        </a:lnTo>
                        <a:lnTo>
                          <a:pt x="0" y="2159"/>
                        </a:lnTo>
                        <a:lnTo>
                          <a:pt x="34813" y="0"/>
                        </a:lnTo>
                        <a:lnTo>
                          <a:pt x="56268" y="28201"/>
                        </a:lnTo>
                        <a:lnTo>
                          <a:pt x="104978" y="100661"/>
                        </a:lnTo>
                        <a:lnTo>
                          <a:pt x="195789" y="166508"/>
                        </a:lnTo>
                        <a:close/>
                      </a:path>
                    </a:pathLst>
                  </a:custGeom>
                  <a:solidFill>
                    <a:srgbClr val="145B82"/>
                  </a:solidFill>
                  <a:ln w="1349" cap="flat">
                    <a:noFill/>
                    <a:prstDash val="solid"/>
                    <a:miter/>
                  </a:ln>
                </p:spPr>
                <p:txBody>
                  <a:bodyPr rtlCol="0" anchor="ctr"/>
                  <a:lstStyle/>
                  <a:p>
                    <a:endParaRPr lang="en-IN">
                      <a:latin typeface="+mn-lt"/>
                    </a:endParaRPr>
                  </a:p>
                </p:txBody>
              </p:sp>
              <p:sp>
                <p:nvSpPr>
                  <p:cNvPr id="297" name="Freeform: Shape 162">
                    <a:extLst>
                      <a:ext uri="{FF2B5EF4-FFF2-40B4-BE49-F238E27FC236}">
                        <a16:creationId xmlns:a16="http://schemas.microsoft.com/office/drawing/2014/main" id="{2A436D1A-95E0-6B40-A4AB-3254D53074D6}"/>
                      </a:ext>
                    </a:extLst>
                  </p:cNvPr>
                  <p:cNvSpPr/>
                  <p:nvPr/>
                </p:nvSpPr>
                <p:spPr>
                  <a:xfrm>
                    <a:off x="8799919" y="2649413"/>
                    <a:ext cx="246793" cy="195383"/>
                  </a:xfrm>
                  <a:custGeom>
                    <a:avLst/>
                    <a:gdLst>
                      <a:gd name="connsiteX0" fmla="*/ 216973 w 246793"/>
                      <a:gd name="connsiteY0" fmla="*/ 195384 h 195383"/>
                      <a:gd name="connsiteX1" fmla="*/ 115908 w 246793"/>
                      <a:gd name="connsiteY1" fmla="*/ 139386 h 195383"/>
                      <a:gd name="connsiteX2" fmla="*/ 55458 w 246793"/>
                      <a:gd name="connsiteY2" fmla="*/ 62879 h 195383"/>
                      <a:gd name="connsiteX3" fmla="*/ 56402 w 246793"/>
                      <a:gd name="connsiteY3" fmla="*/ 54378 h 195383"/>
                      <a:gd name="connsiteX4" fmla="*/ 38996 w 246793"/>
                      <a:gd name="connsiteY4" fmla="*/ 40885 h 195383"/>
                      <a:gd name="connsiteX5" fmla="*/ 0 w 246793"/>
                      <a:gd name="connsiteY5" fmla="*/ 2159 h 195383"/>
                      <a:gd name="connsiteX6" fmla="*/ 34813 w 246793"/>
                      <a:gd name="connsiteY6" fmla="*/ 0 h 195383"/>
                      <a:gd name="connsiteX7" fmla="*/ 81500 w 246793"/>
                      <a:gd name="connsiteY7" fmla="*/ 37377 h 195383"/>
                      <a:gd name="connsiteX8" fmla="*/ 130211 w 246793"/>
                      <a:gd name="connsiteY8" fmla="*/ 109836 h 195383"/>
                      <a:gd name="connsiteX9" fmla="*/ 246793 w 246793"/>
                      <a:gd name="connsiteY9" fmla="*/ 156388 h 195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793" h="195383">
                        <a:moveTo>
                          <a:pt x="216973" y="195384"/>
                        </a:moveTo>
                        <a:lnTo>
                          <a:pt x="115908" y="139386"/>
                        </a:lnTo>
                        <a:lnTo>
                          <a:pt x="55458" y="62879"/>
                        </a:lnTo>
                        <a:lnTo>
                          <a:pt x="56402" y="54378"/>
                        </a:lnTo>
                        <a:lnTo>
                          <a:pt x="38996" y="40885"/>
                        </a:lnTo>
                        <a:lnTo>
                          <a:pt x="0" y="2159"/>
                        </a:lnTo>
                        <a:lnTo>
                          <a:pt x="34813" y="0"/>
                        </a:lnTo>
                        <a:lnTo>
                          <a:pt x="81500" y="37377"/>
                        </a:lnTo>
                        <a:lnTo>
                          <a:pt x="130211" y="109836"/>
                        </a:lnTo>
                        <a:lnTo>
                          <a:pt x="246793" y="156388"/>
                        </a:lnTo>
                        <a:close/>
                      </a:path>
                    </a:pathLst>
                  </a:custGeom>
                  <a:solidFill>
                    <a:srgbClr val="145B82"/>
                  </a:solidFill>
                  <a:ln w="1349" cap="flat">
                    <a:noFill/>
                    <a:prstDash val="solid"/>
                    <a:miter/>
                  </a:ln>
                </p:spPr>
                <p:txBody>
                  <a:bodyPr rtlCol="0" anchor="ctr"/>
                  <a:lstStyle/>
                  <a:p>
                    <a:endParaRPr lang="en-IN">
                      <a:latin typeface="+mn-lt"/>
                    </a:endParaRPr>
                  </a:p>
                </p:txBody>
              </p:sp>
              <p:sp>
                <p:nvSpPr>
                  <p:cNvPr id="298" name="Freeform: Shape 163">
                    <a:extLst>
                      <a:ext uri="{FF2B5EF4-FFF2-40B4-BE49-F238E27FC236}">
                        <a16:creationId xmlns:a16="http://schemas.microsoft.com/office/drawing/2014/main" id="{B082A378-335C-A642-BAB6-E55132A70991}"/>
                      </a:ext>
                    </a:extLst>
                  </p:cNvPr>
                  <p:cNvSpPr/>
                  <p:nvPr/>
                </p:nvSpPr>
                <p:spPr>
                  <a:xfrm>
                    <a:off x="8882386" y="2801204"/>
                    <a:ext cx="121195" cy="152622"/>
                  </a:xfrm>
                  <a:custGeom>
                    <a:avLst/>
                    <a:gdLst>
                      <a:gd name="connsiteX0" fmla="*/ 116021 w 121195"/>
                      <a:gd name="connsiteY0" fmla="*/ 81105 h 152622"/>
                      <a:gd name="connsiteX1" fmla="*/ 51522 w 121195"/>
                      <a:gd name="connsiteY1" fmla="*/ 152485 h 152622"/>
                      <a:gd name="connsiteX2" fmla="*/ 382 w 121195"/>
                      <a:gd name="connsiteY2" fmla="*/ 71524 h 152622"/>
                      <a:gd name="connsiteX3" fmla="*/ 64881 w 121195"/>
                      <a:gd name="connsiteY3" fmla="*/ 145 h 152622"/>
                      <a:gd name="connsiteX4" fmla="*/ 116021 w 121195"/>
                      <a:gd name="connsiteY4" fmla="*/ 81105 h 152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95" h="152622">
                        <a:moveTo>
                          <a:pt x="116021" y="81105"/>
                        </a:moveTo>
                        <a:cubicBezTo>
                          <a:pt x="103337" y="121450"/>
                          <a:pt x="83501" y="155048"/>
                          <a:pt x="51522" y="152485"/>
                        </a:cubicBezTo>
                        <a:cubicBezTo>
                          <a:pt x="19543" y="149786"/>
                          <a:pt x="-3261" y="113624"/>
                          <a:pt x="382" y="71524"/>
                        </a:cubicBezTo>
                        <a:cubicBezTo>
                          <a:pt x="4026" y="29425"/>
                          <a:pt x="32901" y="-2419"/>
                          <a:pt x="64881" y="145"/>
                        </a:cubicBezTo>
                        <a:cubicBezTo>
                          <a:pt x="96725" y="2843"/>
                          <a:pt x="135316" y="19575"/>
                          <a:pt x="116021" y="81105"/>
                        </a:cubicBezTo>
                        <a:close/>
                      </a:path>
                    </a:pathLst>
                  </a:custGeom>
                  <a:solidFill>
                    <a:srgbClr val="0C3E7A"/>
                  </a:solidFill>
                  <a:ln w="1349" cap="flat">
                    <a:noFill/>
                    <a:prstDash val="solid"/>
                    <a:miter/>
                  </a:ln>
                </p:spPr>
                <p:txBody>
                  <a:bodyPr rtlCol="0" anchor="ctr"/>
                  <a:lstStyle/>
                  <a:p>
                    <a:endParaRPr lang="en-IN">
                      <a:latin typeface="+mn-lt"/>
                    </a:endParaRPr>
                  </a:p>
                </p:txBody>
              </p:sp>
              <p:sp>
                <p:nvSpPr>
                  <p:cNvPr id="299" name="Freeform: Shape 164">
                    <a:extLst>
                      <a:ext uri="{FF2B5EF4-FFF2-40B4-BE49-F238E27FC236}">
                        <a16:creationId xmlns:a16="http://schemas.microsoft.com/office/drawing/2014/main" id="{C299E40D-0DFC-9442-84C6-F0C00CC5E8B2}"/>
                      </a:ext>
                    </a:extLst>
                  </p:cNvPr>
                  <p:cNvSpPr/>
                  <p:nvPr/>
                </p:nvSpPr>
                <p:spPr>
                  <a:xfrm>
                    <a:off x="8860687" y="2954468"/>
                    <a:ext cx="204681" cy="399593"/>
                  </a:xfrm>
                  <a:custGeom>
                    <a:avLst/>
                    <a:gdLst>
                      <a:gd name="connsiteX0" fmla="*/ 193447 w 204681"/>
                      <a:gd name="connsiteY0" fmla="*/ 207693 h 399593"/>
                      <a:gd name="connsiteX1" fmla="*/ 80238 w 204681"/>
                      <a:gd name="connsiteY1" fmla="*/ 399434 h 399593"/>
                      <a:gd name="connsiteX2" fmla="*/ 1571 w 204681"/>
                      <a:gd name="connsiteY2" fmla="*/ 191906 h 399593"/>
                      <a:gd name="connsiteX3" fmla="*/ 114781 w 204681"/>
                      <a:gd name="connsiteY3" fmla="*/ 165 h 399593"/>
                      <a:gd name="connsiteX4" fmla="*/ 193447 w 204681"/>
                      <a:gd name="connsiteY4" fmla="*/ 207693 h 399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681" h="399593">
                        <a:moveTo>
                          <a:pt x="193447" y="207693"/>
                        </a:moveTo>
                        <a:cubicBezTo>
                          <a:pt x="169024" y="314291"/>
                          <a:pt x="133267" y="403887"/>
                          <a:pt x="80238" y="399434"/>
                        </a:cubicBezTo>
                        <a:cubicBezTo>
                          <a:pt x="27209" y="395116"/>
                          <a:pt x="-8009" y="302147"/>
                          <a:pt x="1571" y="191906"/>
                        </a:cubicBezTo>
                        <a:cubicBezTo>
                          <a:pt x="11152" y="81665"/>
                          <a:pt x="61752" y="-4287"/>
                          <a:pt x="114781" y="165"/>
                        </a:cubicBezTo>
                        <a:cubicBezTo>
                          <a:pt x="167809" y="4483"/>
                          <a:pt x="230689" y="45098"/>
                          <a:pt x="193447" y="207693"/>
                        </a:cubicBezTo>
                        <a:close/>
                      </a:path>
                    </a:pathLst>
                  </a:custGeom>
                  <a:solidFill>
                    <a:srgbClr val="0C3E7A"/>
                  </a:solidFill>
                  <a:ln w="1349" cap="flat">
                    <a:noFill/>
                    <a:prstDash val="solid"/>
                    <a:miter/>
                  </a:ln>
                </p:spPr>
                <p:txBody>
                  <a:bodyPr rtlCol="0" anchor="ctr"/>
                  <a:lstStyle/>
                  <a:p>
                    <a:endParaRPr lang="en-IN">
                      <a:latin typeface="+mn-lt"/>
                    </a:endParaRPr>
                  </a:p>
                </p:txBody>
              </p:sp>
              <p:sp>
                <p:nvSpPr>
                  <p:cNvPr id="300" name="Freeform: Shape 165">
                    <a:extLst>
                      <a:ext uri="{FF2B5EF4-FFF2-40B4-BE49-F238E27FC236}">
                        <a16:creationId xmlns:a16="http://schemas.microsoft.com/office/drawing/2014/main" id="{99694BDE-6BE1-0B4F-BF48-61BA61D6F8CC}"/>
                      </a:ext>
                    </a:extLst>
                  </p:cNvPr>
                  <p:cNvSpPr/>
                  <p:nvPr/>
                </p:nvSpPr>
                <p:spPr>
                  <a:xfrm>
                    <a:off x="9488215" y="3066088"/>
                    <a:ext cx="214274" cy="282281"/>
                  </a:xfrm>
                  <a:custGeom>
                    <a:avLst/>
                    <a:gdLst>
                      <a:gd name="connsiteX0" fmla="*/ 214274 w 214274"/>
                      <a:gd name="connsiteY0" fmla="*/ 141140 h 282281"/>
                      <a:gd name="connsiteX1" fmla="*/ 107137 w 214274"/>
                      <a:gd name="connsiteY1" fmla="*/ 282281 h 282281"/>
                      <a:gd name="connsiteX2" fmla="*/ 0 w 214274"/>
                      <a:gd name="connsiteY2" fmla="*/ 141140 h 282281"/>
                      <a:gd name="connsiteX3" fmla="*/ 107137 w 214274"/>
                      <a:gd name="connsiteY3" fmla="*/ 0 h 282281"/>
                      <a:gd name="connsiteX4" fmla="*/ 214274 w 214274"/>
                      <a:gd name="connsiteY4" fmla="*/ 141140 h 282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274" h="282281">
                        <a:moveTo>
                          <a:pt x="214274" y="141140"/>
                        </a:moveTo>
                        <a:cubicBezTo>
                          <a:pt x="214274" y="219090"/>
                          <a:pt x="166307" y="282281"/>
                          <a:pt x="107137" y="282281"/>
                        </a:cubicBezTo>
                        <a:cubicBezTo>
                          <a:pt x="47967" y="282281"/>
                          <a:pt x="0" y="219090"/>
                          <a:pt x="0" y="141140"/>
                        </a:cubicBezTo>
                        <a:cubicBezTo>
                          <a:pt x="0" y="63191"/>
                          <a:pt x="47967" y="0"/>
                          <a:pt x="107137" y="0"/>
                        </a:cubicBezTo>
                        <a:cubicBezTo>
                          <a:pt x="166307" y="0"/>
                          <a:pt x="214274" y="63191"/>
                          <a:pt x="214274" y="141140"/>
                        </a:cubicBezTo>
                        <a:close/>
                      </a:path>
                    </a:pathLst>
                  </a:custGeom>
                  <a:solidFill>
                    <a:srgbClr val="0C3E7A"/>
                  </a:solidFill>
                  <a:ln w="1349" cap="flat">
                    <a:noFill/>
                    <a:prstDash val="solid"/>
                    <a:miter/>
                  </a:ln>
                </p:spPr>
                <p:txBody>
                  <a:bodyPr rtlCol="0" anchor="ctr"/>
                  <a:lstStyle/>
                  <a:p>
                    <a:endParaRPr lang="en-IN">
                      <a:latin typeface="+mn-lt"/>
                    </a:endParaRPr>
                  </a:p>
                </p:txBody>
              </p:sp>
              <p:sp>
                <p:nvSpPr>
                  <p:cNvPr id="301" name="Freeform: Shape 166">
                    <a:extLst>
                      <a:ext uri="{FF2B5EF4-FFF2-40B4-BE49-F238E27FC236}">
                        <a16:creationId xmlns:a16="http://schemas.microsoft.com/office/drawing/2014/main" id="{5A06D1FF-5BD9-6146-B212-44175ADD7E79}"/>
                      </a:ext>
                    </a:extLst>
                  </p:cNvPr>
                  <p:cNvSpPr/>
                  <p:nvPr/>
                </p:nvSpPr>
                <p:spPr>
                  <a:xfrm>
                    <a:off x="9068572" y="2702046"/>
                    <a:ext cx="136147" cy="181072"/>
                  </a:xfrm>
                  <a:custGeom>
                    <a:avLst/>
                    <a:gdLst>
                      <a:gd name="connsiteX0" fmla="*/ 136148 w 136147"/>
                      <a:gd name="connsiteY0" fmla="*/ 64894 h 181072"/>
                      <a:gd name="connsiteX1" fmla="*/ 71919 w 136147"/>
                      <a:gd name="connsiteY1" fmla="*/ 181072 h 181072"/>
                      <a:gd name="connsiteX2" fmla="*/ 0 w 136147"/>
                      <a:gd name="connsiteY2" fmla="*/ 90532 h 181072"/>
                      <a:gd name="connsiteX3" fmla="*/ 18081 w 136147"/>
                      <a:gd name="connsiteY3" fmla="*/ 12810 h 181072"/>
                      <a:gd name="connsiteX4" fmla="*/ 71919 w 136147"/>
                      <a:gd name="connsiteY4" fmla="*/ 126 h 181072"/>
                      <a:gd name="connsiteX5" fmla="*/ 136148 w 136147"/>
                      <a:gd name="connsiteY5" fmla="*/ 64894 h 181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47" h="181072">
                        <a:moveTo>
                          <a:pt x="136148" y="64894"/>
                        </a:moveTo>
                        <a:cubicBezTo>
                          <a:pt x="136148" y="114820"/>
                          <a:pt x="111590" y="181072"/>
                          <a:pt x="71919" y="181072"/>
                        </a:cubicBezTo>
                        <a:cubicBezTo>
                          <a:pt x="32249" y="181072"/>
                          <a:pt x="0" y="140592"/>
                          <a:pt x="0" y="90532"/>
                        </a:cubicBezTo>
                        <a:cubicBezTo>
                          <a:pt x="0" y="64220"/>
                          <a:pt x="3913" y="29272"/>
                          <a:pt x="18081" y="12810"/>
                        </a:cubicBezTo>
                        <a:cubicBezTo>
                          <a:pt x="30900" y="-2168"/>
                          <a:pt x="53029" y="126"/>
                          <a:pt x="71919" y="126"/>
                        </a:cubicBezTo>
                        <a:cubicBezTo>
                          <a:pt x="111590" y="126"/>
                          <a:pt x="136148" y="14969"/>
                          <a:pt x="136148" y="64894"/>
                        </a:cubicBezTo>
                        <a:close/>
                      </a:path>
                    </a:pathLst>
                  </a:custGeom>
                  <a:solidFill>
                    <a:srgbClr val="0C3E7A"/>
                  </a:solidFill>
                  <a:ln w="1349" cap="flat">
                    <a:noFill/>
                    <a:prstDash val="solid"/>
                    <a:miter/>
                  </a:ln>
                </p:spPr>
                <p:txBody>
                  <a:bodyPr rtlCol="0" anchor="ctr"/>
                  <a:lstStyle/>
                  <a:p>
                    <a:endParaRPr lang="en-IN">
                      <a:latin typeface="+mn-lt"/>
                    </a:endParaRPr>
                  </a:p>
                </p:txBody>
              </p:sp>
              <p:sp>
                <p:nvSpPr>
                  <p:cNvPr id="302" name="Freeform: Shape 167">
                    <a:extLst>
                      <a:ext uri="{FF2B5EF4-FFF2-40B4-BE49-F238E27FC236}">
                        <a16:creationId xmlns:a16="http://schemas.microsoft.com/office/drawing/2014/main" id="{A85C6EE7-1948-D34D-BD64-D70AACFC1A80}"/>
                      </a:ext>
                    </a:extLst>
                  </p:cNvPr>
                  <p:cNvSpPr/>
                  <p:nvPr/>
                </p:nvSpPr>
                <p:spPr>
                  <a:xfrm>
                    <a:off x="9353012" y="2766941"/>
                    <a:ext cx="214274" cy="282281"/>
                  </a:xfrm>
                  <a:custGeom>
                    <a:avLst/>
                    <a:gdLst>
                      <a:gd name="connsiteX0" fmla="*/ 214274 w 214274"/>
                      <a:gd name="connsiteY0" fmla="*/ 141141 h 282281"/>
                      <a:gd name="connsiteX1" fmla="*/ 107137 w 214274"/>
                      <a:gd name="connsiteY1" fmla="*/ 282281 h 282281"/>
                      <a:gd name="connsiteX2" fmla="*/ 0 w 214274"/>
                      <a:gd name="connsiteY2" fmla="*/ 141141 h 282281"/>
                      <a:gd name="connsiteX3" fmla="*/ 107137 w 214274"/>
                      <a:gd name="connsiteY3" fmla="*/ 0 h 282281"/>
                      <a:gd name="connsiteX4" fmla="*/ 214274 w 214274"/>
                      <a:gd name="connsiteY4" fmla="*/ 141141 h 282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274" h="282281">
                        <a:moveTo>
                          <a:pt x="214274" y="141141"/>
                        </a:moveTo>
                        <a:cubicBezTo>
                          <a:pt x="214274" y="219090"/>
                          <a:pt x="166308" y="282281"/>
                          <a:pt x="107137" y="282281"/>
                        </a:cubicBezTo>
                        <a:cubicBezTo>
                          <a:pt x="47967" y="282281"/>
                          <a:pt x="0" y="219090"/>
                          <a:pt x="0" y="141141"/>
                        </a:cubicBezTo>
                        <a:cubicBezTo>
                          <a:pt x="0" y="63191"/>
                          <a:pt x="47967" y="0"/>
                          <a:pt x="107137" y="0"/>
                        </a:cubicBezTo>
                        <a:cubicBezTo>
                          <a:pt x="166308" y="0"/>
                          <a:pt x="214274" y="63191"/>
                          <a:pt x="214274" y="141141"/>
                        </a:cubicBezTo>
                        <a:close/>
                      </a:path>
                    </a:pathLst>
                  </a:custGeom>
                  <a:solidFill>
                    <a:srgbClr val="0C3E7A"/>
                  </a:solidFill>
                  <a:ln w="1349" cap="flat">
                    <a:noFill/>
                    <a:prstDash val="solid"/>
                    <a:miter/>
                  </a:ln>
                </p:spPr>
                <p:txBody>
                  <a:bodyPr rtlCol="0" anchor="ctr"/>
                  <a:lstStyle/>
                  <a:p>
                    <a:endParaRPr lang="en-IN">
                      <a:latin typeface="+mn-lt"/>
                    </a:endParaRPr>
                  </a:p>
                </p:txBody>
              </p:sp>
              <p:sp>
                <p:nvSpPr>
                  <p:cNvPr id="303" name="Freeform: Shape 168">
                    <a:extLst>
                      <a:ext uri="{FF2B5EF4-FFF2-40B4-BE49-F238E27FC236}">
                        <a16:creationId xmlns:a16="http://schemas.microsoft.com/office/drawing/2014/main" id="{0EC800B7-936F-794F-A94B-CB75970DBA94}"/>
                      </a:ext>
                    </a:extLst>
                  </p:cNvPr>
                  <p:cNvSpPr/>
                  <p:nvPr/>
                </p:nvSpPr>
                <p:spPr>
                  <a:xfrm>
                    <a:off x="9574843" y="2691845"/>
                    <a:ext cx="130906" cy="172787"/>
                  </a:xfrm>
                  <a:custGeom>
                    <a:avLst/>
                    <a:gdLst>
                      <a:gd name="connsiteX0" fmla="*/ 130886 w 130906"/>
                      <a:gd name="connsiteY0" fmla="*/ 86430 h 172787"/>
                      <a:gd name="connsiteX1" fmla="*/ 65443 w 130906"/>
                      <a:gd name="connsiteY1" fmla="*/ 172787 h 172787"/>
                      <a:gd name="connsiteX2" fmla="*/ 0 w 130906"/>
                      <a:gd name="connsiteY2" fmla="*/ 86430 h 172787"/>
                      <a:gd name="connsiteX3" fmla="*/ 65443 w 130906"/>
                      <a:gd name="connsiteY3" fmla="*/ 72 h 172787"/>
                      <a:gd name="connsiteX4" fmla="*/ 130886 w 130906"/>
                      <a:gd name="connsiteY4" fmla="*/ 86430 h 172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06" h="172787">
                        <a:moveTo>
                          <a:pt x="130886" y="86430"/>
                        </a:moveTo>
                        <a:cubicBezTo>
                          <a:pt x="130886" y="134061"/>
                          <a:pt x="101605" y="172787"/>
                          <a:pt x="65443" y="172787"/>
                        </a:cubicBezTo>
                        <a:cubicBezTo>
                          <a:pt x="29281" y="172787"/>
                          <a:pt x="0" y="134196"/>
                          <a:pt x="0" y="86430"/>
                        </a:cubicBezTo>
                        <a:cubicBezTo>
                          <a:pt x="0" y="38798"/>
                          <a:pt x="29281" y="1287"/>
                          <a:pt x="65443" y="72"/>
                        </a:cubicBezTo>
                        <a:cubicBezTo>
                          <a:pt x="133989" y="-1952"/>
                          <a:pt x="130886" y="38798"/>
                          <a:pt x="130886" y="86430"/>
                        </a:cubicBezTo>
                        <a:close/>
                      </a:path>
                    </a:pathLst>
                  </a:custGeom>
                  <a:solidFill>
                    <a:srgbClr val="0C3E7A"/>
                  </a:solidFill>
                  <a:ln w="1349" cap="flat">
                    <a:noFill/>
                    <a:prstDash val="solid"/>
                    <a:miter/>
                  </a:ln>
                </p:spPr>
                <p:txBody>
                  <a:bodyPr rtlCol="0" anchor="ctr"/>
                  <a:lstStyle/>
                  <a:p>
                    <a:endParaRPr lang="en-IN">
                      <a:latin typeface="+mn-lt"/>
                    </a:endParaRPr>
                  </a:p>
                </p:txBody>
              </p:sp>
              <p:sp>
                <p:nvSpPr>
                  <p:cNvPr id="304" name="Freeform: Shape 169">
                    <a:extLst>
                      <a:ext uri="{FF2B5EF4-FFF2-40B4-BE49-F238E27FC236}">
                        <a16:creationId xmlns:a16="http://schemas.microsoft.com/office/drawing/2014/main" id="{2CF0AEF6-5CD5-404D-9551-1A903113BCE4}"/>
                      </a:ext>
                    </a:extLst>
                  </p:cNvPr>
                  <p:cNvSpPr/>
                  <p:nvPr/>
                </p:nvSpPr>
                <p:spPr>
                  <a:xfrm>
                    <a:off x="8474577" y="2902144"/>
                    <a:ext cx="248370" cy="784098"/>
                  </a:xfrm>
                  <a:custGeom>
                    <a:avLst/>
                    <a:gdLst>
                      <a:gd name="connsiteX0" fmla="*/ 52101 w 248370"/>
                      <a:gd name="connsiteY0" fmla="*/ 29146 h 784098"/>
                      <a:gd name="connsiteX1" fmla="*/ 23900 w 248370"/>
                      <a:gd name="connsiteY1" fmla="*/ 188907 h 784098"/>
                      <a:gd name="connsiteX2" fmla="*/ 1231 w 248370"/>
                      <a:gd name="connsiteY2" fmla="*/ 400483 h 784098"/>
                      <a:gd name="connsiteX3" fmla="*/ 5954 w 248370"/>
                      <a:gd name="connsiteY3" fmla="*/ 765073 h 784098"/>
                      <a:gd name="connsiteX4" fmla="*/ 38608 w 248370"/>
                      <a:gd name="connsiteY4" fmla="*/ 767097 h 784098"/>
                      <a:gd name="connsiteX5" fmla="*/ 77064 w 248370"/>
                      <a:gd name="connsiteY5" fmla="*/ 608955 h 784098"/>
                      <a:gd name="connsiteX6" fmla="*/ 85835 w 248370"/>
                      <a:gd name="connsiteY6" fmla="*/ 478610 h 784098"/>
                      <a:gd name="connsiteX7" fmla="*/ 172327 w 248370"/>
                      <a:gd name="connsiteY7" fmla="*/ 784099 h 784098"/>
                      <a:gd name="connsiteX8" fmla="*/ 203767 w 248370"/>
                      <a:gd name="connsiteY8" fmla="*/ 775059 h 784098"/>
                      <a:gd name="connsiteX9" fmla="*/ 201338 w 248370"/>
                      <a:gd name="connsiteY9" fmla="*/ 467275 h 784098"/>
                      <a:gd name="connsiteX10" fmla="*/ 248160 w 248370"/>
                      <a:gd name="connsiteY10" fmla="*/ 359193 h 784098"/>
                      <a:gd name="connsiteX11" fmla="*/ 212268 w 248370"/>
                      <a:gd name="connsiteY11" fmla="*/ 93644 h 784098"/>
                      <a:gd name="connsiteX12" fmla="*/ 159643 w 248370"/>
                      <a:gd name="connsiteY12" fmla="*/ 0 h 784098"/>
                      <a:gd name="connsiteX13" fmla="*/ 52101 w 248370"/>
                      <a:gd name="connsiteY13" fmla="*/ 29146 h 78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370" h="784098">
                        <a:moveTo>
                          <a:pt x="52101" y="29146"/>
                        </a:moveTo>
                        <a:cubicBezTo>
                          <a:pt x="52101" y="29146"/>
                          <a:pt x="23226" y="175279"/>
                          <a:pt x="23900" y="188907"/>
                        </a:cubicBezTo>
                        <a:cubicBezTo>
                          <a:pt x="24440" y="202535"/>
                          <a:pt x="1231" y="400483"/>
                          <a:pt x="1231" y="400483"/>
                        </a:cubicBezTo>
                        <a:cubicBezTo>
                          <a:pt x="1231" y="400483"/>
                          <a:pt x="-3626" y="677771"/>
                          <a:pt x="5954" y="765073"/>
                        </a:cubicBezTo>
                        <a:cubicBezTo>
                          <a:pt x="6629" y="770876"/>
                          <a:pt x="38608" y="767097"/>
                          <a:pt x="38608" y="767097"/>
                        </a:cubicBezTo>
                        <a:lnTo>
                          <a:pt x="77064" y="608955"/>
                        </a:lnTo>
                        <a:lnTo>
                          <a:pt x="85835" y="478610"/>
                        </a:lnTo>
                        <a:lnTo>
                          <a:pt x="172327" y="784099"/>
                        </a:lnTo>
                        <a:cubicBezTo>
                          <a:pt x="172327" y="784099"/>
                          <a:pt x="199584" y="775193"/>
                          <a:pt x="203767" y="775059"/>
                        </a:cubicBezTo>
                        <a:cubicBezTo>
                          <a:pt x="211998" y="774789"/>
                          <a:pt x="195806" y="477800"/>
                          <a:pt x="201338" y="467275"/>
                        </a:cubicBezTo>
                        <a:cubicBezTo>
                          <a:pt x="207005" y="456750"/>
                          <a:pt x="251803" y="372687"/>
                          <a:pt x="248160" y="359193"/>
                        </a:cubicBezTo>
                        <a:cubicBezTo>
                          <a:pt x="244517" y="345700"/>
                          <a:pt x="229539" y="140871"/>
                          <a:pt x="212268" y="93644"/>
                        </a:cubicBezTo>
                        <a:cubicBezTo>
                          <a:pt x="194996" y="46417"/>
                          <a:pt x="159643" y="0"/>
                          <a:pt x="159643" y="0"/>
                        </a:cubicBezTo>
                        <a:lnTo>
                          <a:pt x="52101" y="29146"/>
                        </a:lnTo>
                        <a:close/>
                      </a:path>
                    </a:pathLst>
                  </a:custGeom>
                  <a:solidFill>
                    <a:srgbClr val="0C3E7A"/>
                  </a:solidFill>
                  <a:ln w="1349" cap="flat">
                    <a:noFill/>
                    <a:prstDash val="solid"/>
                    <a:miter/>
                  </a:ln>
                </p:spPr>
                <p:txBody>
                  <a:bodyPr rtlCol="0" anchor="ctr"/>
                  <a:lstStyle/>
                  <a:p>
                    <a:endParaRPr lang="en-IN">
                      <a:latin typeface="+mn-lt"/>
                    </a:endParaRPr>
                  </a:p>
                </p:txBody>
              </p:sp>
              <p:sp>
                <p:nvSpPr>
                  <p:cNvPr id="305" name="Freeform: Shape 170">
                    <a:extLst>
                      <a:ext uri="{FF2B5EF4-FFF2-40B4-BE49-F238E27FC236}">
                        <a16:creationId xmlns:a16="http://schemas.microsoft.com/office/drawing/2014/main" id="{BFCE67EE-7A0B-5E4E-B1FA-3F560C81668C}"/>
                      </a:ext>
                    </a:extLst>
                  </p:cNvPr>
                  <p:cNvSpPr/>
                  <p:nvPr/>
                </p:nvSpPr>
                <p:spPr>
                  <a:xfrm>
                    <a:off x="8380545" y="2701363"/>
                    <a:ext cx="417941" cy="993920"/>
                  </a:xfrm>
                  <a:custGeom>
                    <a:avLst/>
                    <a:gdLst>
                      <a:gd name="connsiteX0" fmla="*/ 193090 w 417941"/>
                      <a:gd name="connsiteY0" fmla="*/ 979618 h 993920"/>
                      <a:gd name="connsiteX1" fmla="*/ 238293 w 417941"/>
                      <a:gd name="connsiteY1" fmla="*/ 981237 h 993920"/>
                      <a:gd name="connsiteX2" fmla="*/ 227903 w 417941"/>
                      <a:gd name="connsiteY2" fmla="*/ 845764 h 993920"/>
                      <a:gd name="connsiteX3" fmla="*/ 268653 w 417941"/>
                      <a:gd name="connsiteY3" fmla="*/ 691265 h 993920"/>
                      <a:gd name="connsiteX4" fmla="*/ 330992 w 417941"/>
                      <a:gd name="connsiteY4" fmla="*/ 987309 h 993920"/>
                      <a:gd name="connsiteX5" fmla="*/ 364995 w 417941"/>
                      <a:gd name="connsiteY5" fmla="*/ 993921 h 993920"/>
                      <a:gd name="connsiteX6" fmla="*/ 381997 w 417941"/>
                      <a:gd name="connsiteY6" fmla="*/ 592223 h 993920"/>
                      <a:gd name="connsiteX7" fmla="*/ 409254 w 417941"/>
                      <a:gd name="connsiteY7" fmla="*/ 535821 h 993920"/>
                      <a:gd name="connsiteX8" fmla="*/ 416000 w 417941"/>
                      <a:gd name="connsiteY8" fmla="*/ 346509 h 993920"/>
                      <a:gd name="connsiteX9" fmla="*/ 364995 w 417941"/>
                      <a:gd name="connsiteY9" fmla="*/ 197138 h 993920"/>
                      <a:gd name="connsiteX10" fmla="*/ 268518 w 417941"/>
                      <a:gd name="connsiteY10" fmla="*/ 202265 h 993920"/>
                      <a:gd name="connsiteX11" fmla="*/ 100256 w 417941"/>
                      <a:gd name="connsiteY11" fmla="*/ 80555 h 993920"/>
                      <a:gd name="connsiteX12" fmla="*/ 19026 w 417941"/>
                      <a:gd name="connsiteY12" fmla="*/ 0 h 993920"/>
                      <a:gd name="connsiteX13" fmla="*/ 0 w 417941"/>
                      <a:gd name="connsiteY13" fmla="*/ 30360 h 993920"/>
                      <a:gd name="connsiteX14" fmla="*/ 93914 w 417941"/>
                      <a:gd name="connsiteY14" fmla="*/ 141680 h 993920"/>
                      <a:gd name="connsiteX15" fmla="*/ 217648 w 417941"/>
                      <a:gd name="connsiteY15" fmla="*/ 230736 h 993920"/>
                      <a:gd name="connsiteX16" fmla="*/ 177978 w 417941"/>
                      <a:gd name="connsiteY16" fmla="*/ 489269 h 993920"/>
                      <a:gd name="connsiteX17" fmla="*/ 160976 w 417941"/>
                      <a:gd name="connsiteY17" fmla="*/ 827952 h 993920"/>
                      <a:gd name="connsiteX18" fmla="*/ 215084 w 417941"/>
                      <a:gd name="connsiteY18" fmla="*/ 958568 h 993920"/>
                      <a:gd name="connsiteX19" fmla="*/ 193090 w 417941"/>
                      <a:gd name="connsiteY19" fmla="*/ 979618 h 99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941" h="993920">
                        <a:moveTo>
                          <a:pt x="193090" y="979618"/>
                        </a:moveTo>
                        <a:lnTo>
                          <a:pt x="238293" y="981237"/>
                        </a:lnTo>
                        <a:cubicBezTo>
                          <a:pt x="245849" y="936979"/>
                          <a:pt x="221291" y="860336"/>
                          <a:pt x="227903" y="845764"/>
                        </a:cubicBezTo>
                        <a:cubicBezTo>
                          <a:pt x="241531" y="815943"/>
                          <a:pt x="255160" y="671295"/>
                          <a:pt x="268653" y="691265"/>
                        </a:cubicBezTo>
                        <a:cubicBezTo>
                          <a:pt x="282146" y="711235"/>
                          <a:pt x="313990" y="983936"/>
                          <a:pt x="330992" y="987309"/>
                        </a:cubicBezTo>
                        <a:cubicBezTo>
                          <a:pt x="347994" y="990682"/>
                          <a:pt x="364995" y="993921"/>
                          <a:pt x="364995" y="993921"/>
                        </a:cubicBezTo>
                        <a:lnTo>
                          <a:pt x="381997" y="592223"/>
                        </a:lnTo>
                        <a:cubicBezTo>
                          <a:pt x="381997" y="592223"/>
                          <a:pt x="409254" y="545806"/>
                          <a:pt x="409254" y="535821"/>
                        </a:cubicBezTo>
                        <a:cubicBezTo>
                          <a:pt x="409254" y="525836"/>
                          <a:pt x="422882" y="389688"/>
                          <a:pt x="416000" y="346509"/>
                        </a:cubicBezTo>
                        <a:cubicBezTo>
                          <a:pt x="409254" y="303331"/>
                          <a:pt x="398999" y="200376"/>
                          <a:pt x="364995" y="197138"/>
                        </a:cubicBezTo>
                        <a:cubicBezTo>
                          <a:pt x="345160" y="195249"/>
                          <a:pt x="268518" y="202265"/>
                          <a:pt x="268518" y="202265"/>
                        </a:cubicBezTo>
                        <a:lnTo>
                          <a:pt x="100256" y="80555"/>
                        </a:lnTo>
                        <a:lnTo>
                          <a:pt x="19026" y="0"/>
                        </a:lnTo>
                        <a:lnTo>
                          <a:pt x="0" y="30360"/>
                        </a:lnTo>
                        <a:lnTo>
                          <a:pt x="93914" y="141680"/>
                        </a:lnTo>
                        <a:lnTo>
                          <a:pt x="217648" y="230736"/>
                        </a:lnTo>
                        <a:cubicBezTo>
                          <a:pt x="217648" y="230736"/>
                          <a:pt x="177978" y="474966"/>
                          <a:pt x="177978" y="489269"/>
                        </a:cubicBezTo>
                        <a:cubicBezTo>
                          <a:pt x="177978" y="505866"/>
                          <a:pt x="150721" y="781400"/>
                          <a:pt x="160976" y="827952"/>
                        </a:cubicBezTo>
                        <a:cubicBezTo>
                          <a:pt x="171231" y="874370"/>
                          <a:pt x="215084" y="958568"/>
                          <a:pt x="215084" y="958568"/>
                        </a:cubicBezTo>
                        <a:cubicBezTo>
                          <a:pt x="197678" y="959378"/>
                          <a:pt x="185534" y="965315"/>
                          <a:pt x="193090" y="979618"/>
                        </a:cubicBezTo>
                        <a:close/>
                      </a:path>
                    </a:pathLst>
                  </a:custGeom>
                  <a:solidFill>
                    <a:srgbClr val="0C3E7A"/>
                  </a:solidFill>
                  <a:ln w="1349" cap="flat">
                    <a:noFill/>
                    <a:prstDash val="solid"/>
                    <a:miter/>
                  </a:ln>
                </p:spPr>
                <p:txBody>
                  <a:bodyPr rtlCol="0" anchor="ctr"/>
                  <a:lstStyle/>
                  <a:p>
                    <a:endParaRPr lang="en-IN">
                      <a:latin typeface="+mn-lt"/>
                    </a:endParaRPr>
                  </a:p>
                </p:txBody>
              </p:sp>
              <p:sp>
                <p:nvSpPr>
                  <p:cNvPr id="306" name="Freeform: Shape 171">
                    <a:extLst>
                      <a:ext uri="{FF2B5EF4-FFF2-40B4-BE49-F238E27FC236}">
                        <a16:creationId xmlns:a16="http://schemas.microsoft.com/office/drawing/2014/main" id="{15699FDA-2598-E54D-BA6B-ED8314A2EB90}"/>
                      </a:ext>
                    </a:extLst>
                  </p:cNvPr>
                  <p:cNvSpPr/>
                  <p:nvPr/>
                </p:nvSpPr>
                <p:spPr>
                  <a:xfrm>
                    <a:off x="8350455" y="2613386"/>
                    <a:ext cx="48036" cy="112939"/>
                  </a:xfrm>
                  <a:custGeom>
                    <a:avLst/>
                    <a:gdLst>
                      <a:gd name="connsiteX0" fmla="*/ 36297 w 48036"/>
                      <a:gd name="connsiteY0" fmla="*/ 112940 h 112939"/>
                      <a:gd name="connsiteX1" fmla="*/ 48036 w 48036"/>
                      <a:gd name="connsiteY1" fmla="*/ 101875 h 112939"/>
                      <a:gd name="connsiteX2" fmla="*/ 46417 w 48036"/>
                      <a:gd name="connsiteY2" fmla="*/ 16192 h 112939"/>
                      <a:gd name="connsiteX3" fmla="*/ 36297 w 48036"/>
                      <a:gd name="connsiteY3" fmla="*/ 0 h 112939"/>
                      <a:gd name="connsiteX4" fmla="*/ 0 w 48036"/>
                      <a:gd name="connsiteY4" fmla="*/ 72999 h 112939"/>
                      <a:gd name="connsiteX5" fmla="*/ 7556 w 48036"/>
                      <a:gd name="connsiteY5" fmla="*/ 97557 h 112939"/>
                      <a:gd name="connsiteX6" fmla="*/ 36297 w 48036"/>
                      <a:gd name="connsiteY6" fmla="*/ 112940 h 11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36" h="112939">
                        <a:moveTo>
                          <a:pt x="36297" y="112940"/>
                        </a:moveTo>
                        <a:cubicBezTo>
                          <a:pt x="39805" y="94049"/>
                          <a:pt x="43853" y="120631"/>
                          <a:pt x="48036" y="101875"/>
                        </a:cubicBezTo>
                        <a:lnTo>
                          <a:pt x="46417" y="16192"/>
                        </a:lnTo>
                        <a:lnTo>
                          <a:pt x="36297" y="0"/>
                        </a:lnTo>
                        <a:lnTo>
                          <a:pt x="0" y="72999"/>
                        </a:lnTo>
                        <a:lnTo>
                          <a:pt x="7556" y="97557"/>
                        </a:lnTo>
                        <a:lnTo>
                          <a:pt x="36297" y="112940"/>
                        </a:lnTo>
                        <a:close/>
                      </a:path>
                    </a:pathLst>
                  </a:custGeom>
                  <a:solidFill>
                    <a:srgbClr val="0C3E7A"/>
                  </a:solidFill>
                  <a:ln w="1349" cap="flat">
                    <a:noFill/>
                    <a:prstDash val="solid"/>
                    <a:miter/>
                  </a:ln>
                </p:spPr>
                <p:txBody>
                  <a:bodyPr rtlCol="0" anchor="ctr"/>
                  <a:lstStyle/>
                  <a:p>
                    <a:endParaRPr lang="en-IN">
                      <a:latin typeface="+mn-lt"/>
                    </a:endParaRPr>
                  </a:p>
                </p:txBody>
              </p:sp>
              <p:sp>
                <p:nvSpPr>
                  <p:cNvPr id="307" name="Freeform: Shape 172">
                    <a:extLst>
                      <a:ext uri="{FF2B5EF4-FFF2-40B4-BE49-F238E27FC236}">
                        <a16:creationId xmlns:a16="http://schemas.microsoft.com/office/drawing/2014/main" id="{DB42A796-7B86-E24E-9201-BFAF0D18B001}"/>
                      </a:ext>
                    </a:extLst>
                  </p:cNvPr>
                  <p:cNvSpPr/>
                  <p:nvPr/>
                </p:nvSpPr>
                <p:spPr>
                  <a:xfrm>
                    <a:off x="9022816" y="2842941"/>
                    <a:ext cx="259137" cy="869502"/>
                  </a:xfrm>
                  <a:custGeom>
                    <a:avLst/>
                    <a:gdLst>
                      <a:gd name="connsiteX0" fmla="*/ 63837 w 259137"/>
                      <a:gd name="connsiteY0" fmla="*/ 837096 h 869502"/>
                      <a:gd name="connsiteX1" fmla="*/ 82188 w 259137"/>
                      <a:gd name="connsiteY1" fmla="*/ 696495 h 869502"/>
                      <a:gd name="connsiteX2" fmla="*/ 111738 w 259137"/>
                      <a:gd name="connsiteY2" fmla="*/ 562101 h 869502"/>
                      <a:gd name="connsiteX3" fmla="*/ 165847 w 259137"/>
                      <a:gd name="connsiteY3" fmla="*/ 869345 h 869502"/>
                      <a:gd name="connsiteX4" fmla="*/ 208081 w 259137"/>
                      <a:gd name="connsiteY4" fmla="*/ 857606 h 869502"/>
                      <a:gd name="connsiteX5" fmla="*/ 229805 w 259137"/>
                      <a:gd name="connsiteY5" fmla="*/ 487887 h 869502"/>
                      <a:gd name="connsiteX6" fmla="*/ 250450 w 259137"/>
                      <a:gd name="connsiteY6" fmla="*/ 432969 h 869502"/>
                      <a:gd name="connsiteX7" fmla="*/ 257197 w 259137"/>
                      <a:gd name="connsiteY7" fmla="*/ 252158 h 869502"/>
                      <a:gd name="connsiteX8" fmla="*/ 206866 w 259137"/>
                      <a:gd name="connsiteY8" fmla="*/ 642 h 869502"/>
                      <a:gd name="connsiteX9" fmla="*/ 64107 w 259137"/>
                      <a:gd name="connsiteY9" fmla="*/ 16564 h 869502"/>
                      <a:gd name="connsiteX10" fmla="*/ 19309 w 259137"/>
                      <a:gd name="connsiteY10" fmla="*/ 388576 h 869502"/>
                      <a:gd name="connsiteX11" fmla="*/ 2307 w 259137"/>
                      <a:gd name="connsiteY11" fmla="*/ 712012 h 869502"/>
                      <a:gd name="connsiteX12" fmla="*/ 19309 w 259137"/>
                      <a:gd name="connsiteY12" fmla="*/ 832508 h 869502"/>
                      <a:gd name="connsiteX13" fmla="*/ 63837 w 259137"/>
                      <a:gd name="connsiteY13" fmla="*/ 837096 h 86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9137" h="869502">
                        <a:moveTo>
                          <a:pt x="63837" y="837096"/>
                        </a:moveTo>
                        <a:cubicBezTo>
                          <a:pt x="63837" y="837096"/>
                          <a:pt x="68559" y="724966"/>
                          <a:pt x="82188" y="696495"/>
                        </a:cubicBezTo>
                        <a:cubicBezTo>
                          <a:pt x="95816" y="668024"/>
                          <a:pt x="98110" y="543075"/>
                          <a:pt x="111738" y="562101"/>
                        </a:cubicBezTo>
                        <a:cubicBezTo>
                          <a:pt x="125367" y="581127"/>
                          <a:pt x="150464" y="877306"/>
                          <a:pt x="165847" y="869345"/>
                        </a:cubicBezTo>
                        <a:cubicBezTo>
                          <a:pt x="184737" y="859494"/>
                          <a:pt x="208081" y="857606"/>
                          <a:pt x="208081" y="857606"/>
                        </a:cubicBezTo>
                        <a:lnTo>
                          <a:pt x="229805" y="487887"/>
                        </a:lnTo>
                        <a:cubicBezTo>
                          <a:pt x="229805" y="487887"/>
                          <a:pt x="250450" y="442415"/>
                          <a:pt x="250450" y="432969"/>
                        </a:cubicBezTo>
                        <a:cubicBezTo>
                          <a:pt x="250450" y="423524"/>
                          <a:pt x="264078" y="293448"/>
                          <a:pt x="257197" y="252158"/>
                        </a:cubicBezTo>
                        <a:cubicBezTo>
                          <a:pt x="250450" y="210869"/>
                          <a:pt x="240870" y="3746"/>
                          <a:pt x="206866" y="642"/>
                        </a:cubicBezTo>
                        <a:cubicBezTo>
                          <a:pt x="172863" y="-2596"/>
                          <a:pt x="70853" y="6984"/>
                          <a:pt x="64107" y="16564"/>
                        </a:cubicBezTo>
                        <a:cubicBezTo>
                          <a:pt x="57360" y="26145"/>
                          <a:pt x="19309" y="372789"/>
                          <a:pt x="19309" y="388576"/>
                        </a:cubicBezTo>
                        <a:cubicBezTo>
                          <a:pt x="19309" y="404498"/>
                          <a:pt x="-7948" y="667619"/>
                          <a:pt x="2307" y="712012"/>
                        </a:cubicBezTo>
                        <a:cubicBezTo>
                          <a:pt x="12562" y="756405"/>
                          <a:pt x="12562" y="819824"/>
                          <a:pt x="19309" y="832508"/>
                        </a:cubicBezTo>
                        <a:cubicBezTo>
                          <a:pt x="26055" y="845192"/>
                          <a:pt x="63837" y="837096"/>
                          <a:pt x="63837" y="837096"/>
                        </a:cubicBezTo>
                        <a:close/>
                      </a:path>
                    </a:pathLst>
                  </a:custGeom>
                  <a:solidFill>
                    <a:srgbClr val="0C3E7A"/>
                  </a:solidFill>
                  <a:ln w="1349" cap="flat">
                    <a:noFill/>
                    <a:prstDash val="solid"/>
                    <a:miter/>
                  </a:ln>
                </p:spPr>
                <p:txBody>
                  <a:bodyPr rtlCol="0" anchor="ctr"/>
                  <a:lstStyle/>
                  <a:p>
                    <a:endParaRPr lang="en-IN">
                      <a:latin typeface="+mn-lt"/>
                    </a:endParaRPr>
                  </a:p>
                </p:txBody>
              </p:sp>
              <p:sp>
                <p:nvSpPr>
                  <p:cNvPr id="308" name="Freeform: Shape 173">
                    <a:extLst>
                      <a:ext uri="{FF2B5EF4-FFF2-40B4-BE49-F238E27FC236}">
                        <a16:creationId xmlns:a16="http://schemas.microsoft.com/office/drawing/2014/main" id="{391952D0-36A3-2C4B-9340-592A290EB5A1}"/>
                      </a:ext>
                    </a:extLst>
                  </p:cNvPr>
                  <p:cNvSpPr/>
                  <p:nvPr/>
                </p:nvSpPr>
                <p:spPr>
                  <a:xfrm>
                    <a:off x="8709158" y="2942477"/>
                    <a:ext cx="260226" cy="746266"/>
                  </a:xfrm>
                  <a:custGeom>
                    <a:avLst/>
                    <a:gdLst>
                      <a:gd name="connsiteX0" fmla="*/ 125844 w 260226"/>
                      <a:gd name="connsiteY0" fmla="*/ 739178 h 746266"/>
                      <a:gd name="connsiteX1" fmla="*/ 122875 w 260226"/>
                      <a:gd name="connsiteY1" fmla="*/ 562280 h 746266"/>
                      <a:gd name="connsiteX2" fmla="*/ 137178 w 260226"/>
                      <a:gd name="connsiteY2" fmla="*/ 418171 h 746266"/>
                      <a:gd name="connsiteX3" fmla="*/ 187913 w 260226"/>
                      <a:gd name="connsiteY3" fmla="*/ 743631 h 746266"/>
                      <a:gd name="connsiteX4" fmla="*/ 235950 w 260226"/>
                      <a:gd name="connsiteY4" fmla="*/ 746194 h 746266"/>
                      <a:gd name="connsiteX5" fmla="*/ 230417 w 260226"/>
                      <a:gd name="connsiteY5" fmla="*/ 391319 h 746266"/>
                      <a:gd name="connsiteX6" fmla="*/ 241347 w 260226"/>
                      <a:gd name="connsiteY6" fmla="*/ 333837 h 746266"/>
                      <a:gd name="connsiteX7" fmla="*/ 257944 w 260226"/>
                      <a:gd name="connsiteY7" fmla="*/ 190943 h 746266"/>
                      <a:gd name="connsiteX8" fmla="*/ 169697 w 260226"/>
                      <a:gd name="connsiteY8" fmla="*/ 12 h 746266"/>
                      <a:gd name="connsiteX9" fmla="*/ 28692 w 260226"/>
                      <a:gd name="connsiteY9" fmla="*/ 28213 h 746266"/>
                      <a:gd name="connsiteX10" fmla="*/ 7102 w 260226"/>
                      <a:gd name="connsiteY10" fmla="*/ 306446 h 746266"/>
                      <a:gd name="connsiteX11" fmla="*/ 65933 w 260226"/>
                      <a:gd name="connsiteY11" fmla="*/ 581710 h 746266"/>
                      <a:gd name="connsiteX12" fmla="*/ 81046 w 260226"/>
                      <a:gd name="connsiteY12" fmla="*/ 735535 h 746266"/>
                      <a:gd name="connsiteX13" fmla="*/ 125844 w 260226"/>
                      <a:gd name="connsiteY13" fmla="*/ 739178 h 746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0226" h="746266">
                        <a:moveTo>
                          <a:pt x="125844" y="739178"/>
                        </a:moveTo>
                        <a:lnTo>
                          <a:pt x="122875" y="562280"/>
                        </a:lnTo>
                        <a:lnTo>
                          <a:pt x="137178" y="418171"/>
                        </a:lnTo>
                        <a:cubicBezTo>
                          <a:pt x="152291" y="436927"/>
                          <a:pt x="187913" y="743631"/>
                          <a:pt x="187913" y="743631"/>
                        </a:cubicBezTo>
                        <a:cubicBezTo>
                          <a:pt x="196414" y="746060"/>
                          <a:pt x="230957" y="746464"/>
                          <a:pt x="235950" y="746194"/>
                        </a:cubicBezTo>
                        <a:lnTo>
                          <a:pt x="230417" y="391319"/>
                        </a:lnTo>
                        <a:cubicBezTo>
                          <a:pt x="230417" y="391319"/>
                          <a:pt x="242157" y="343688"/>
                          <a:pt x="241347" y="333837"/>
                        </a:cubicBezTo>
                        <a:cubicBezTo>
                          <a:pt x="240537" y="323852"/>
                          <a:pt x="268199" y="233312"/>
                          <a:pt x="257944" y="190943"/>
                        </a:cubicBezTo>
                        <a:cubicBezTo>
                          <a:pt x="247689" y="148439"/>
                          <a:pt x="203836" y="551"/>
                          <a:pt x="169697" y="12"/>
                        </a:cubicBezTo>
                        <a:cubicBezTo>
                          <a:pt x="135559" y="-528"/>
                          <a:pt x="34629" y="17688"/>
                          <a:pt x="28692" y="28213"/>
                        </a:cubicBezTo>
                        <a:cubicBezTo>
                          <a:pt x="22755" y="38738"/>
                          <a:pt x="-15567" y="148169"/>
                          <a:pt x="7102" y="306446"/>
                        </a:cubicBezTo>
                        <a:cubicBezTo>
                          <a:pt x="9396" y="322908"/>
                          <a:pt x="65933" y="581710"/>
                          <a:pt x="65933" y="581710"/>
                        </a:cubicBezTo>
                        <a:lnTo>
                          <a:pt x="81046" y="735535"/>
                        </a:lnTo>
                        <a:lnTo>
                          <a:pt x="125844" y="739178"/>
                        </a:lnTo>
                        <a:close/>
                      </a:path>
                    </a:pathLst>
                  </a:custGeom>
                  <a:solidFill>
                    <a:srgbClr val="0C3E7A"/>
                  </a:solidFill>
                  <a:ln w="1349" cap="flat">
                    <a:noFill/>
                    <a:prstDash val="solid"/>
                    <a:miter/>
                  </a:ln>
                </p:spPr>
                <p:txBody>
                  <a:bodyPr rtlCol="0" anchor="ctr"/>
                  <a:lstStyle/>
                  <a:p>
                    <a:endParaRPr lang="en-IN">
                      <a:latin typeface="+mn-lt"/>
                    </a:endParaRPr>
                  </a:p>
                </p:txBody>
              </p:sp>
              <p:sp>
                <p:nvSpPr>
                  <p:cNvPr id="309" name="Freeform: Shape 174">
                    <a:extLst>
                      <a:ext uri="{FF2B5EF4-FFF2-40B4-BE49-F238E27FC236}">
                        <a16:creationId xmlns:a16="http://schemas.microsoft.com/office/drawing/2014/main" id="{6F2EF4B2-B0D3-3E43-A9A0-0A3C83C07983}"/>
                      </a:ext>
                    </a:extLst>
                  </p:cNvPr>
                  <p:cNvSpPr/>
                  <p:nvPr/>
                </p:nvSpPr>
                <p:spPr>
                  <a:xfrm>
                    <a:off x="9226329" y="2886903"/>
                    <a:ext cx="316482" cy="816230"/>
                  </a:xfrm>
                  <a:custGeom>
                    <a:avLst/>
                    <a:gdLst>
                      <a:gd name="connsiteX0" fmla="*/ 46397 w 316482"/>
                      <a:gd name="connsiteY0" fmla="*/ 813644 h 816230"/>
                      <a:gd name="connsiteX1" fmla="*/ 106982 w 316482"/>
                      <a:gd name="connsiteY1" fmla="*/ 574136 h 816230"/>
                      <a:gd name="connsiteX2" fmla="*/ 192395 w 316482"/>
                      <a:gd name="connsiteY2" fmla="*/ 428678 h 816230"/>
                      <a:gd name="connsiteX3" fmla="*/ 238273 w 316482"/>
                      <a:gd name="connsiteY3" fmla="*/ 804738 h 816230"/>
                      <a:gd name="connsiteX4" fmla="*/ 264315 w 316482"/>
                      <a:gd name="connsiteY4" fmla="*/ 797452 h 816230"/>
                      <a:gd name="connsiteX5" fmla="*/ 281047 w 316482"/>
                      <a:gd name="connsiteY5" fmla="*/ 395754 h 816230"/>
                      <a:gd name="connsiteX6" fmla="*/ 307898 w 316482"/>
                      <a:gd name="connsiteY6" fmla="*/ 339352 h 816230"/>
                      <a:gd name="connsiteX7" fmla="*/ 314645 w 316482"/>
                      <a:gd name="connsiteY7" fmla="*/ 150040 h 816230"/>
                      <a:gd name="connsiteX8" fmla="*/ 264450 w 316482"/>
                      <a:gd name="connsiteY8" fmla="*/ 669 h 816230"/>
                      <a:gd name="connsiteX9" fmla="*/ 123714 w 316482"/>
                      <a:gd name="connsiteY9" fmla="*/ 17265 h 816230"/>
                      <a:gd name="connsiteX10" fmla="*/ 80130 w 316482"/>
                      <a:gd name="connsiteY10" fmla="*/ 292800 h 816230"/>
                      <a:gd name="connsiteX11" fmla="*/ 41540 w 316482"/>
                      <a:gd name="connsiteY11" fmla="*/ 629189 h 816230"/>
                      <a:gd name="connsiteX12" fmla="*/ 655 w 316482"/>
                      <a:gd name="connsiteY12" fmla="*/ 808651 h 816230"/>
                      <a:gd name="connsiteX13" fmla="*/ 46397 w 316482"/>
                      <a:gd name="connsiteY13" fmla="*/ 813644 h 81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6482" h="816230">
                        <a:moveTo>
                          <a:pt x="46397" y="813644"/>
                        </a:moveTo>
                        <a:cubicBezTo>
                          <a:pt x="46397" y="813644"/>
                          <a:pt x="91465" y="602877"/>
                          <a:pt x="106982" y="574136"/>
                        </a:cubicBezTo>
                        <a:cubicBezTo>
                          <a:pt x="153939" y="487374"/>
                          <a:pt x="192395" y="428678"/>
                          <a:pt x="192395" y="428678"/>
                        </a:cubicBezTo>
                        <a:cubicBezTo>
                          <a:pt x="185783" y="451752"/>
                          <a:pt x="238273" y="804738"/>
                          <a:pt x="238273" y="804738"/>
                        </a:cubicBezTo>
                        <a:cubicBezTo>
                          <a:pt x="255004" y="808111"/>
                          <a:pt x="264315" y="797452"/>
                          <a:pt x="264315" y="797452"/>
                        </a:cubicBezTo>
                        <a:lnTo>
                          <a:pt x="281047" y="395754"/>
                        </a:lnTo>
                        <a:cubicBezTo>
                          <a:pt x="281047" y="395754"/>
                          <a:pt x="307898" y="349337"/>
                          <a:pt x="307898" y="339352"/>
                        </a:cubicBezTo>
                        <a:cubicBezTo>
                          <a:pt x="307898" y="329367"/>
                          <a:pt x="321257" y="193219"/>
                          <a:pt x="314645" y="150040"/>
                        </a:cubicBezTo>
                        <a:cubicBezTo>
                          <a:pt x="307898" y="106861"/>
                          <a:pt x="297913" y="3907"/>
                          <a:pt x="264450" y="669"/>
                        </a:cubicBezTo>
                        <a:cubicBezTo>
                          <a:pt x="230986" y="-2705"/>
                          <a:pt x="130461" y="7280"/>
                          <a:pt x="123714" y="17265"/>
                        </a:cubicBezTo>
                        <a:cubicBezTo>
                          <a:pt x="116967" y="27251"/>
                          <a:pt x="80130" y="276203"/>
                          <a:pt x="80130" y="292800"/>
                        </a:cubicBezTo>
                        <a:cubicBezTo>
                          <a:pt x="80130" y="309397"/>
                          <a:pt x="31419" y="582772"/>
                          <a:pt x="41540" y="629189"/>
                        </a:cubicBezTo>
                        <a:cubicBezTo>
                          <a:pt x="41540" y="629189"/>
                          <a:pt x="-6092" y="795428"/>
                          <a:pt x="655" y="808651"/>
                        </a:cubicBezTo>
                        <a:cubicBezTo>
                          <a:pt x="7266" y="822009"/>
                          <a:pt x="46397" y="813644"/>
                          <a:pt x="46397" y="813644"/>
                        </a:cubicBezTo>
                        <a:close/>
                      </a:path>
                    </a:pathLst>
                  </a:custGeom>
                  <a:solidFill>
                    <a:srgbClr val="0C3E7A"/>
                  </a:solidFill>
                  <a:ln w="1349" cap="flat">
                    <a:noFill/>
                    <a:prstDash val="solid"/>
                    <a:miter/>
                  </a:ln>
                </p:spPr>
                <p:txBody>
                  <a:bodyPr rtlCol="0" anchor="ctr"/>
                  <a:lstStyle/>
                  <a:p>
                    <a:endParaRPr lang="en-IN">
                      <a:latin typeface="+mn-lt"/>
                    </a:endParaRPr>
                  </a:p>
                </p:txBody>
              </p:sp>
              <p:sp>
                <p:nvSpPr>
                  <p:cNvPr id="310" name="Freeform: Shape 175">
                    <a:extLst>
                      <a:ext uri="{FF2B5EF4-FFF2-40B4-BE49-F238E27FC236}">
                        <a16:creationId xmlns:a16="http://schemas.microsoft.com/office/drawing/2014/main" id="{D653F34A-565D-654A-A2A9-2E0E5DD49B4B}"/>
                      </a:ext>
                    </a:extLst>
                  </p:cNvPr>
                  <p:cNvSpPr/>
                  <p:nvPr/>
                </p:nvSpPr>
                <p:spPr>
                  <a:xfrm>
                    <a:off x="9496986" y="2855281"/>
                    <a:ext cx="293738" cy="857139"/>
                  </a:xfrm>
                  <a:custGeom>
                    <a:avLst/>
                    <a:gdLst>
                      <a:gd name="connsiteX0" fmla="*/ 51410 w 293738"/>
                      <a:gd name="connsiteY0" fmla="*/ 843916 h 857139"/>
                      <a:gd name="connsiteX1" fmla="*/ 81095 w 293738"/>
                      <a:gd name="connsiteY1" fmla="*/ 683885 h 857139"/>
                      <a:gd name="connsiteX2" fmla="*/ 119416 w 293738"/>
                      <a:gd name="connsiteY2" fmla="*/ 567032 h 857139"/>
                      <a:gd name="connsiteX3" fmla="*/ 193900 w 293738"/>
                      <a:gd name="connsiteY3" fmla="*/ 857140 h 857139"/>
                      <a:gd name="connsiteX4" fmla="*/ 243960 w 293738"/>
                      <a:gd name="connsiteY4" fmla="*/ 854036 h 857139"/>
                      <a:gd name="connsiteX5" fmla="*/ 255564 w 293738"/>
                      <a:gd name="connsiteY5" fmla="*/ 462864 h 857139"/>
                      <a:gd name="connsiteX6" fmla="*/ 285654 w 293738"/>
                      <a:gd name="connsiteY6" fmla="*/ 406057 h 857139"/>
                      <a:gd name="connsiteX7" fmla="*/ 291186 w 293738"/>
                      <a:gd name="connsiteY7" fmla="*/ 216745 h 857139"/>
                      <a:gd name="connsiteX8" fmla="*/ 184859 w 293738"/>
                      <a:gd name="connsiteY8" fmla="*/ 446 h 857139"/>
                      <a:gd name="connsiteX9" fmla="*/ 23478 w 293738"/>
                      <a:gd name="connsiteY9" fmla="*/ 18797 h 857139"/>
                      <a:gd name="connsiteX10" fmla="*/ 23478 w 293738"/>
                      <a:gd name="connsiteY10" fmla="*/ 362473 h 857139"/>
                      <a:gd name="connsiteX11" fmla="*/ 8231 w 293738"/>
                      <a:gd name="connsiteY11" fmla="*/ 701291 h 857139"/>
                      <a:gd name="connsiteX12" fmla="*/ 0 w 293738"/>
                      <a:gd name="connsiteY12" fmla="*/ 839868 h 857139"/>
                      <a:gd name="connsiteX13" fmla="*/ 51410 w 293738"/>
                      <a:gd name="connsiteY13" fmla="*/ 843916 h 85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3738" h="857139">
                        <a:moveTo>
                          <a:pt x="51410" y="843916"/>
                        </a:moveTo>
                        <a:cubicBezTo>
                          <a:pt x="51410" y="843916"/>
                          <a:pt x="66117" y="713975"/>
                          <a:pt x="81095" y="683885"/>
                        </a:cubicBezTo>
                        <a:cubicBezTo>
                          <a:pt x="96073" y="653795"/>
                          <a:pt x="103764" y="547332"/>
                          <a:pt x="119416" y="567032"/>
                        </a:cubicBezTo>
                        <a:cubicBezTo>
                          <a:pt x="135068" y="586733"/>
                          <a:pt x="193900" y="857140"/>
                          <a:pt x="193900" y="857140"/>
                        </a:cubicBezTo>
                        <a:lnTo>
                          <a:pt x="243960" y="854036"/>
                        </a:lnTo>
                        <a:lnTo>
                          <a:pt x="255564" y="462864"/>
                        </a:lnTo>
                        <a:cubicBezTo>
                          <a:pt x="255564" y="462864"/>
                          <a:pt x="285789" y="416042"/>
                          <a:pt x="285654" y="406057"/>
                        </a:cubicBezTo>
                        <a:cubicBezTo>
                          <a:pt x="285519" y="396072"/>
                          <a:pt x="299282" y="259789"/>
                          <a:pt x="291186" y="216745"/>
                        </a:cubicBezTo>
                        <a:cubicBezTo>
                          <a:pt x="282956" y="173701"/>
                          <a:pt x="223450" y="3415"/>
                          <a:pt x="184859" y="446"/>
                        </a:cubicBezTo>
                        <a:cubicBezTo>
                          <a:pt x="146403" y="-2387"/>
                          <a:pt x="31035" y="8812"/>
                          <a:pt x="23478" y="18797"/>
                        </a:cubicBezTo>
                        <a:cubicBezTo>
                          <a:pt x="15922" y="28782"/>
                          <a:pt x="23343" y="345876"/>
                          <a:pt x="23478" y="362473"/>
                        </a:cubicBezTo>
                        <a:cubicBezTo>
                          <a:pt x="23613" y="379070"/>
                          <a:pt x="-3913" y="655009"/>
                          <a:pt x="8231" y="701291"/>
                        </a:cubicBezTo>
                        <a:lnTo>
                          <a:pt x="0" y="839868"/>
                        </a:lnTo>
                        <a:lnTo>
                          <a:pt x="51410" y="843916"/>
                        </a:lnTo>
                        <a:close/>
                      </a:path>
                    </a:pathLst>
                  </a:custGeom>
                  <a:solidFill>
                    <a:srgbClr val="0C3E7A"/>
                  </a:solidFill>
                  <a:ln w="1349" cap="flat">
                    <a:noFill/>
                    <a:prstDash val="solid"/>
                    <a:miter/>
                  </a:ln>
                </p:spPr>
                <p:txBody>
                  <a:bodyPr rtlCol="0" anchor="ctr"/>
                  <a:lstStyle/>
                  <a:p>
                    <a:endParaRPr lang="en-IN">
                      <a:latin typeface="+mn-lt"/>
                    </a:endParaRPr>
                  </a:p>
                </p:txBody>
              </p:sp>
              <p:grpSp>
                <p:nvGrpSpPr>
                  <p:cNvPr id="311" name="Graphic 1">
                    <a:extLst>
                      <a:ext uri="{FF2B5EF4-FFF2-40B4-BE49-F238E27FC236}">
                        <a16:creationId xmlns:a16="http://schemas.microsoft.com/office/drawing/2014/main" id="{70BEB794-CB91-804B-92D0-38DA72C4B665}"/>
                      </a:ext>
                    </a:extLst>
                  </p:cNvPr>
                  <p:cNvGrpSpPr/>
                  <p:nvPr/>
                </p:nvGrpSpPr>
                <p:grpSpPr>
                  <a:xfrm>
                    <a:off x="8281774" y="3651009"/>
                    <a:ext cx="1384553" cy="55203"/>
                    <a:chOff x="8281774" y="3651009"/>
                    <a:chExt cx="1384553" cy="55203"/>
                  </a:xfrm>
                  <a:solidFill>
                    <a:schemeClr val="accent1"/>
                  </a:solidFill>
                </p:grpSpPr>
                <p:sp>
                  <p:nvSpPr>
                    <p:cNvPr id="312" name="Freeform: Shape 177">
                      <a:extLst>
                        <a:ext uri="{FF2B5EF4-FFF2-40B4-BE49-F238E27FC236}">
                          <a16:creationId xmlns:a16="http://schemas.microsoft.com/office/drawing/2014/main" id="{6C69E2DA-1927-174F-B78F-D32E971F577D}"/>
                        </a:ext>
                      </a:extLst>
                    </p:cNvPr>
                    <p:cNvSpPr/>
                    <p:nvPr/>
                  </p:nvSpPr>
                  <p:spPr>
                    <a:xfrm>
                      <a:off x="8513185" y="3651009"/>
                      <a:ext cx="54108" cy="33717"/>
                    </a:xfrm>
                    <a:custGeom>
                      <a:avLst/>
                      <a:gdLst>
                        <a:gd name="connsiteX0" fmla="*/ 27796 w 54108"/>
                        <a:gd name="connsiteY0" fmla="*/ 11351 h 33717"/>
                        <a:gd name="connsiteX1" fmla="*/ 9310 w 54108"/>
                        <a:gd name="connsiteY1" fmla="*/ 13780 h 33717"/>
                        <a:gd name="connsiteX2" fmla="*/ 0 w 54108"/>
                        <a:gd name="connsiteY2" fmla="*/ 30512 h 33717"/>
                        <a:gd name="connsiteX3" fmla="*/ 23209 w 54108"/>
                        <a:gd name="connsiteY3" fmla="*/ 33480 h 33717"/>
                        <a:gd name="connsiteX4" fmla="*/ 51814 w 54108"/>
                        <a:gd name="connsiteY4" fmla="*/ 33480 h 33717"/>
                        <a:gd name="connsiteX5" fmla="*/ 54109 w 54108"/>
                        <a:gd name="connsiteY5" fmla="*/ 27678 h 33717"/>
                        <a:gd name="connsiteX6" fmla="*/ 51005 w 54108"/>
                        <a:gd name="connsiteY6" fmla="*/ 1636 h 33717"/>
                        <a:gd name="connsiteX7" fmla="*/ 30630 w 54108"/>
                        <a:gd name="connsiteY7" fmla="*/ 3120 h 33717"/>
                        <a:gd name="connsiteX8" fmla="*/ 27796 w 54108"/>
                        <a:gd name="connsiteY8" fmla="*/ 11351 h 3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08" h="33717">
                          <a:moveTo>
                            <a:pt x="27796" y="11351"/>
                          </a:moveTo>
                          <a:cubicBezTo>
                            <a:pt x="26447" y="12970"/>
                            <a:pt x="9310" y="13780"/>
                            <a:pt x="9310" y="13780"/>
                          </a:cubicBezTo>
                          <a:lnTo>
                            <a:pt x="0" y="30512"/>
                          </a:lnTo>
                          <a:cubicBezTo>
                            <a:pt x="0" y="34965"/>
                            <a:pt x="23209" y="33480"/>
                            <a:pt x="23209" y="33480"/>
                          </a:cubicBezTo>
                          <a:lnTo>
                            <a:pt x="51814" y="33480"/>
                          </a:lnTo>
                          <a:lnTo>
                            <a:pt x="54109" y="27678"/>
                          </a:lnTo>
                          <a:cubicBezTo>
                            <a:pt x="54109" y="27678"/>
                            <a:pt x="49790" y="-7944"/>
                            <a:pt x="51005" y="1636"/>
                          </a:cubicBezTo>
                          <a:cubicBezTo>
                            <a:pt x="51140" y="2581"/>
                            <a:pt x="30630" y="3120"/>
                            <a:pt x="30630" y="3120"/>
                          </a:cubicBezTo>
                          <a:lnTo>
                            <a:pt x="27796" y="11351"/>
                          </a:lnTo>
                          <a:close/>
                        </a:path>
                      </a:pathLst>
                    </a:custGeom>
                    <a:solidFill>
                      <a:srgbClr val="1C6D91"/>
                    </a:solidFill>
                    <a:ln w="1349" cap="flat">
                      <a:noFill/>
                      <a:prstDash val="solid"/>
                      <a:miter/>
                    </a:ln>
                  </p:spPr>
                  <p:txBody>
                    <a:bodyPr rtlCol="0" anchor="ctr"/>
                    <a:lstStyle/>
                    <a:p>
                      <a:endParaRPr lang="en-IN">
                        <a:latin typeface="+mn-lt"/>
                      </a:endParaRPr>
                    </a:p>
                  </p:txBody>
                </p:sp>
                <p:sp>
                  <p:nvSpPr>
                    <p:cNvPr id="313" name="Freeform: Shape 178">
                      <a:extLst>
                        <a:ext uri="{FF2B5EF4-FFF2-40B4-BE49-F238E27FC236}">
                          <a16:creationId xmlns:a16="http://schemas.microsoft.com/office/drawing/2014/main" id="{A33ECC24-83AA-8240-B462-783004C4E8E2}"/>
                        </a:ext>
                      </a:extLst>
                    </p:cNvPr>
                    <p:cNvSpPr/>
                    <p:nvPr/>
                  </p:nvSpPr>
                  <p:spPr>
                    <a:xfrm>
                      <a:off x="9148992" y="3657367"/>
                      <a:ext cx="87437" cy="45337"/>
                    </a:xfrm>
                    <a:custGeom>
                      <a:avLst/>
                      <a:gdLst>
                        <a:gd name="connsiteX0" fmla="*/ 77587 w 87437"/>
                        <a:gd name="connsiteY0" fmla="*/ 43718 h 45337"/>
                        <a:gd name="connsiteX1" fmla="*/ 48441 w 87437"/>
                        <a:gd name="connsiteY1" fmla="*/ 45338 h 45337"/>
                        <a:gd name="connsiteX2" fmla="*/ 6612 w 87437"/>
                        <a:gd name="connsiteY2" fmla="*/ 43853 h 45337"/>
                        <a:gd name="connsiteX3" fmla="*/ 0 w 87437"/>
                        <a:gd name="connsiteY3" fmla="*/ 18621 h 45337"/>
                        <a:gd name="connsiteX4" fmla="*/ 45338 w 87437"/>
                        <a:gd name="connsiteY4" fmla="*/ 540 h 45337"/>
                        <a:gd name="connsiteX5" fmla="*/ 87437 w 87437"/>
                        <a:gd name="connsiteY5" fmla="*/ 0 h 45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437" h="45337">
                          <a:moveTo>
                            <a:pt x="77587" y="43718"/>
                          </a:moveTo>
                          <a:lnTo>
                            <a:pt x="48441" y="45338"/>
                          </a:lnTo>
                          <a:lnTo>
                            <a:pt x="6612" y="43853"/>
                          </a:lnTo>
                          <a:lnTo>
                            <a:pt x="0" y="18621"/>
                          </a:lnTo>
                          <a:lnTo>
                            <a:pt x="45338" y="540"/>
                          </a:lnTo>
                          <a:lnTo>
                            <a:pt x="87437" y="0"/>
                          </a:lnTo>
                          <a:close/>
                        </a:path>
                      </a:pathLst>
                    </a:custGeom>
                    <a:solidFill>
                      <a:srgbClr val="0C3E7A"/>
                    </a:solidFill>
                    <a:ln w="1349" cap="flat">
                      <a:noFill/>
                      <a:prstDash val="solid"/>
                      <a:miter/>
                    </a:ln>
                  </p:spPr>
                  <p:txBody>
                    <a:bodyPr rtlCol="0" anchor="ctr"/>
                    <a:lstStyle/>
                    <a:p>
                      <a:endParaRPr lang="en-IN">
                        <a:latin typeface="+mn-lt"/>
                      </a:endParaRPr>
                    </a:p>
                  </p:txBody>
                </p:sp>
                <p:sp>
                  <p:nvSpPr>
                    <p:cNvPr id="314" name="Freeform: Shape 179">
                      <a:extLst>
                        <a:ext uri="{FF2B5EF4-FFF2-40B4-BE49-F238E27FC236}">
                          <a16:creationId xmlns:a16="http://schemas.microsoft.com/office/drawing/2014/main" id="{FDD3B38C-C02B-204E-B009-A676125680D0}"/>
                        </a:ext>
                      </a:extLst>
                    </p:cNvPr>
                    <p:cNvSpPr/>
                    <p:nvPr/>
                  </p:nvSpPr>
                  <p:spPr>
                    <a:xfrm>
                      <a:off x="9595352" y="3666138"/>
                      <a:ext cx="70975" cy="33733"/>
                    </a:xfrm>
                    <a:custGeom>
                      <a:avLst/>
                      <a:gdLst>
                        <a:gd name="connsiteX0" fmla="*/ 6882 w 70975"/>
                        <a:gd name="connsiteY0" fmla="*/ 30900 h 33733"/>
                        <a:gd name="connsiteX1" fmla="*/ 27526 w 70975"/>
                        <a:gd name="connsiteY1" fmla="*/ 31979 h 33733"/>
                        <a:gd name="connsiteX2" fmla="*/ 66387 w 70975"/>
                        <a:gd name="connsiteY2" fmla="*/ 33733 h 33733"/>
                        <a:gd name="connsiteX3" fmla="*/ 70975 w 70975"/>
                        <a:gd name="connsiteY3" fmla="*/ 15922 h 33733"/>
                        <a:gd name="connsiteX4" fmla="*/ 29685 w 70975"/>
                        <a:gd name="connsiteY4" fmla="*/ 405 h 33733"/>
                        <a:gd name="connsiteX5" fmla="*/ 0 w 70975"/>
                        <a:gd name="connsiteY5" fmla="*/ 0 h 3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975" h="33733">
                          <a:moveTo>
                            <a:pt x="6882" y="30900"/>
                          </a:moveTo>
                          <a:lnTo>
                            <a:pt x="27526" y="31979"/>
                          </a:lnTo>
                          <a:lnTo>
                            <a:pt x="66387" y="33733"/>
                          </a:lnTo>
                          <a:lnTo>
                            <a:pt x="70975" y="15922"/>
                          </a:lnTo>
                          <a:lnTo>
                            <a:pt x="29685" y="405"/>
                          </a:lnTo>
                          <a:lnTo>
                            <a:pt x="0" y="0"/>
                          </a:lnTo>
                          <a:close/>
                        </a:path>
                      </a:pathLst>
                    </a:custGeom>
                    <a:solidFill>
                      <a:srgbClr val="145B82"/>
                    </a:solidFill>
                    <a:ln w="1349" cap="flat">
                      <a:noFill/>
                      <a:prstDash val="solid"/>
                      <a:miter/>
                    </a:ln>
                  </p:spPr>
                  <p:txBody>
                    <a:bodyPr rtlCol="0" anchor="ctr"/>
                    <a:lstStyle/>
                    <a:p>
                      <a:endParaRPr lang="en-IN">
                        <a:latin typeface="+mn-lt"/>
                      </a:endParaRPr>
                    </a:p>
                  </p:txBody>
                </p:sp>
                <p:sp>
                  <p:nvSpPr>
                    <p:cNvPr id="315" name="Freeform: Shape 180">
                      <a:extLst>
                        <a:ext uri="{FF2B5EF4-FFF2-40B4-BE49-F238E27FC236}">
                          <a16:creationId xmlns:a16="http://schemas.microsoft.com/office/drawing/2014/main" id="{538CC99D-9D99-9B45-AAED-9BC1414F553F}"/>
                        </a:ext>
                      </a:extLst>
                    </p:cNvPr>
                    <p:cNvSpPr/>
                    <p:nvPr/>
                  </p:nvSpPr>
                  <p:spPr>
                    <a:xfrm>
                      <a:off x="8985857" y="3658986"/>
                      <a:ext cx="80960" cy="36566"/>
                    </a:xfrm>
                    <a:custGeom>
                      <a:avLst/>
                      <a:gdLst>
                        <a:gd name="connsiteX0" fmla="*/ 74213 w 80960"/>
                        <a:gd name="connsiteY0" fmla="*/ 33329 h 36566"/>
                        <a:gd name="connsiteX1" fmla="*/ 39401 w 80960"/>
                        <a:gd name="connsiteY1" fmla="*/ 36567 h 36566"/>
                        <a:gd name="connsiteX2" fmla="*/ 0 w 80960"/>
                        <a:gd name="connsiteY2" fmla="*/ 35218 h 36566"/>
                        <a:gd name="connsiteX3" fmla="*/ 6072 w 80960"/>
                        <a:gd name="connsiteY3" fmla="*/ 18216 h 36566"/>
                        <a:gd name="connsiteX4" fmla="*/ 37241 w 80960"/>
                        <a:gd name="connsiteY4" fmla="*/ 2699 h 36566"/>
                        <a:gd name="connsiteX5" fmla="*/ 80960 w 80960"/>
                        <a:gd name="connsiteY5" fmla="*/ 0 h 3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960" h="36566">
                          <a:moveTo>
                            <a:pt x="74213" y="33329"/>
                          </a:moveTo>
                          <a:lnTo>
                            <a:pt x="39401" y="36567"/>
                          </a:lnTo>
                          <a:lnTo>
                            <a:pt x="0" y="35218"/>
                          </a:lnTo>
                          <a:lnTo>
                            <a:pt x="6072" y="18216"/>
                          </a:lnTo>
                          <a:lnTo>
                            <a:pt x="37241" y="2699"/>
                          </a:lnTo>
                          <a:lnTo>
                            <a:pt x="80960" y="0"/>
                          </a:lnTo>
                          <a:close/>
                        </a:path>
                      </a:pathLst>
                    </a:custGeom>
                    <a:solidFill>
                      <a:srgbClr val="145B82"/>
                    </a:solidFill>
                    <a:ln w="1349" cap="flat">
                      <a:noFill/>
                      <a:prstDash val="solid"/>
                      <a:miter/>
                    </a:ln>
                  </p:spPr>
                  <p:txBody>
                    <a:bodyPr rtlCol="0" anchor="ctr"/>
                    <a:lstStyle/>
                    <a:p>
                      <a:endParaRPr lang="en-IN">
                        <a:latin typeface="+mn-lt"/>
                      </a:endParaRPr>
                    </a:p>
                  </p:txBody>
                </p:sp>
                <p:sp>
                  <p:nvSpPr>
                    <p:cNvPr id="316" name="Freeform: Shape 181">
                      <a:extLst>
                        <a:ext uri="{FF2B5EF4-FFF2-40B4-BE49-F238E27FC236}">
                          <a16:creationId xmlns:a16="http://schemas.microsoft.com/office/drawing/2014/main" id="{C99CA0B2-F170-8A4A-B10F-9AE9EB247EF4}"/>
                        </a:ext>
                      </a:extLst>
                    </p:cNvPr>
                    <p:cNvSpPr/>
                    <p:nvPr/>
                  </p:nvSpPr>
                  <p:spPr>
                    <a:xfrm>
                      <a:off x="9425606" y="3667217"/>
                      <a:ext cx="68276" cy="38995"/>
                    </a:xfrm>
                    <a:custGeom>
                      <a:avLst/>
                      <a:gdLst>
                        <a:gd name="connsiteX0" fmla="*/ 0 w 68276"/>
                        <a:gd name="connsiteY0" fmla="*/ 34678 h 38995"/>
                        <a:gd name="connsiteX1" fmla="*/ 63689 w 68276"/>
                        <a:gd name="connsiteY1" fmla="*/ 38996 h 38995"/>
                        <a:gd name="connsiteX2" fmla="*/ 68277 w 68276"/>
                        <a:gd name="connsiteY2" fmla="*/ 21589 h 38995"/>
                        <a:gd name="connsiteX3" fmla="*/ 39131 w 68276"/>
                        <a:gd name="connsiteY3" fmla="*/ 1484 h 38995"/>
                        <a:gd name="connsiteX4" fmla="*/ 0 w 68276"/>
                        <a:gd name="connsiteY4" fmla="*/ 0 h 38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76" h="38995">
                          <a:moveTo>
                            <a:pt x="0" y="34678"/>
                          </a:moveTo>
                          <a:lnTo>
                            <a:pt x="63689" y="38996"/>
                          </a:lnTo>
                          <a:lnTo>
                            <a:pt x="68277" y="21589"/>
                          </a:lnTo>
                          <a:lnTo>
                            <a:pt x="39131" y="1484"/>
                          </a:lnTo>
                          <a:lnTo>
                            <a:pt x="0" y="0"/>
                          </a:lnTo>
                          <a:close/>
                        </a:path>
                      </a:pathLst>
                    </a:custGeom>
                    <a:solidFill>
                      <a:srgbClr val="145B82"/>
                    </a:solidFill>
                    <a:ln w="1349" cap="flat">
                      <a:noFill/>
                      <a:prstDash val="solid"/>
                      <a:miter/>
                    </a:ln>
                  </p:spPr>
                  <p:txBody>
                    <a:bodyPr rtlCol="0" anchor="ctr"/>
                    <a:lstStyle/>
                    <a:p>
                      <a:endParaRPr lang="en-IN">
                        <a:latin typeface="+mn-lt"/>
                      </a:endParaRPr>
                    </a:p>
                  </p:txBody>
                </p:sp>
                <p:sp>
                  <p:nvSpPr>
                    <p:cNvPr id="317" name="Freeform: Shape 182">
                      <a:extLst>
                        <a:ext uri="{FF2B5EF4-FFF2-40B4-BE49-F238E27FC236}">
                          <a16:creationId xmlns:a16="http://schemas.microsoft.com/office/drawing/2014/main" id="{07186830-B269-4D4F-88B2-0C75BAF48124}"/>
                        </a:ext>
                      </a:extLst>
                    </p:cNvPr>
                    <p:cNvSpPr/>
                    <p:nvPr/>
                  </p:nvSpPr>
                  <p:spPr>
                    <a:xfrm>
                      <a:off x="8281774" y="3670726"/>
                      <a:ext cx="73133" cy="31169"/>
                    </a:xfrm>
                    <a:custGeom>
                      <a:avLst/>
                      <a:gdLst>
                        <a:gd name="connsiteX0" fmla="*/ 73134 w 73133"/>
                        <a:gd name="connsiteY0" fmla="*/ 29685 h 31169"/>
                        <a:gd name="connsiteX1" fmla="*/ 46822 w 73133"/>
                        <a:gd name="connsiteY1" fmla="*/ 31170 h 31169"/>
                        <a:gd name="connsiteX2" fmla="*/ 0 w 73133"/>
                        <a:gd name="connsiteY2" fmla="*/ 29955 h 31169"/>
                        <a:gd name="connsiteX3" fmla="*/ 3104 w 73133"/>
                        <a:gd name="connsiteY3" fmla="*/ 12819 h 31169"/>
                        <a:gd name="connsiteX4" fmla="*/ 43988 w 73133"/>
                        <a:gd name="connsiteY4" fmla="*/ 405 h 31169"/>
                        <a:gd name="connsiteX5" fmla="*/ 72864 w 73133"/>
                        <a:gd name="connsiteY5" fmla="*/ 0 h 3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133" h="31169">
                          <a:moveTo>
                            <a:pt x="73134" y="29685"/>
                          </a:moveTo>
                          <a:lnTo>
                            <a:pt x="46822" y="31170"/>
                          </a:lnTo>
                          <a:lnTo>
                            <a:pt x="0" y="29955"/>
                          </a:lnTo>
                          <a:lnTo>
                            <a:pt x="3104" y="12819"/>
                          </a:lnTo>
                          <a:lnTo>
                            <a:pt x="43988" y="405"/>
                          </a:lnTo>
                          <a:lnTo>
                            <a:pt x="72864" y="0"/>
                          </a:lnTo>
                          <a:close/>
                        </a:path>
                      </a:pathLst>
                    </a:custGeom>
                    <a:solidFill>
                      <a:srgbClr val="1C6D91"/>
                    </a:solidFill>
                    <a:ln w="1349" cap="flat">
                      <a:noFill/>
                      <a:prstDash val="solid"/>
                      <a:miter/>
                    </a:ln>
                  </p:spPr>
                  <p:txBody>
                    <a:bodyPr rtlCol="0" anchor="ctr"/>
                    <a:lstStyle/>
                    <a:p>
                      <a:endParaRPr lang="en-IN">
                        <a:latin typeface="+mn-lt"/>
                      </a:endParaRPr>
                    </a:p>
                  </p:txBody>
                </p:sp>
                <p:sp>
                  <p:nvSpPr>
                    <p:cNvPr id="318" name="Freeform: Shape 183">
                      <a:extLst>
                        <a:ext uri="{FF2B5EF4-FFF2-40B4-BE49-F238E27FC236}">
                          <a16:creationId xmlns:a16="http://schemas.microsoft.com/office/drawing/2014/main" id="{7D8CD418-1314-DB48-8691-5C604A1E1B0F}"/>
                        </a:ext>
                      </a:extLst>
                    </p:cNvPr>
                    <p:cNvSpPr/>
                    <p:nvPr/>
                  </p:nvSpPr>
                  <p:spPr>
                    <a:xfrm>
                      <a:off x="8921494" y="3659796"/>
                      <a:ext cx="63148" cy="30764"/>
                    </a:xfrm>
                    <a:custGeom>
                      <a:avLst/>
                      <a:gdLst>
                        <a:gd name="connsiteX0" fmla="*/ 56402 w 63148"/>
                        <a:gd name="connsiteY0" fmla="*/ 30495 h 30764"/>
                        <a:gd name="connsiteX1" fmla="*/ 43044 w 63148"/>
                        <a:gd name="connsiteY1" fmla="*/ 30765 h 30764"/>
                        <a:gd name="connsiteX2" fmla="*/ 4588 w 63148"/>
                        <a:gd name="connsiteY2" fmla="*/ 29820 h 30764"/>
                        <a:gd name="connsiteX3" fmla="*/ 0 w 63148"/>
                        <a:gd name="connsiteY3" fmla="*/ 12414 h 30764"/>
                        <a:gd name="connsiteX4" fmla="*/ 40885 w 63148"/>
                        <a:gd name="connsiteY4" fmla="*/ 0 h 30764"/>
                        <a:gd name="connsiteX5" fmla="*/ 63149 w 63148"/>
                        <a:gd name="connsiteY5" fmla="*/ 405 h 3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148" h="30764">
                          <a:moveTo>
                            <a:pt x="56402" y="30495"/>
                          </a:moveTo>
                          <a:lnTo>
                            <a:pt x="43044" y="30765"/>
                          </a:lnTo>
                          <a:lnTo>
                            <a:pt x="4588" y="29820"/>
                          </a:lnTo>
                          <a:lnTo>
                            <a:pt x="0" y="12414"/>
                          </a:lnTo>
                          <a:lnTo>
                            <a:pt x="40885" y="0"/>
                          </a:lnTo>
                          <a:lnTo>
                            <a:pt x="63149" y="405"/>
                          </a:lnTo>
                          <a:close/>
                        </a:path>
                      </a:pathLst>
                    </a:custGeom>
                    <a:solidFill>
                      <a:srgbClr val="145B82"/>
                    </a:solidFill>
                    <a:ln w="1349" cap="flat">
                      <a:noFill/>
                      <a:prstDash val="solid"/>
                      <a:miter/>
                    </a:ln>
                  </p:spPr>
                  <p:txBody>
                    <a:bodyPr rtlCol="0" anchor="ctr"/>
                    <a:lstStyle/>
                    <a:p>
                      <a:endParaRPr lang="en-IN">
                        <a:latin typeface="+mn-lt"/>
                      </a:endParaRPr>
                    </a:p>
                  </p:txBody>
                </p:sp>
                <p:sp>
                  <p:nvSpPr>
                    <p:cNvPr id="319" name="Freeform: Shape 184">
                      <a:extLst>
                        <a:ext uri="{FF2B5EF4-FFF2-40B4-BE49-F238E27FC236}">
                          <a16:creationId xmlns:a16="http://schemas.microsoft.com/office/drawing/2014/main" id="{432B841A-9E25-2941-81ED-1E4A63547D40}"/>
                        </a:ext>
                      </a:extLst>
                    </p:cNvPr>
                    <p:cNvSpPr/>
                    <p:nvPr/>
                  </p:nvSpPr>
                  <p:spPr>
                    <a:xfrm>
                      <a:off x="9345320" y="3669376"/>
                      <a:ext cx="73404" cy="31169"/>
                    </a:xfrm>
                    <a:custGeom>
                      <a:avLst/>
                      <a:gdLst>
                        <a:gd name="connsiteX0" fmla="*/ 73404 w 73404"/>
                        <a:gd name="connsiteY0" fmla="*/ 29550 h 31169"/>
                        <a:gd name="connsiteX1" fmla="*/ 42909 w 73404"/>
                        <a:gd name="connsiteY1" fmla="*/ 31170 h 31169"/>
                        <a:gd name="connsiteX2" fmla="*/ 4588 w 73404"/>
                        <a:gd name="connsiteY2" fmla="*/ 30225 h 31169"/>
                        <a:gd name="connsiteX3" fmla="*/ 0 w 73404"/>
                        <a:gd name="connsiteY3" fmla="*/ 12819 h 31169"/>
                        <a:gd name="connsiteX4" fmla="*/ 40885 w 73404"/>
                        <a:gd name="connsiteY4" fmla="*/ 405 h 31169"/>
                        <a:gd name="connsiteX5" fmla="*/ 69761 w 73404"/>
                        <a:gd name="connsiteY5" fmla="*/ 0 h 3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404" h="31169">
                          <a:moveTo>
                            <a:pt x="73404" y="29550"/>
                          </a:moveTo>
                          <a:lnTo>
                            <a:pt x="42909" y="31170"/>
                          </a:lnTo>
                          <a:lnTo>
                            <a:pt x="4588" y="30225"/>
                          </a:lnTo>
                          <a:lnTo>
                            <a:pt x="0" y="12819"/>
                          </a:lnTo>
                          <a:lnTo>
                            <a:pt x="40885" y="405"/>
                          </a:lnTo>
                          <a:lnTo>
                            <a:pt x="69761" y="0"/>
                          </a:lnTo>
                          <a:close/>
                        </a:path>
                      </a:pathLst>
                    </a:custGeom>
                    <a:solidFill>
                      <a:srgbClr val="145B82"/>
                    </a:solidFill>
                    <a:ln w="1349" cap="flat">
                      <a:noFill/>
                      <a:prstDash val="solid"/>
                      <a:miter/>
                    </a:ln>
                  </p:spPr>
                  <p:txBody>
                    <a:bodyPr rtlCol="0" anchor="ctr"/>
                    <a:lstStyle/>
                    <a:p>
                      <a:endParaRPr lang="en-IN">
                        <a:latin typeface="+mn-lt"/>
                      </a:endParaRPr>
                    </a:p>
                  </p:txBody>
                </p:sp>
                <p:sp>
                  <p:nvSpPr>
                    <p:cNvPr id="320" name="Freeform: Shape 185">
                      <a:extLst>
                        <a:ext uri="{FF2B5EF4-FFF2-40B4-BE49-F238E27FC236}">
                          <a16:creationId xmlns:a16="http://schemas.microsoft.com/office/drawing/2014/main" id="{0E03FB44-C334-7746-BB95-D672AC8AEAAA}"/>
                        </a:ext>
                      </a:extLst>
                    </p:cNvPr>
                    <p:cNvSpPr/>
                    <p:nvPr/>
                  </p:nvSpPr>
                  <p:spPr>
                    <a:xfrm>
                      <a:off x="9492263" y="3670726"/>
                      <a:ext cx="69760" cy="31169"/>
                    </a:xfrm>
                    <a:custGeom>
                      <a:avLst/>
                      <a:gdLst>
                        <a:gd name="connsiteX0" fmla="*/ 63014 w 69760"/>
                        <a:gd name="connsiteY0" fmla="*/ 30090 h 31169"/>
                        <a:gd name="connsiteX1" fmla="*/ 42909 w 69760"/>
                        <a:gd name="connsiteY1" fmla="*/ 31170 h 31169"/>
                        <a:gd name="connsiteX2" fmla="*/ 4453 w 69760"/>
                        <a:gd name="connsiteY2" fmla="*/ 30225 h 31169"/>
                        <a:gd name="connsiteX3" fmla="*/ 0 w 69760"/>
                        <a:gd name="connsiteY3" fmla="*/ 12819 h 31169"/>
                        <a:gd name="connsiteX4" fmla="*/ 40885 w 69760"/>
                        <a:gd name="connsiteY4" fmla="*/ 405 h 31169"/>
                        <a:gd name="connsiteX5" fmla="*/ 69761 w 69760"/>
                        <a:gd name="connsiteY5" fmla="*/ 0 h 3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760" h="31169">
                          <a:moveTo>
                            <a:pt x="63014" y="30090"/>
                          </a:moveTo>
                          <a:lnTo>
                            <a:pt x="42909" y="31170"/>
                          </a:lnTo>
                          <a:lnTo>
                            <a:pt x="4453" y="30225"/>
                          </a:lnTo>
                          <a:lnTo>
                            <a:pt x="0" y="12819"/>
                          </a:lnTo>
                          <a:lnTo>
                            <a:pt x="40885" y="405"/>
                          </a:lnTo>
                          <a:lnTo>
                            <a:pt x="69761" y="0"/>
                          </a:lnTo>
                          <a:close/>
                        </a:path>
                      </a:pathLst>
                    </a:custGeom>
                    <a:solidFill>
                      <a:srgbClr val="145B82"/>
                    </a:solidFill>
                    <a:ln w="1349" cap="flat">
                      <a:noFill/>
                      <a:prstDash val="solid"/>
                      <a:miter/>
                    </a:ln>
                  </p:spPr>
                  <p:txBody>
                    <a:bodyPr rtlCol="0" anchor="ctr"/>
                    <a:lstStyle/>
                    <a:p>
                      <a:endParaRPr lang="en-IN">
                        <a:latin typeface="+mn-lt"/>
                      </a:endParaRPr>
                    </a:p>
                  </p:txBody>
                </p:sp>
              </p:grpSp>
            </p:grpSp>
            <p:grpSp>
              <p:nvGrpSpPr>
                <p:cNvPr id="148" name="Graphic 1">
                  <a:extLst>
                    <a:ext uri="{FF2B5EF4-FFF2-40B4-BE49-F238E27FC236}">
                      <a16:creationId xmlns:a16="http://schemas.microsoft.com/office/drawing/2014/main" id="{4A83BBB2-B769-B247-820F-F8B0B86E45B5}"/>
                    </a:ext>
                  </a:extLst>
                </p:cNvPr>
                <p:cNvGrpSpPr/>
                <p:nvPr/>
              </p:nvGrpSpPr>
              <p:grpSpPr>
                <a:xfrm flipH="1">
                  <a:off x="523441" y="4302597"/>
                  <a:ext cx="939429" cy="1473816"/>
                  <a:chOff x="8412120" y="2449712"/>
                  <a:chExt cx="797727" cy="1251509"/>
                </a:xfrm>
                <a:solidFill>
                  <a:schemeClr val="accent1"/>
                </a:solidFill>
              </p:grpSpPr>
              <p:sp>
                <p:nvSpPr>
                  <p:cNvPr id="253" name="Freeform: Shape 118">
                    <a:extLst>
                      <a:ext uri="{FF2B5EF4-FFF2-40B4-BE49-F238E27FC236}">
                        <a16:creationId xmlns:a16="http://schemas.microsoft.com/office/drawing/2014/main" id="{FB713505-9BCD-3B49-BA54-7592DB393CCB}"/>
                      </a:ext>
                    </a:extLst>
                  </p:cNvPr>
                  <p:cNvSpPr/>
                  <p:nvPr/>
                </p:nvSpPr>
                <p:spPr>
                  <a:xfrm>
                    <a:off x="8881284" y="2928996"/>
                    <a:ext cx="235054" cy="721489"/>
                  </a:xfrm>
                  <a:custGeom>
                    <a:avLst/>
                    <a:gdLst>
                      <a:gd name="connsiteX0" fmla="*/ 115773 w 235054"/>
                      <a:gd name="connsiteY0" fmla="*/ 6747 h 721489"/>
                      <a:gd name="connsiteX1" fmla="*/ 148832 w 235054"/>
                      <a:gd name="connsiteY1" fmla="*/ 0 h 721489"/>
                      <a:gd name="connsiteX2" fmla="*/ 186478 w 235054"/>
                      <a:gd name="connsiteY2" fmla="*/ 22669 h 721489"/>
                      <a:gd name="connsiteX3" fmla="*/ 196059 w 235054"/>
                      <a:gd name="connsiteY3" fmla="*/ 56132 h 721489"/>
                      <a:gd name="connsiteX4" fmla="*/ 180001 w 235054"/>
                      <a:gd name="connsiteY4" fmla="*/ 174064 h 721489"/>
                      <a:gd name="connsiteX5" fmla="*/ 185264 w 235054"/>
                      <a:gd name="connsiteY5" fmla="*/ 236134 h 721489"/>
                      <a:gd name="connsiteX6" fmla="*/ 199836 w 235054"/>
                      <a:gd name="connsiteY6" fmla="*/ 295774 h 721489"/>
                      <a:gd name="connsiteX7" fmla="*/ 196868 w 235054"/>
                      <a:gd name="connsiteY7" fmla="*/ 496421 h 721489"/>
                      <a:gd name="connsiteX8" fmla="*/ 235054 w 235054"/>
                      <a:gd name="connsiteY8" fmla="*/ 712989 h 721489"/>
                      <a:gd name="connsiteX9" fmla="*/ 167452 w 235054"/>
                      <a:gd name="connsiteY9" fmla="*/ 721490 h 721489"/>
                      <a:gd name="connsiteX10" fmla="*/ 113209 w 235054"/>
                      <a:gd name="connsiteY10" fmla="*/ 528805 h 721489"/>
                      <a:gd name="connsiteX11" fmla="*/ 94588 w 235054"/>
                      <a:gd name="connsiteY11" fmla="*/ 381457 h 721489"/>
                      <a:gd name="connsiteX12" fmla="*/ 89191 w 235054"/>
                      <a:gd name="connsiteY12" fmla="*/ 377409 h 721489"/>
                      <a:gd name="connsiteX13" fmla="*/ 76237 w 235054"/>
                      <a:gd name="connsiteY13" fmla="*/ 522058 h 721489"/>
                      <a:gd name="connsiteX14" fmla="*/ 88651 w 235054"/>
                      <a:gd name="connsiteY14" fmla="*/ 703409 h 721489"/>
                      <a:gd name="connsiteX15" fmla="*/ 14977 w 235054"/>
                      <a:gd name="connsiteY15" fmla="*/ 706242 h 721489"/>
                      <a:gd name="connsiteX16" fmla="*/ 0 w 235054"/>
                      <a:gd name="connsiteY16" fmla="*/ 522598 h 721489"/>
                      <a:gd name="connsiteX17" fmla="*/ 0 w 235054"/>
                      <a:gd name="connsiteY17" fmla="*/ 330992 h 721489"/>
                      <a:gd name="connsiteX18" fmla="*/ 0 w 235054"/>
                      <a:gd name="connsiteY18" fmla="*/ 320332 h 721489"/>
                      <a:gd name="connsiteX19" fmla="*/ 3104 w 235054"/>
                      <a:gd name="connsiteY19" fmla="*/ 255834 h 721489"/>
                      <a:gd name="connsiteX20" fmla="*/ 57752 w 235054"/>
                      <a:gd name="connsiteY20" fmla="*/ 225609 h 72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5054" h="721489">
                        <a:moveTo>
                          <a:pt x="115773" y="6747"/>
                        </a:moveTo>
                        <a:lnTo>
                          <a:pt x="148832" y="0"/>
                        </a:lnTo>
                        <a:lnTo>
                          <a:pt x="186478" y="22669"/>
                        </a:lnTo>
                        <a:lnTo>
                          <a:pt x="196059" y="56132"/>
                        </a:lnTo>
                        <a:lnTo>
                          <a:pt x="180001" y="174064"/>
                        </a:lnTo>
                        <a:lnTo>
                          <a:pt x="185264" y="236134"/>
                        </a:lnTo>
                        <a:lnTo>
                          <a:pt x="199836" y="295774"/>
                        </a:lnTo>
                        <a:lnTo>
                          <a:pt x="196868" y="496421"/>
                        </a:lnTo>
                        <a:lnTo>
                          <a:pt x="235054" y="712989"/>
                        </a:lnTo>
                        <a:lnTo>
                          <a:pt x="167452" y="721490"/>
                        </a:lnTo>
                        <a:lnTo>
                          <a:pt x="113209" y="528805"/>
                        </a:lnTo>
                        <a:lnTo>
                          <a:pt x="94588" y="381457"/>
                        </a:lnTo>
                        <a:lnTo>
                          <a:pt x="89191" y="377409"/>
                        </a:lnTo>
                        <a:lnTo>
                          <a:pt x="76237" y="522058"/>
                        </a:lnTo>
                        <a:lnTo>
                          <a:pt x="88651" y="703409"/>
                        </a:lnTo>
                        <a:lnTo>
                          <a:pt x="14977" y="706242"/>
                        </a:lnTo>
                        <a:lnTo>
                          <a:pt x="0" y="522598"/>
                        </a:lnTo>
                        <a:lnTo>
                          <a:pt x="0" y="330992"/>
                        </a:lnTo>
                        <a:lnTo>
                          <a:pt x="0" y="320332"/>
                        </a:lnTo>
                        <a:lnTo>
                          <a:pt x="3104" y="255834"/>
                        </a:lnTo>
                        <a:lnTo>
                          <a:pt x="57752" y="225609"/>
                        </a:lnTo>
                        <a:close/>
                      </a:path>
                    </a:pathLst>
                  </a:custGeom>
                  <a:solidFill>
                    <a:srgbClr val="002B69"/>
                  </a:solidFill>
                  <a:ln w="1349" cap="flat">
                    <a:noFill/>
                    <a:prstDash val="solid"/>
                    <a:miter/>
                  </a:ln>
                </p:spPr>
                <p:txBody>
                  <a:bodyPr rtlCol="0" anchor="ctr"/>
                  <a:lstStyle/>
                  <a:p>
                    <a:endParaRPr lang="en-IN">
                      <a:latin typeface="+mn-lt"/>
                    </a:endParaRPr>
                  </a:p>
                </p:txBody>
              </p:sp>
              <p:sp>
                <p:nvSpPr>
                  <p:cNvPr id="254" name="Freeform: Shape 119">
                    <a:extLst>
                      <a:ext uri="{FF2B5EF4-FFF2-40B4-BE49-F238E27FC236}">
                        <a16:creationId xmlns:a16="http://schemas.microsoft.com/office/drawing/2014/main" id="{739387E1-C265-AC4E-A557-93899C112BA8}"/>
                      </a:ext>
                    </a:extLst>
                  </p:cNvPr>
                  <p:cNvSpPr/>
                  <p:nvPr/>
                </p:nvSpPr>
                <p:spPr>
                  <a:xfrm>
                    <a:off x="8818270" y="2749129"/>
                    <a:ext cx="48036" cy="89191"/>
                  </a:xfrm>
                  <a:custGeom>
                    <a:avLst/>
                    <a:gdLst>
                      <a:gd name="connsiteX0" fmla="*/ 41829 w 48036"/>
                      <a:gd name="connsiteY0" fmla="*/ 78261 h 89191"/>
                      <a:gd name="connsiteX1" fmla="*/ 48036 w 48036"/>
                      <a:gd name="connsiteY1" fmla="*/ 45338 h 89191"/>
                      <a:gd name="connsiteX2" fmla="*/ 47766 w 48036"/>
                      <a:gd name="connsiteY2" fmla="*/ 19970 h 89191"/>
                      <a:gd name="connsiteX3" fmla="*/ 30090 w 48036"/>
                      <a:gd name="connsiteY3" fmla="*/ 0 h 89191"/>
                      <a:gd name="connsiteX4" fmla="*/ 0 w 48036"/>
                      <a:gd name="connsiteY4" fmla="*/ 26717 h 89191"/>
                      <a:gd name="connsiteX5" fmla="*/ 16192 w 48036"/>
                      <a:gd name="connsiteY5" fmla="*/ 55728 h 89191"/>
                      <a:gd name="connsiteX6" fmla="*/ 16462 w 48036"/>
                      <a:gd name="connsiteY6" fmla="*/ 89191 h 8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36" h="89191">
                        <a:moveTo>
                          <a:pt x="41829" y="78261"/>
                        </a:moveTo>
                        <a:lnTo>
                          <a:pt x="48036" y="45338"/>
                        </a:lnTo>
                        <a:lnTo>
                          <a:pt x="47766" y="19970"/>
                        </a:lnTo>
                        <a:lnTo>
                          <a:pt x="30090" y="0"/>
                        </a:lnTo>
                        <a:lnTo>
                          <a:pt x="0" y="26717"/>
                        </a:lnTo>
                        <a:lnTo>
                          <a:pt x="16192" y="55728"/>
                        </a:lnTo>
                        <a:lnTo>
                          <a:pt x="16462" y="89191"/>
                        </a:lnTo>
                        <a:close/>
                      </a:path>
                    </a:pathLst>
                  </a:custGeom>
                  <a:solidFill>
                    <a:srgbClr val="FFAB84"/>
                  </a:solidFill>
                  <a:ln w="1349" cap="flat">
                    <a:noFill/>
                    <a:prstDash val="solid"/>
                    <a:miter/>
                  </a:ln>
                </p:spPr>
                <p:txBody>
                  <a:bodyPr rtlCol="0" anchor="ctr"/>
                  <a:lstStyle/>
                  <a:p>
                    <a:endParaRPr lang="en-IN">
                      <a:latin typeface="+mn-lt"/>
                    </a:endParaRPr>
                  </a:p>
                </p:txBody>
              </p:sp>
              <p:sp>
                <p:nvSpPr>
                  <p:cNvPr id="255" name="Freeform: Shape 120">
                    <a:extLst>
                      <a:ext uri="{FF2B5EF4-FFF2-40B4-BE49-F238E27FC236}">
                        <a16:creationId xmlns:a16="http://schemas.microsoft.com/office/drawing/2014/main" id="{FBE3B284-C1E0-EF47-808A-448BDBEF466F}"/>
                      </a:ext>
                    </a:extLst>
                  </p:cNvPr>
                  <p:cNvSpPr/>
                  <p:nvPr/>
                </p:nvSpPr>
                <p:spPr>
                  <a:xfrm>
                    <a:off x="8830144" y="2815517"/>
                    <a:ext cx="30360" cy="11874"/>
                  </a:xfrm>
                  <a:custGeom>
                    <a:avLst/>
                    <a:gdLst>
                      <a:gd name="connsiteX0" fmla="*/ 0 w 30360"/>
                      <a:gd name="connsiteY0" fmla="*/ 7151 h 11874"/>
                      <a:gd name="connsiteX1" fmla="*/ 945 w 30360"/>
                      <a:gd name="connsiteY1" fmla="*/ 0 h 11874"/>
                      <a:gd name="connsiteX2" fmla="*/ 30360 w 30360"/>
                      <a:gd name="connsiteY2" fmla="*/ 3238 h 11874"/>
                      <a:gd name="connsiteX3" fmla="*/ 29956 w 30360"/>
                      <a:gd name="connsiteY3" fmla="*/ 11874 h 11874"/>
                    </a:gdLst>
                    <a:ahLst/>
                    <a:cxnLst>
                      <a:cxn ang="0">
                        <a:pos x="connsiteX0" y="connsiteY0"/>
                      </a:cxn>
                      <a:cxn ang="0">
                        <a:pos x="connsiteX1" y="connsiteY1"/>
                      </a:cxn>
                      <a:cxn ang="0">
                        <a:pos x="connsiteX2" y="connsiteY2"/>
                      </a:cxn>
                      <a:cxn ang="0">
                        <a:pos x="connsiteX3" y="connsiteY3"/>
                      </a:cxn>
                    </a:cxnLst>
                    <a:rect l="l" t="t" r="r" b="b"/>
                    <a:pathLst>
                      <a:path w="30360" h="11874">
                        <a:moveTo>
                          <a:pt x="0" y="7151"/>
                        </a:moveTo>
                        <a:lnTo>
                          <a:pt x="945" y="0"/>
                        </a:lnTo>
                        <a:lnTo>
                          <a:pt x="30360" y="3238"/>
                        </a:lnTo>
                        <a:lnTo>
                          <a:pt x="29956" y="11874"/>
                        </a:lnTo>
                        <a:close/>
                      </a:path>
                    </a:pathLst>
                  </a:custGeom>
                  <a:solidFill>
                    <a:srgbClr val="FFFFFF"/>
                  </a:solidFill>
                  <a:ln w="1349" cap="flat">
                    <a:noFill/>
                    <a:prstDash val="solid"/>
                    <a:miter/>
                  </a:ln>
                </p:spPr>
                <p:txBody>
                  <a:bodyPr rtlCol="0" anchor="ctr"/>
                  <a:lstStyle/>
                  <a:p>
                    <a:endParaRPr lang="en-IN">
                      <a:latin typeface="+mn-lt"/>
                    </a:endParaRPr>
                  </a:p>
                </p:txBody>
              </p:sp>
              <p:sp>
                <p:nvSpPr>
                  <p:cNvPr id="256" name="Freeform: Shape 121">
                    <a:extLst>
                      <a:ext uri="{FF2B5EF4-FFF2-40B4-BE49-F238E27FC236}">
                        <a16:creationId xmlns:a16="http://schemas.microsoft.com/office/drawing/2014/main" id="{66A590DB-F657-2D42-A72C-B89366F2D1F1}"/>
                      </a:ext>
                    </a:extLst>
                  </p:cNvPr>
                  <p:cNvSpPr/>
                  <p:nvPr/>
                </p:nvSpPr>
                <p:spPr>
                  <a:xfrm>
                    <a:off x="8805721" y="2822533"/>
                    <a:ext cx="167992" cy="199971"/>
                  </a:xfrm>
                  <a:custGeom>
                    <a:avLst/>
                    <a:gdLst>
                      <a:gd name="connsiteX0" fmla="*/ 154904 w 167992"/>
                      <a:gd name="connsiteY0" fmla="*/ 199972 h 199971"/>
                      <a:gd name="connsiteX1" fmla="*/ 167992 w 167992"/>
                      <a:gd name="connsiteY1" fmla="*/ 110646 h 199971"/>
                      <a:gd name="connsiteX2" fmla="*/ 60855 w 167992"/>
                      <a:gd name="connsiteY2" fmla="*/ 115233 h 199971"/>
                      <a:gd name="connsiteX3" fmla="*/ 58021 w 167992"/>
                      <a:gd name="connsiteY3" fmla="*/ 5262 h 199971"/>
                      <a:gd name="connsiteX4" fmla="*/ 19835 w 167992"/>
                      <a:gd name="connsiteY4" fmla="*/ 0 h 199971"/>
                      <a:gd name="connsiteX5" fmla="*/ 0 w 167992"/>
                      <a:gd name="connsiteY5" fmla="*/ 131830 h 199971"/>
                      <a:gd name="connsiteX6" fmla="*/ 17541 w 167992"/>
                      <a:gd name="connsiteY6" fmla="*/ 172310 h 19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992" h="199971">
                        <a:moveTo>
                          <a:pt x="154904" y="199972"/>
                        </a:moveTo>
                        <a:lnTo>
                          <a:pt x="167992" y="110646"/>
                        </a:lnTo>
                        <a:lnTo>
                          <a:pt x="60855" y="115233"/>
                        </a:lnTo>
                        <a:lnTo>
                          <a:pt x="58021" y="5262"/>
                        </a:lnTo>
                        <a:lnTo>
                          <a:pt x="19835" y="0"/>
                        </a:lnTo>
                        <a:lnTo>
                          <a:pt x="0" y="131830"/>
                        </a:lnTo>
                        <a:lnTo>
                          <a:pt x="17541" y="172310"/>
                        </a:lnTo>
                        <a:close/>
                      </a:path>
                    </a:pathLst>
                  </a:custGeom>
                  <a:solidFill>
                    <a:srgbClr val="00588F"/>
                  </a:solidFill>
                  <a:ln w="1349" cap="flat">
                    <a:noFill/>
                    <a:prstDash val="solid"/>
                    <a:miter/>
                  </a:ln>
                </p:spPr>
                <p:txBody>
                  <a:bodyPr rtlCol="0" anchor="ctr"/>
                  <a:lstStyle/>
                  <a:p>
                    <a:endParaRPr lang="en-IN">
                      <a:latin typeface="+mn-lt"/>
                    </a:endParaRPr>
                  </a:p>
                </p:txBody>
              </p:sp>
              <p:sp>
                <p:nvSpPr>
                  <p:cNvPr id="257" name="Freeform: Shape 122">
                    <a:extLst>
                      <a:ext uri="{FF2B5EF4-FFF2-40B4-BE49-F238E27FC236}">
                        <a16:creationId xmlns:a16="http://schemas.microsoft.com/office/drawing/2014/main" id="{CDF24369-63A0-D240-9368-443D229CBF6E}"/>
                      </a:ext>
                    </a:extLst>
                  </p:cNvPr>
                  <p:cNvSpPr/>
                  <p:nvPr/>
                </p:nvSpPr>
                <p:spPr>
                  <a:xfrm>
                    <a:off x="8884387" y="2893643"/>
                    <a:ext cx="254619" cy="370932"/>
                  </a:xfrm>
                  <a:custGeom>
                    <a:avLst/>
                    <a:gdLst>
                      <a:gd name="connsiteX0" fmla="*/ 118471 w 254619"/>
                      <a:gd name="connsiteY0" fmla="*/ 12009 h 370932"/>
                      <a:gd name="connsiteX1" fmla="*/ 165428 w 254619"/>
                      <a:gd name="connsiteY1" fmla="*/ 0 h 370932"/>
                      <a:gd name="connsiteX2" fmla="*/ 189716 w 254619"/>
                      <a:gd name="connsiteY2" fmla="*/ 5667 h 370932"/>
                      <a:gd name="connsiteX3" fmla="*/ 209012 w 254619"/>
                      <a:gd name="connsiteY3" fmla="*/ 14978 h 370932"/>
                      <a:gd name="connsiteX4" fmla="*/ 253270 w 254619"/>
                      <a:gd name="connsiteY4" fmla="*/ 49925 h 370932"/>
                      <a:gd name="connsiteX5" fmla="*/ 248682 w 254619"/>
                      <a:gd name="connsiteY5" fmla="*/ 109431 h 370932"/>
                      <a:gd name="connsiteX6" fmla="*/ 254620 w 254619"/>
                      <a:gd name="connsiteY6" fmla="*/ 133449 h 370932"/>
                      <a:gd name="connsiteX7" fmla="*/ 230332 w 254619"/>
                      <a:gd name="connsiteY7" fmla="*/ 221966 h 370932"/>
                      <a:gd name="connsiteX8" fmla="*/ 213735 w 254619"/>
                      <a:gd name="connsiteY8" fmla="*/ 323571 h 370932"/>
                      <a:gd name="connsiteX9" fmla="*/ 201860 w 254619"/>
                      <a:gd name="connsiteY9" fmla="*/ 370932 h 370932"/>
                      <a:gd name="connsiteX10" fmla="*/ 145323 w 254619"/>
                      <a:gd name="connsiteY10" fmla="*/ 367424 h 370932"/>
                      <a:gd name="connsiteX11" fmla="*/ 8771 w 254619"/>
                      <a:gd name="connsiteY11" fmla="*/ 331397 h 370932"/>
                      <a:gd name="connsiteX12" fmla="*/ 0 w 254619"/>
                      <a:gd name="connsiteY12" fmla="*/ 291187 h 370932"/>
                      <a:gd name="connsiteX13" fmla="*/ 18891 w 254619"/>
                      <a:gd name="connsiteY13" fmla="*/ 200511 h 370932"/>
                      <a:gd name="connsiteX14" fmla="*/ 72459 w 254619"/>
                      <a:gd name="connsiteY14" fmla="*/ 68141 h 370932"/>
                      <a:gd name="connsiteX15" fmla="*/ 79746 w 254619"/>
                      <a:gd name="connsiteY15" fmla="*/ 35622 h 37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4619" h="370932">
                        <a:moveTo>
                          <a:pt x="118471" y="12009"/>
                        </a:moveTo>
                        <a:lnTo>
                          <a:pt x="165428" y="0"/>
                        </a:lnTo>
                        <a:lnTo>
                          <a:pt x="189716" y="5667"/>
                        </a:lnTo>
                        <a:lnTo>
                          <a:pt x="209012" y="14978"/>
                        </a:lnTo>
                        <a:lnTo>
                          <a:pt x="253270" y="49925"/>
                        </a:lnTo>
                        <a:lnTo>
                          <a:pt x="248682" y="109431"/>
                        </a:lnTo>
                        <a:lnTo>
                          <a:pt x="254620" y="133449"/>
                        </a:lnTo>
                        <a:lnTo>
                          <a:pt x="230332" y="221966"/>
                        </a:lnTo>
                        <a:lnTo>
                          <a:pt x="213735" y="323571"/>
                        </a:lnTo>
                        <a:lnTo>
                          <a:pt x="201860" y="370932"/>
                        </a:lnTo>
                        <a:lnTo>
                          <a:pt x="145323" y="367424"/>
                        </a:lnTo>
                        <a:lnTo>
                          <a:pt x="8771" y="331397"/>
                        </a:lnTo>
                        <a:lnTo>
                          <a:pt x="0" y="291187"/>
                        </a:lnTo>
                        <a:lnTo>
                          <a:pt x="18891" y="200511"/>
                        </a:lnTo>
                        <a:lnTo>
                          <a:pt x="72459" y="68141"/>
                        </a:lnTo>
                        <a:lnTo>
                          <a:pt x="79746" y="35622"/>
                        </a:lnTo>
                        <a:close/>
                      </a:path>
                    </a:pathLst>
                  </a:custGeom>
                  <a:solidFill>
                    <a:srgbClr val="187FBA"/>
                  </a:solidFill>
                  <a:ln w="1349" cap="flat">
                    <a:noFill/>
                    <a:prstDash val="solid"/>
                    <a:miter/>
                  </a:ln>
                </p:spPr>
                <p:txBody>
                  <a:bodyPr rtlCol="0" anchor="ctr"/>
                  <a:lstStyle/>
                  <a:p>
                    <a:endParaRPr lang="en-IN">
                      <a:latin typeface="+mn-lt"/>
                    </a:endParaRPr>
                  </a:p>
                </p:txBody>
              </p:sp>
              <p:sp>
                <p:nvSpPr>
                  <p:cNvPr id="258" name="Freeform: Shape 123">
                    <a:extLst>
                      <a:ext uri="{FF2B5EF4-FFF2-40B4-BE49-F238E27FC236}">
                        <a16:creationId xmlns:a16="http://schemas.microsoft.com/office/drawing/2014/main" id="{66F5A5B1-FC9D-2B49-A84C-6F6D0405828B}"/>
                      </a:ext>
                    </a:extLst>
                  </p:cNvPr>
                  <p:cNvSpPr/>
                  <p:nvPr/>
                </p:nvSpPr>
                <p:spPr>
                  <a:xfrm>
                    <a:off x="8994223" y="2917526"/>
                    <a:ext cx="58965" cy="64633"/>
                  </a:xfrm>
                  <a:custGeom>
                    <a:avLst/>
                    <a:gdLst>
                      <a:gd name="connsiteX0" fmla="*/ 17946 w 58965"/>
                      <a:gd name="connsiteY0" fmla="*/ 0 h 64633"/>
                      <a:gd name="connsiteX1" fmla="*/ 0 w 58965"/>
                      <a:gd name="connsiteY1" fmla="*/ 14438 h 64633"/>
                      <a:gd name="connsiteX2" fmla="*/ 5532 w 58965"/>
                      <a:gd name="connsiteY2" fmla="*/ 64633 h 64633"/>
                      <a:gd name="connsiteX3" fmla="*/ 58966 w 58965"/>
                      <a:gd name="connsiteY3" fmla="*/ 16867 h 64633"/>
                    </a:gdLst>
                    <a:ahLst/>
                    <a:cxnLst>
                      <a:cxn ang="0">
                        <a:pos x="connsiteX0" y="connsiteY0"/>
                      </a:cxn>
                      <a:cxn ang="0">
                        <a:pos x="connsiteX1" y="connsiteY1"/>
                      </a:cxn>
                      <a:cxn ang="0">
                        <a:pos x="connsiteX2" y="connsiteY2"/>
                      </a:cxn>
                      <a:cxn ang="0">
                        <a:pos x="connsiteX3" y="connsiteY3"/>
                      </a:cxn>
                    </a:cxnLst>
                    <a:rect l="l" t="t" r="r" b="b"/>
                    <a:pathLst>
                      <a:path w="58965" h="64633">
                        <a:moveTo>
                          <a:pt x="17946" y="0"/>
                        </a:moveTo>
                        <a:lnTo>
                          <a:pt x="0" y="14438"/>
                        </a:lnTo>
                        <a:lnTo>
                          <a:pt x="5532" y="64633"/>
                        </a:lnTo>
                        <a:lnTo>
                          <a:pt x="58966" y="16867"/>
                        </a:lnTo>
                        <a:close/>
                      </a:path>
                    </a:pathLst>
                  </a:custGeom>
                  <a:solidFill>
                    <a:srgbClr val="A7B1BD"/>
                  </a:solidFill>
                  <a:ln w="1349" cap="flat">
                    <a:noFill/>
                    <a:prstDash val="solid"/>
                    <a:miter/>
                  </a:ln>
                </p:spPr>
                <p:txBody>
                  <a:bodyPr rtlCol="0" anchor="ctr"/>
                  <a:lstStyle/>
                  <a:p>
                    <a:endParaRPr lang="en-IN">
                      <a:latin typeface="+mn-lt"/>
                    </a:endParaRPr>
                  </a:p>
                </p:txBody>
              </p:sp>
              <p:sp>
                <p:nvSpPr>
                  <p:cNvPr id="259" name="Freeform: Shape 124">
                    <a:extLst>
                      <a:ext uri="{FF2B5EF4-FFF2-40B4-BE49-F238E27FC236}">
                        <a16:creationId xmlns:a16="http://schemas.microsoft.com/office/drawing/2014/main" id="{670D557A-4320-BF4B-9C5E-35924FD346F5}"/>
                      </a:ext>
                    </a:extLst>
                  </p:cNvPr>
                  <p:cNvSpPr/>
                  <p:nvPr/>
                </p:nvSpPr>
                <p:spPr>
                  <a:xfrm>
                    <a:off x="9118092" y="3213166"/>
                    <a:ext cx="51949" cy="51409"/>
                  </a:xfrm>
                  <a:custGeom>
                    <a:avLst/>
                    <a:gdLst>
                      <a:gd name="connsiteX0" fmla="*/ 33329 w 51949"/>
                      <a:gd name="connsiteY0" fmla="*/ 0 h 51409"/>
                      <a:gd name="connsiteX1" fmla="*/ 23883 w 51949"/>
                      <a:gd name="connsiteY1" fmla="*/ 1754 h 51409"/>
                      <a:gd name="connsiteX2" fmla="*/ 4318 w 51949"/>
                      <a:gd name="connsiteY2" fmla="*/ 17272 h 51409"/>
                      <a:gd name="connsiteX3" fmla="*/ 0 w 51949"/>
                      <a:gd name="connsiteY3" fmla="*/ 43584 h 51409"/>
                      <a:gd name="connsiteX4" fmla="*/ 39670 w 51949"/>
                      <a:gd name="connsiteY4" fmla="*/ 51410 h 51409"/>
                      <a:gd name="connsiteX5" fmla="*/ 51949 w 51949"/>
                      <a:gd name="connsiteY5" fmla="*/ 21185 h 51409"/>
                      <a:gd name="connsiteX6" fmla="*/ 51949 w 51949"/>
                      <a:gd name="connsiteY6" fmla="*/ 5667 h 51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949" h="51409">
                        <a:moveTo>
                          <a:pt x="33329" y="0"/>
                        </a:moveTo>
                        <a:lnTo>
                          <a:pt x="23883" y="1754"/>
                        </a:lnTo>
                        <a:lnTo>
                          <a:pt x="4318" y="17272"/>
                        </a:lnTo>
                        <a:lnTo>
                          <a:pt x="0" y="43584"/>
                        </a:lnTo>
                        <a:lnTo>
                          <a:pt x="39670" y="51410"/>
                        </a:lnTo>
                        <a:lnTo>
                          <a:pt x="51949" y="21185"/>
                        </a:lnTo>
                        <a:lnTo>
                          <a:pt x="51949" y="5667"/>
                        </a:lnTo>
                        <a:close/>
                      </a:path>
                    </a:pathLst>
                  </a:custGeom>
                  <a:solidFill>
                    <a:srgbClr val="FFAB84"/>
                  </a:solidFill>
                  <a:ln w="1349" cap="flat">
                    <a:noFill/>
                    <a:prstDash val="solid"/>
                    <a:miter/>
                  </a:ln>
                </p:spPr>
                <p:txBody>
                  <a:bodyPr rtlCol="0" anchor="ctr"/>
                  <a:lstStyle/>
                  <a:p>
                    <a:endParaRPr lang="en-IN">
                      <a:latin typeface="+mn-lt"/>
                    </a:endParaRPr>
                  </a:p>
                </p:txBody>
              </p:sp>
              <p:sp>
                <p:nvSpPr>
                  <p:cNvPr id="260" name="Freeform: Shape 125">
                    <a:extLst>
                      <a:ext uri="{FF2B5EF4-FFF2-40B4-BE49-F238E27FC236}">
                        <a16:creationId xmlns:a16="http://schemas.microsoft.com/office/drawing/2014/main" id="{E895BB9C-56A1-5345-B739-78DB02276513}"/>
                      </a:ext>
                    </a:extLst>
                  </p:cNvPr>
                  <p:cNvSpPr/>
                  <p:nvPr/>
                </p:nvSpPr>
                <p:spPr>
                  <a:xfrm>
                    <a:off x="9135229" y="3203721"/>
                    <a:ext cx="46012" cy="26446"/>
                  </a:xfrm>
                  <a:custGeom>
                    <a:avLst/>
                    <a:gdLst>
                      <a:gd name="connsiteX0" fmla="*/ 46012 w 46012"/>
                      <a:gd name="connsiteY0" fmla="*/ 4993 h 26446"/>
                      <a:gd name="connsiteX1" fmla="*/ 39131 w 46012"/>
                      <a:gd name="connsiteY1" fmla="*/ 26447 h 26446"/>
                      <a:gd name="connsiteX2" fmla="*/ 0 w 46012"/>
                      <a:gd name="connsiteY2" fmla="*/ 9445 h 26446"/>
                      <a:gd name="connsiteX3" fmla="*/ 1754 w 46012"/>
                      <a:gd name="connsiteY3" fmla="*/ 0 h 26446"/>
                    </a:gdLst>
                    <a:ahLst/>
                    <a:cxnLst>
                      <a:cxn ang="0">
                        <a:pos x="connsiteX0" y="connsiteY0"/>
                      </a:cxn>
                      <a:cxn ang="0">
                        <a:pos x="connsiteX1" y="connsiteY1"/>
                      </a:cxn>
                      <a:cxn ang="0">
                        <a:pos x="connsiteX2" y="connsiteY2"/>
                      </a:cxn>
                      <a:cxn ang="0">
                        <a:pos x="connsiteX3" y="connsiteY3"/>
                      </a:cxn>
                    </a:cxnLst>
                    <a:rect l="l" t="t" r="r" b="b"/>
                    <a:pathLst>
                      <a:path w="46012" h="26446">
                        <a:moveTo>
                          <a:pt x="46012" y="4993"/>
                        </a:moveTo>
                        <a:lnTo>
                          <a:pt x="39131" y="26447"/>
                        </a:lnTo>
                        <a:lnTo>
                          <a:pt x="0" y="9445"/>
                        </a:lnTo>
                        <a:lnTo>
                          <a:pt x="1754" y="0"/>
                        </a:lnTo>
                        <a:close/>
                      </a:path>
                    </a:pathLst>
                  </a:custGeom>
                  <a:solidFill>
                    <a:srgbClr val="FFFFFF"/>
                  </a:solidFill>
                  <a:ln w="1349" cap="flat">
                    <a:noFill/>
                    <a:prstDash val="solid"/>
                    <a:miter/>
                  </a:ln>
                </p:spPr>
                <p:txBody>
                  <a:bodyPr rtlCol="0" anchor="ctr"/>
                  <a:lstStyle/>
                  <a:p>
                    <a:endParaRPr lang="en-IN">
                      <a:latin typeface="+mn-lt"/>
                    </a:endParaRPr>
                  </a:p>
                </p:txBody>
              </p:sp>
              <p:sp>
                <p:nvSpPr>
                  <p:cNvPr id="261" name="Freeform: Shape 126">
                    <a:extLst>
                      <a:ext uri="{FF2B5EF4-FFF2-40B4-BE49-F238E27FC236}">
                        <a16:creationId xmlns:a16="http://schemas.microsoft.com/office/drawing/2014/main" id="{9871956F-303E-0E49-8E9E-B3D59D35031F}"/>
                      </a:ext>
                    </a:extLst>
                  </p:cNvPr>
                  <p:cNvSpPr/>
                  <p:nvPr/>
                </p:nvSpPr>
                <p:spPr>
                  <a:xfrm>
                    <a:off x="8986937" y="2855592"/>
                    <a:ext cx="91080" cy="82444"/>
                  </a:xfrm>
                  <a:custGeom>
                    <a:avLst/>
                    <a:gdLst>
                      <a:gd name="connsiteX0" fmla="*/ 91080 w 91080"/>
                      <a:gd name="connsiteY0" fmla="*/ 51410 h 82444"/>
                      <a:gd name="connsiteX1" fmla="*/ 66252 w 91080"/>
                      <a:gd name="connsiteY1" fmla="*/ 78801 h 82444"/>
                      <a:gd name="connsiteX2" fmla="*/ 42639 w 91080"/>
                      <a:gd name="connsiteY2" fmla="*/ 82444 h 82444"/>
                      <a:gd name="connsiteX3" fmla="*/ 18216 w 91080"/>
                      <a:gd name="connsiteY3" fmla="*/ 78396 h 82444"/>
                      <a:gd name="connsiteX4" fmla="*/ 3103 w 91080"/>
                      <a:gd name="connsiteY4" fmla="*/ 74348 h 82444"/>
                      <a:gd name="connsiteX5" fmla="*/ 0 w 91080"/>
                      <a:gd name="connsiteY5" fmla="*/ 59776 h 82444"/>
                      <a:gd name="connsiteX6" fmla="*/ 9175 w 91080"/>
                      <a:gd name="connsiteY6" fmla="*/ 44123 h 82444"/>
                      <a:gd name="connsiteX7" fmla="*/ 19700 w 91080"/>
                      <a:gd name="connsiteY7" fmla="*/ 34948 h 82444"/>
                      <a:gd name="connsiteX8" fmla="*/ 28876 w 91080"/>
                      <a:gd name="connsiteY8" fmla="*/ 0 h 82444"/>
                      <a:gd name="connsiteX9" fmla="*/ 74618 w 91080"/>
                      <a:gd name="connsiteY9" fmla="*/ 3238 h 82444"/>
                      <a:gd name="connsiteX10" fmla="*/ 80285 w 91080"/>
                      <a:gd name="connsiteY10" fmla="*/ 31305 h 8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080" h="82444">
                        <a:moveTo>
                          <a:pt x="91080" y="51410"/>
                        </a:moveTo>
                        <a:lnTo>
                          <a:pt x="66252" y="78801"/>
                        </a:lnTo>
                        <a:lnTo>
                          <a:pt x="42639" y="82444"/>
                        </a:lnTo>
                        <a:lnTo>
                          <a:pt x="18216" y="78396"/>
                        </a:lnTo>
                        <a:lnTo>
                          <a:pt x="3103" y="74348"/>
                        </a:lnTo>
                        <a:lnTo>
                          <a:pt x="0" y="59776"/>
                        </a:lnTo>
                        <a:lnTo>
                          <a:pt x="9175" y="44123"/>
                        </a:lnTo>
                        <a:lnTo>
                          <a:pt x="19700" y="34948"/>
                        </a:lnTo>
                        <a:lnTo>
                          <a:pt x="28876" y="0"/>
                        </a:lnTo>
                        <a:lnTo>
                          <a:pt x="74618" y="3238"/>
                        </a:lnTo>
                        <a:lnTo>
                          <a:pt x="80285" y="31305"/>
                        </a:lnTo>
                        <a:close/>
                      </a:path>
                    </a:pathLst>
                  </a:custGeom>
                  <a:solidFill>
                    <a:srgbClr val="E38476"/>
                  </a:solidFill>
                  <a:ln w="1349" cap="flat">
                    <a:noFill/>
                    <a:prstDash val="solid"/>
                    <a:miter/>
                  </a:ln>
                </p:spPr>
                <p:txBody>
                  <a:bodyPr rtlCol="0" anchor="ctr"/>
                  <a:lstStyle/>
                  <a:p>
                    <a:endParaRPr lang="en-IN">
                      <a:latin typeface="+mn-lt"/>
                    </a:endParaRPr>
                  </a:p>
                </p:txBody>
              </p:sp>
              <p:sp>
                <p:nvSpPr>
                  <p:cNvPr id="262" name="Freeform: Shape 127">
                    <a:extLst>
                      <a:ext uri="{FF2B5EF4-FFF2-40B4-BE49-F238E27FC236}">
                        <a16:creationId xmlns:a16="http://schemas.microsoft.com/office/drawing/2014/main" id="{C8159667-FCC1-1B4B-8CDC-9753CE292054}"/>
                      </a:ext>
                    </a:extLst>
                  </p:cNvPr>
                  <p:cNvSpPr/>
                  <p:nvPr/>
                </p:nvSpPr>
                <p:spPr>
                  <a:xfrm>
                    <a:off x="9084224" y="2943569"/>
                    <a:ext cx="125623" cy="275804"/>
                  </a:xfrm>
                  <a:custGeom>
                    <a:avLst/>
                    <a:gdLst>
                      <a:gd name="connsiteX0" fmla="*/ 53434 w 125623"/>
                      <a:gd name="connsiteY0" fmla="*/ 0 h 275804"/>
                      <a:gd name="connsiteX1" fmla="*/ 57752 w 125623"/>
                      <a:gd name="connsiteY1" fmla="*/ 4048 h 275804"/>
                      <a:gd name="connsiteX2" fmla="*/ 121575 w 125623"/>
                      <a:gd name="connsiteY2" fmla="*/ 127917 h 275804"/>
                      <a:gd name="connsiteX3" fmla="*/ 125623 w 125623"/>
                      <a:gd name="connsiteY3" fmla="*/ 146943 h 275804"/>
                      <a:gd name="connsiteX4" fmla="*/ 97287 w 125623"/>
                      <a:gd name="connsiteY4" fmla="*/ 275804 h 275804"/>
                      <a:gd name="connsiteX5" fmla="*/ 52085 w 125623"/>
                      <a:gd name="connsiteY5" fmla="*/ 258668 h 275804"/>
                      <a:gd name="connsiteX6" fmla="*/ 51815 w 125623"/>
                      <a:gd name="connsiteY6" fmla="*/ 163135 h 275804"/>
                      <a:gd name="connsiteX7" fmla="*/ 0 w 125623"/>
                      <a:gd name="connsiteY7" fmla="*/ 65173 h 275804"/>
                      <a:gd name="connsiteX8" fmla="*/ 18081 w 125623"/>
                      <a:gd name="connsiteY8" fmla="*/ 16732 h 275804"/>
                      <a:gd name="connsiteX9" fmla="*/ 29281 w 125623"/>
                      <a:gd name="connsiteY9" fmla="*/ 270 h 275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623" h="275804">
                        <a:moveTo>
                          <a:pt x="53434" y="0"/>
                        </a:moveTo>
                        <a:lnTo>
                          <a:pt x="57752" y="4048"/>
                        </a:lnTo>
                        <a:lnTo>
                          <a:pt x="121575" y="127917"/>
                        </a:lnTo>
                        <a:lnTo>
                          <a:pt x="125623" y="146943"/>
                        </a:lnTo>
                        <a:lnTo>
                          <a:pt x="97287" y="275804"/>
                        </a:lnTo>
                        <a:lnTo>
                          <a:pt x="52085" y="258668"/>
                        </a:lnTo>
                        <a:lnTo>
                          <a:pt x="51815" y="163135"/>
                        </a:lnTo>
                        <a:lnTo>
                          <a:pt x="0" y="65173"/>
                        </a:lnTo>
                        <a:lnTo>
                          <a:pt x="18081" y="16732"/>
                        </a:lnTo>
                        <a:lnTo>
                          <a:pt x="29281" y="270"/>
                        </a:lnTo>
                        <a:close/>
                      </a:path>
                    </a:pathLst>
                  </a:custGeom>
                  <a:solidFill>
                    <a:srgbClr val="2994CA"/>
                  </a:solidFill>
                  <a:ln w="1349" cap="flat">
                    <a:noFill/>
                    <a:prstDash val="solid"/>
                    <a:miter/>
                  </a:ln>
                </p:spPr>
                <p:txBody>
                  <a:bodyPr rtlCol="0" anchor="ctr"/>
                  <a:lstStyle/>
                  <a:p>
                    <a:endParaRPr lang="en-IN">
                      <a:latin typeface="+mn-lt"/>
                    </a:endParaRPr>
                  </a:p>
                </p:txBody>
              </p:sp>
              <p:sp>
                <p:nvSpPr>
                  <p:cNvPr id="263" name="Freeform: Shape 128">
                    <a:extLst>
                      <a:ext uri="{FF2B5EF4-FFF2-40B4-BE49-F238E27FC236}">
                        <a16:creationId xmlns:a16="http://schemas.microsoft.com/office/drawing/2014/main" id="{C016552B-3C83-7346-9EC5-871D7FC14723}"/>
                      </a:ext>
                    </a:extLst>
                  </p:cNvPr>
                  <p:cNvSpPr/>
                  <p:nvPr/>
                </p:nvSpPr>
                <p:spPr>
                  <a:xfrm>
                    <a:off x="9050356" y="3634968"/>
                    <a:ext cx="65982" cy="66252"/>
                  </a:xfrm>
                  <a:custGeom>
                    <a:avLst/>
                    <a:gdLst>
                      <a:gd name="connsiteX0" fmla="*/ 46282 w 65982"/>
                      <a:gd name="connsiteY0" fmla="*/ 0 h 66252"/>
                      <a:gd name="connsiteX1" fmla="*/ 59910 w 65982"/>
                      <a:gd name="connsiteY1" fmla="*/ 28741 h 66252"/>
                      <a:gd name="connsiteX2" fmla="*/ 65982 w 65982"/>
                      <a:gd name="connsiteY2" fmla="*/ 65443 h 66252"/>
                      <a:gd name="connsiteX3" fmla="*/ 26717 w 65982"/>
                      <a:gd name="connsiteY3" fmla="*/ 65443 h 66252"/>
                      <a:gd name="connsiteX4" fmla="*/ 5937 w 65982"/>
                      <a:gd name="connsiteY4" fmla="*/ 66253 h 66252"/>
                      <a:gd name="connsiteX5" fmla="*/ 0 w 65982"/>
                      <a:gd name="connsiteY5" fmla="*/ 62609 h 66252"/>
                      <a:gd name="connsiteX6" fmla="*/ 2564 w 65982"/>
                      <a:gd name="connsiteY6" fmla="*/ 31709 h 66252"/>
                      <a:gd name="connsiteX7" fmla="*/ 20645 w 65982"/>
                      <a:gd name="connsiteY7" fmla="*/ 1080 h 66252"/>
                      <a:gd name="connsiteX8" fmla="*/ 46282 w 65982"/>
                      <a:gd name="connsiteY8" fmla="*/ 0 h 66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982" h="66252">
                        <a:moveTo>
                          <a:pt x="46282" y="0"/>
                        </a:moveTo>
                        <a:cubicBezTo>
                          <a:pt x="49116" y="2969"/>
                          <a:pt x="59910" y="28741"/>
                          <a:pt x="59910" y="28741"/>
                        </a:cubicBezTo>
                        <a:lnTo>
                          <a:pt x="65982" y="65443"/>
                        </a:lnTo>
                        <a:lnTo>
                          <a:pt x="26717" y="65443"/>
                        </a:lnTo>
                        <a:lnTo>
                          <a:pt x="5937" y="66253"/>
                        </a:lnTo>
                        <a:lnTo>
                          <a:pt x="0" y="62609"/>
                        </a:lnTo>
                        <a:cubicBezTo>
                          <a:pt x="0" y="62609"/>
                          <a:pt x="944" y="32519"/>
                          <a:pt x="2564" y="31709"/>
                        </a:cubicBezTo>
                        <a:cubicBezTo>
                          <a:pt x="4318" y="30900"/>
                          <a:pt x="20645" y="1080"/>
                          <a:pt x="20645" y="1080"/>
                        </a:cubicBezTo>
                        <a:lnTo>
                          <a:pt x="46282" y="0"/>
                        </a:lnTo>
                        <a:close/>
                      </a:path>
                    </a:pathLst>
                  </a:custGeom>
                  <a:solidFill>
                    <a:srgbClr val="002B69"/>
                  </a:solidFill>
                  <a:ln w="1349" cap="flat">
                    <a:noFill/>
                    <a:prstDash val="solid"/>
                    <a:miter/>
                  </a:ln>
                </p:spPr>
                <p:txBody>
                  <a:bodyPr rtlCol="0" anchor="ctr"/>
                  <a:lstStyle/>
                  <a:p>
                    <a:endParaRPr lang="en-IN">
                      <a:latin typeface="+mn-lt"/>
                    </a:endParaRPr>
                  </a:p>
                </p:txBody>
              </p:sp>
              <p:sp>
                <p:nvSpPr>
                  <p:cNvPr id="264" name="Freeform: Shape 129">
                    <a:extLst>
                      <a:ext uri="{FF2B5EF4-FFF2-40B4-BE49-F238E27FC236}">
                        <a16:creationId xmlns:a16="http://schemas.microsoft.com/office/drawing/2014/main" id="{ADDF82A9-03B2-7E48-9297-20062F55095E}"/>
                      </a:ext>
                    </a:extLst>
                  </p:cNvPr>
                  <p:cNvSpPr/>
                  <p:nvPr/>
                </p:nvSpPr>
                <p:spPr>
                  <a:xfrm>
                    <a:off x="8862393" y="3617157"/>
                    <a:ext cx="94048" cy="75697"/>
                  </a:xfrm>
                  <a:custGeom>
                    <a:avLst/>
                    <a:gdLst>
                      <a:gd name="connsiteX0" fmla="*/ 51814 w 94048"/>
                      <a:gd name="connsiteY0" fmla="*/ 4453 h 75697"/>
                      <a:gd name="connsiteX1" fmla="*/ 51814 w 94048"/>
                      <a:gd name="connsiteY1" fmla="*/ 4453 h 75697"/>
                      <a:gd name="connsiteX2" fmla="*/ 29685 w 94048"/>
                      <a:gd name="connsiteY2" fmla="*/ 36027 h 75697"/>
                      <a:gd name="connsiteX3" fmla="*/ 0 w 94048"/>
                      <a:gd name="connsiteY3" fmla="*/ 52219 h 75697"/>
                      <a:gd name="connsiteX4" fmla="*/ 7556 w 94048"/>
                      <a:gd name="connsiteY4" fmla="*/ 75698 h 75697"/>
                      <a:gd name="connsiteX5" fmla="*/ 88516 w 94048"/>
                      <a:gd name="connsiteY5" fmla="*/ 74753 h 75697"/>
                      <a:gd name="connsiteX6" fmla="*/ 94049 w 94048"/>
                      <a:gd name="connsiteY6" fmla="*/ 64498 h 75697"/>
                      <a:gd name="connsiteX7" fmla="*/ 91620 w 94048"/>
                      <a:gd name="connsiteY7" fmla="*/ 31170 h 75697"/>
                      <a:gd name="connsiteX8" fmla="*/ 82849 w 94048"/>
                      <a:gd name="connsiteY8" fmla="*/ 0 h 75697"/>
                      <a:gd name="connsiteX9" fmla="*/ 51814 w 94048"/>
                      <a:gd name="connsiteY9" fmla="*/ 4453 h 7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048" h="75697">
                        <a:moveTo>
                          <a:pt x="51814" y="4453"/>
                        </a:moveTo>
                        <a:cubicBezTo>
                          <a:pt x="49251" y="7556"/>
                          <a:pt x="51814" y="4453"/>
                          <a:pt x="51814" y="4453"/>
                        </a:cubicBezTo>
                        <a:lnTo>
                          <a:pt x="29685" y="36027"/>
                        </a:lnTo>
                        <a:lnTo>
                          <a:pt x="0" y="52219"/>
                        </a:lnTo>
                        <a:lnTo>
                          <a:pt x="7556" y="75698"/>
                        </a:lnTo>
                        <a:lnTo>
                          <a:pt x="88516" y="74753"/>
                        </a:lnTo>
                        <a:lnTo>
                          <a:pt x="94049" y="64498"/>
                        </a:lnTo>
                        <a:cubicBezTo>
                          <a:pt x="94049" y="64498"/>
                          <a:pt x="93374" y="31844"/>
                          <a:pt x="91620" y="31170"/>
                        </a:cubicBezTo>
                        <a:cubicBezTo>
                          <a:pt x="89866" y="30495"/>
                          <a:pt x="82849" y="0"/>
                          <a:pt x="82849" y="0"/>
                        </a:cubicBezTo>
                        <a:lnTo>
                          <a:pt x="51814" y="4453"/>
                        </a:lnTo>
                        <a:close/>
                      </a:path>
                    </a:pathLst>
                  </a:custGeom>
                  <a:solidFill>
                    <a:srgbClr val="002B69"/>
                  </a:solidFill>
                  <a:ln w="1349" cap="flat">
                    <a:noFill/>
                    <a:prstDash val="solid"/>
                    <a:miter/>
                  </a:ln>
                </p:spPr>
                <p:txBody>
                  <a:bodyPr rtlCol="0" anchor="ctr"/>
                  <a:lstStyle/>
                  <a:p>
                    <a:endParaRPr lang="en-IN">
                      <a:latin typeface="+mn-lt"/>
                    </a:endParaRPr>
                  </a:p>
                </p:txBody>
              </p:sp>
              <p:sp>
                <p:nvSpPr>
                  <p:cNvPr id="265" name="Freeform: Shape 130">
                    <a:extLst>
                      <a:ext uri="{FF2B5EF4-FFF2-40B4-BE49-F238E27FC236}">
                        <a16:creationId xmlns:a16="http://schemas.microsoft.com/office/drawing/2014/main" id="{CE4CA460-1947-324D-ADFF-0FACF9459908}"/>
                      </a:ext>
                    </a:extLst>
                  </p:cNvPr>
                  <p:cNvSpPr/>
                  <p:nvPr/>
                </p:nvSpPr>
                <p:spPr>
                  <a:xfrm>
                    <a:off x="8973263" y="2797166"/>
                    <a:ext cx="115759" cy="140735"/>
                  </a:xfrm>
                  <a:custGeom>
                    <a:avLst/>
                    <a:gdLst>
                      <a:gd name="connsiteX0" fmla="*/ 29866 w 115759"/>
                      <a:gd name="connsiteY0" fmla="*/ 0 h 140735"/>
                      <a:gd name="connsiteX1" fmla="*/ 79927 w 115759"/>
                      <a:gd name="connsiteY1" fmla="*/ 7421 h 140735"/>
                      <a:gd name="connsiteX2" fmla="*/ 110827 w 115759"/>
                      <a:gd name="connsiteY2" fmla="*/ 83254 h 140735"/>
                      <a:gd name="connsiteX3" fmla="*/ 81141 w 115759"/>
                      <a:gd name="connsiteY3" fmla="*/ 100795 h 140735"/>
                      <a:gd name="connsiteX4" fmla="*/ 71156 w 115759"/>
                      <a:gd name="connsiteY4" fmla="*/ 127242 h 140735"/>
                      <a:gd name="connsiteX5" fmla="*/ 46058 w 115759"/>
                      <a:gd name="connsiteY5" fmla="*/ 134259 h 140735"/>
                      <a:gd name="connsiteX6" fmla="*/ 28787 w 115759"/>
                      <a:gd name="connsiteY6" fmla="*/ 140736 h 140735"/>
                      <a:gd name="connsiteX7" fmla="*/ 8277 w 115759"/>
                      <a:gd name="connsiteY7" fmla="*/ 134124 h 140735"/>
                      <a:gd name="connsiteX8" fmla="*/ 5173 w 115759"/>
                      <a:gd name="connsiteY8" fmla="*/ 126972 h 140735"/>
                      <a:gd name="connsiteX9" fmla="*/ 316 w 115759"/>
                      <a:gd name="connsiteY9" fmla="*/ 110241 h 140735"/>
                      <a:gd name="connsiteX10" fmla="*/ 1395 w 115759"/>
                      <a:gd name="connsiteY10" fmla="*/ 65038 h 140735"/>
                      <a:gd name="connsiteX11" fmla="*/ 14889 w 115759"/>
                      <a:gd name="connsiteY11" fmla="*/ 17676 h 140735"/>
                      <a:gd name="connsiteX12" fmla="*/ 29866 w 115759"/>
                      <a:gd name="connsiteY12" fmla="*/ 0 h 140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759" h="140735">
                        <a:moveTo>
                          <a:pt x="29866" y="0"/>
                        </a:moveTo>
                        <a:cubicBezTo>
                          <a:pt x="29866" y="0"/>
                          <a:pt x="68592" y="4318"/>
                          <a:pt x="79927" y="7421"/>
                        </a:cubicBezTo>
                        <a:cubicBezTo>
                          <a:pt x="114470" y="16867"/>
                          <a:pt x="122296" y="39805"/>
                          <a:pt x="110827" y="83254"/>
                        </a:cubicBezTo>
                        <a:cubicBezTo>
                          <a:pt x="103810" y="109971"/>
                          <a:pt x="81141" y="100795"/>
                          <a:pt x="81141" y="100795"/>
                        </a:cubicBezTo>
                        <a:cubicBezTo>
                          <a:pt x="81141" y="100795"/>
                          <a:pt x="76014" y="122250"/>
                          <a:pt x="71156" y="127242"/>
                        </a:cubicBezTo>
                        <a:cubicBezTo>
                          <a:pt x="66973" y="131560"/>
                          <a:pt x="53075" y="131830"/>
                          <a:pt x="46058" y="134259"/>
                        </a:cubicBezTo>
                        <a:cubicBezTo>
                          <a:pt x="35668" y="137902"/>
                          <a:pt x="28787" y="140736"/>
                          <a:pt x="28787" y="140736"/>
                        </a:cubicBezTo>
                        <a:lnTo>
                          <a:pt x="8277" y="134124"/>
                        </a:lnTo>
                        <a:cubicBezTo>
                          <a:pt x="8277" y="134124"/>
                          <a:pt x="5443" y="130886"/>
                          <a:pt x="5173" y="126972"/>
                        </a:cubicBezTo>
                        <a:cubicBezTo>
                          <a:pt x="4769" y="120900"/>
                          <a:pt x="990" y="120226"/>
                          <a:pt x="316" y="110241"/>
                        </a:cubicBezTo>
                        <a:cubicBezTo>
                          <a:pt x="-764" y="93374"/>
                          <a:pt x="1260" y="66657"/>
                          <a:pt x="1395" y="65038"/>
                        </a:cubicBezTo>
                        <a:cubicBezTo>
                          <a:pt x="2610" y="51679"/>
                          <a:pt x="7737" y="30495"/>
                          <a:pt x="14889" y="17676"/>
                        </a:cubicBezTo>
                        <a:cubicBezTo>
                          <a:pt x="20421" y="7556"/>
                          <a:pt x="29866" y="0"/>
                          <a:pt x="29866" y="0"/>
                        </a:cubicBezTo>
                        <a:close/>
                      </a:path>
                    </a:pathLst>
                  </a:custGeom>
                  <a:solidFill>
                    <a:srgbClr val="FFAB84"/>
                  </a:solidFill>
                  <a:ln w="1349" cap="flat">
                    <a:noFill/>
                    <a:prstDash val="solid"/>
                    <a:miter/>
                  </a:ln>
                </p:spPr>
                <p:txBody>
                  <a:bodyPr rtlCol="0" anchor="ctr"/>
                  <a:lstStyle/>
                  <a:p>
                    <a:endParaRPr lang="en-IN">
                      <a:latin typeface="+mn-lt"/>
                    </a:endParaRPr>
                  </a:p>
                </p:txBody>
              </p:sp>
              <p:sp>
                <p:nvSpPr>
                  <p:cNvPr id="266" name="Freeform: Shape 131">
                    <a:extLst>
                      <a:ext uri="{FF2B5EF4-FFF2-40B4-BE49-F238E27FC236}">
                        <a16:creationId xmlns:a16="http://schemas.microsoft.com/office/drawing/2014/main" id="{16EA2EC6-1CFE-8E44-B176-D6AB4E03935A}"/>
                      </a:ext>
                    </a:extLst>
                  </p:cNvPr>
                  <p:cNvSpPr/>
                  <p:nvPr/>
                </p:nvSpPr>
                <p:spPr>
                  <a:xfrm>
                    <a:off x="8993684" y="2780299"/>
                    <a:ext cx="100955" cy="125353"/>
                  </a:xfrm>
                  <a:custGeom>
                    <a:avLst/>
                    <a:gdLst>
                      <a:gd name="connsiteX0" fmla="*/ 22129 w 100955"/>
                      <a:gd name="connsiteY0" fmla="*/ 0 h 125353"/>
                      <a:gd name="connsiteX1" fmla="*/ 41425 w 100955"/>
                      <a:gd name="connsiteY1" fmla="*/ 10120 h 125353"/>
                      <a:gd name="connsiteX2" fmla="*/ 67467 w 100955"/>
                      <a:gd name="connsiteY2" fmla="*/ 12009 h 125353"/>
                      <a:gd name="connsiteX3" fmla="*/ 95128 w 100955"/>
                      <a:gd name="connsiteY3" fmla="*/ 99716 h 125353"/>
                      <a:gd name="connsiteX4" fmla="*/ 80555 w 100955"/>
                      <a:gd name="connsiteY4" fmla="*/ 119011 h 125353"/>
                      <a:gd name="connsiteX5" fmla="*/ 74348 w 100955"/>
                      <a:gd name="connsiteY5" fmla="*/ 125353 h 125353"/>
                      <a:gd name="connsiteX6" fmla="*/ 51679 w 100955"/>
                      <a:gd name="connsiteY6" fmla="*/ 112804 h 125353"/>
                      <a:gd name="connsiteX7" fmla="*/ 42504 w 100955"/>
                      <a:gd name="connsiteY7" fmla="*/ 103224 h 125353"/>
                      <a:gd name="connsiteX8" fmla="*/ 43853 w 100955"/>
                      <a:gd name="connsiteY8" fmla="*/ 82040 h 125353"/>
                      <a:gd name="connsiteX9" fmla="*/ 61934 w 100955"/>
                      <a:gd name="connsiteY9" fmla="*/ 61395 h 125353"/>
                      <a:gd name="connsiteX10" fmla="*/ 63014 w 100955"/>
                      <a:gd name="connsiteY10" fmla="*/ 46012 h 125353"/>
                      <a:gd name="connsiteX11" fmla="*/ 49116 w 100955"/>
                      <a:gd name="connsiteY11" fmla="*/ 39131 h 125353"/>
                      <a:gd name="connsiteX12" fmla="*/ 17271 w 100955"/>
                      <a:gd name="connsiteY12" fmla="*/ 37242 h 125353"/>
                      <a:gd name="connsiteX13" fmla="*/ 6072 w 100955"/>
                      <a:gd name="connsiteY13" fmla="*/ 27796 h 125353"/>
                      <a:gd name="connsiteX14" fmla="*/ 0 w 100955"/>
                      <a:gd name="connsiteY14" fmla="*/ 23613 h 125353"/>
                      <a:gd name="connsiteX15" fmla="*/ 8096 w 100955"/>
                      <a:gd name="connsiteY15" fmla="*/ 2699 h 125353"/>
                      <a:gd name="connsiteX16" fmla="*/ 13493 w 100955"/>
                      <a:gd name="connsiteY16" fmla="*/ 8501 h 125353"/>
                      <a:gd name="connsiteX17" fmla="*/ 22129 w 100955"/>
                      <a:gd name="connsiteY17" fmla="*/ 0 h 125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955" h="125353">
                        <a:moveTo>
                          <a:pt x="22129" y="0"/>
                        </a:moveTo>
                        <a:lnTo>
                          <a:pt x="41425" y="10120"/>
                        </a:lnTo>
                        <a:cubicBezTo>
                          <a:pt x="41425" y="10120"/>
                          <a:pt x="60045" y="9985"/>
                          <a:pt x="67467" y="12009"/>
                        </a:cubicBezTo>
                        <a:cubicBezTo>
                          <a:pt x="100930" y="21185"/>
                          <a:pt x="107542" y="58021"/>
                          <a:pt x="95128" y="99716"/>
                        </a:cubicBezTo>
                        <a:lnTo>
                          <a:pt x="80555" y="119011"/>
                        </a:lnTo>
                        <a:lnTo>
                          <a:pt x="74348" y="125353"/>
                        </a:lnTo>
                        <a:lnTo>
                          <a:pt x="51679" y="112804"/>
                        </a:lnTo>
                        <a:cubicBezTo>
                          <a:pt x="46687" y="110376"/>
                          <a:pt x="42504" y="103224"/>
                          <a:pt x="42504" y="103224"/>
                        </a:cubicBezTo>
                        <a:lnTo>
                          <a:pt x="43853" y="82040"/>
                        </a:lnTo>
                        <a:lnTo>
                          <a:pt x="61934" y="61395"/>
                        </a:lnTo>
                        <a:lnTo>
                          <a:pt x="63014" y="46012"/>
                        </a:lnTo>
                        <a:lnTo>
                          <a:pt x="49116" y="39131"/>
                        </a:lnTo>
                        <a:lnTo>
                          <a:pt x="17271" y="37242"/>
                        </a:lnTo>
                        <a:lnTo>
                          <a:pt x="6072" y="27796"/>
                        </a:lnTo>
                        <a:lnTo>
                          <a:pt x="0" y="23613"/>
                        </a:lnTo>
                        <a:lnTo>
                          <a:pt x="8096" y="2699"/>
                        </a:lnTo>
                        <a:lnTo>
                          <a:pt x="13493" y="8501"/>
                        </a:lnTo>
                        <a:lnTo>
                          <a:pt x="22129" y="0"/>
                        </a:lnTo>
                        <a:close/>
                      </a:path>
                    </a:pathLst>
                  </a:custGeom>
                  <a:solidFill>
                    <a:srgbClr val="9A9793"/>
                  </a:solidFill>
                  <a:ln w="1349" cap="flat">
                    <a:noFill/>
                    <a:prstDash val="solid"/>
                    <a:miter/>
                  </a:ln>
                </p:spPr>
                <p:txBody>
                  <a:bodyPr rtlCol="0" anchor="ctr"/>
                  <a:lstStyle/>
                  <a:p>
                    <a:endParaRPr lang="en-IN">
                      <a:latin typeface="+mn-lt"/>
                    </a:endParaRPr>
                  </a:p>
                </p:txBody>
              </p:sp>
              <p:sp>
                <p:nvSpPr>
                  <p:cNvPr id="267" name="Freeform: Shape 132">
                    <a:extLst>
                      <a:ext uri="{FF2B5EF4-FFF2-40B4-BE49-F238E27FC236}">
                        <a16:creationId xmlns:a16="http://schemas.microsoft.com/office/drawing/2014/main" id="{BE0F0C43-32DC-E049-A00B-6E0384FBA8DD}"/>
                      </a:ext>
                    </a:extLst>
                  </p:cNvPr>
                  <p:cNvSpPr/>
                  <p:nvPr/>
                </p:nvSpPr>
                <p:spPr>
                  <a:xfrm>
                    <a:off x="9037387" y="2875301"/>
                    <a:ext cx="25048" cy="36026"/>
                  </a:xfrm>
                  <a:custGeom>
                    <a:avLst/>
                    <a:gdLst>
                      <a:gd name="connsiteX0" fmla="*/ 959 w 25048"/>
                      <a:gd name="connsiteY0" fmla="*/ 19421 h 36026"/>
                      <a:gd name="connsiteX1" fmla="*/ 7436 w 25048"/>
                      <a:gd name="connsiteY1" fmla="*/ 36018 h 36026"/>
                      <a:gd name="connsiteX2" fmla="*/ 23359 w 25048"/>
                      <a:gd name="connsiteY2" fmla="*/ 22255 h 36026"/>
                      <a:gd name="connsiteX3" fmla="*/ 15263 w 25048"/>
                      <a:gd name="connsiteY3" fmla="*/ 126 h 36026"/>
                      <a:gd name="connsiteX4" fmla="*/ 959 w 25048"/>
                      <a:gd name="connsiteY4" fmla="*/ 19421 h 36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48" h="36026">
                        <a:moveTo>
                          <a:pt x="959" y="19421"/>
                        </a:moveTo>
                        <a:cubicBezTo>
                          <a:pt x="-660" y="30351"/>
                          <a:pt x="-1199" y="36288"/>
                          <a:pt x="7436" y="36018"/>
                        </a:cubicBezTo>
                        <a:cubicBezTo>
                          <a:pt x="12024" y="35883"/>
                          <a:pt x="17691" y="35883"/>
                          <a:pt x="23359" y="22255"/>
                        </a:cubicBezTo>
                        <a:cubicBezTo>
                          <a:pt x="27541" y="12135"/>
                          <a:pt x="23628" y="1340"/>
                          <a:pt x="15263" y="126"/>
                        </a:cubicBezTo>
                        <a:cubicBezTo>
                          <a:pt x="6762" y="-1224"/>
                          <a:pt x="2714" y="8492"/>
                          <a:pt x="959" y="19421"/>
                        </a:cubicBezTo>
                        <a:close/>
                      </a:path>
                    </a:pathLst>
                  </a:custGeom>
                  <a:solidFill>
                    <a:srgbClr val="FFAB84"/>
                  </a:solidFill>
                  <a:ln w="1349" cap="flat">
                    <a:noFill/>
                    <a:prstDash val="solid"/>
                    <a:miter/>
                  </a:ln>
                </p:spPr>
                <p:txBody>
                  <a:bodyPr rtlCol="0" anchor="ctr"/>
                  <a:lstStyle/>
                  <a:p>
                    <a:endParaRPr lang="en-IN">
                      <a:latin typeface="+mn-lt"/>
                    </a:endParaRPr>
                  </a:p>
                </p:txBody>
              </p:sp>
              <p:sp>
                <p:nvSpPr>
                  <p:cNvPr id="268" name="Freeform: Shape 133">
                    <a:extLst>
                      <a:ext uri="{FF2B5EF4-FFF2-40B4-BE49-F238E27FC236}">
                        <a16:creationId xmlns:a16="http://schemas.microsoft.com/office/drawing/2014/main" id="{3A887F99-92E7-124E-B99A-5C7BB0A864E2}"/>
                      </a:ext>
                    </a:extLst>
                  </p:cNvPr>
                  <p:cNvSpPr/>
                  <p:nvPr/>
                </p:nvSpPr>
                <p:spPr>
                  <a:xfrm>
                    <a:off x="8412120" y="2449712"/>
                    <a:ext cx="454285" cy="352477"/>
                  </a:xfrm>
                  <a:custGeom>
                    <a:avLst/>
                    <a:gdLst>
                      <a:gd name="connsiteX0" fmla="*/ 0 w 454285"/>
                      <a:gd name="connsiteY0" fmla="*/ 14168 h 352477"/>
                      <a:gd name="connsiteX1" fmla="*/ 9040 w 454285"/>
                      <a:gd name="connsiteY1" fmla="*/ 0 h 352477"/>
                      <a:gd name="connsiteX2" fmla="*/ 434891 w 454285"/>
                      <a:gd name="connsiteY2" fmla="*/ 272701 h 352477"/>
                      <a:gd name="connsiteX3" fmla="*/ 444471 w 454285"/>
                      <a:gd name="connsiteY3" fmla="*/ 331532 h 352477"/>
                      <a:gd name="connsiteX4" fmla="*/ 390903 w 454285"/>
                      <a:gd name="connsiteY4" fmla="*/ 343271 h 352477"/>
                      <a:gd name="connsiteX5" fmla="*/ 398594 w 454285"/>
                      <a:gd name="connsiteY5" fmla="*/ 330452 h 352477"/>
                      <a:gd name="connsiteX6" fmla="*/ 425716 w 454285"/>
                      <a:gd name="connsiteY6" fmla="*/ 286869 h 352477"/>
                      <a:gd name="connsiteX7" fmla="*/ 0 w 454285"/>
                      <a:gd name="connsiteY7" fmla="*/ 14168 h 352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285" h="352477">
                        <a:moveTo>
                          <a:pt x="0" y="14168"/>
                        </a:moveTo>
                        <a:lnTo>
                          <a:pt x="9040" y="0"/>
                        </a:lnTo>
                        <a:lnTo>
                          <a:pt x="434891" y="272701"/>
                        </a:lnTo>
                        <a:cubicBezTo>
                          <a:pt x="434891" y="272701"/>
                          <a:pt x="471188" y="291996"/>
                          <a:pt x="444471" y="331532"/>
                        </a:cubicBezTo>
                        <a:cubicBezTo>
                          <a:pt x="418294" y="370393"/>
                          <a:pt x="390903" y="343271"/>
                          <a:pt x="390903" y="343271"/>
                        </a:cubicBezTo>
                        <a:lnTo>
                          <a:pt x="398594" y="330452"/>
                        </a:lnTo>
                        <a:cubicBezTo>
                          <a:pt x="418564" y="345565"/>
                          <a:pt x="459719" y="314395"/>
                          <a:pt x="425716" y="286869"/>
                        </a:cubicBezTo>
                        <a:lnTo>
                          <a:pt x="0" y="14168"/>
                        </a:lnTo>
                        <a:close/>
                      </a:path>
                    </a:pathLst>
                  </a:custGeom>
                  <a:solidFill>
                    <a:srgbClr val="002B69"/>
                  </a:solidFill>
                  <a:ln w="1349" cap="flat">
                    <a:noFill/>
                    <a:prstDash val="solid"/>
                    <a:miter/>
                  </a:ln>
                </p:spPr>
                <p:txBody>
                  <a:bodyPr rtlCol="0" anchor="ctr"/>
                  <a:lstStyle/>
                  <a:p>
                    <a:endParaRPr lang="en-IN">
                      <a:latin typeface="+mn-lt"/>
                    </a:endParaRPr>
                  </a:p>
                </p:txBody>
              </p:sp>
              <p:sp>
                <p:nvSpPr>
                  <p:cNvPr id="269" name="Freeform: Shape 134">
                    <a:extLst>
                      <a:ext uri="{FF2B5EF4-FFF2-40B4-BE49-F238E27FC236}">
                        <a16:creationId xmlns:a16="http://schemas.microsoft.com/office/drawing/2014/main" id="{6D550779-AB6D-BF45-B9B6-1F7933BA61FA}"/>
                      </a:ext>
                    </a:extLst>
                  </p:cNvPr>
                  <p:cNvSpPr/>
                  <p:nvPr/>
                </p:nvSpPr>
                <p:spPr>
                  <a:xfrm>
                    <a:off x="8719903" y="3160002"/>
                    <a:ext cx="34273" cy="33058"/>
                  </a:xfrm>
                  <a:custGeom>
                    <a:avLst/>
                    <a:gdLst>
                      <a:gd name="connsiteX0" fmla="*/ 34273 w 34273"/>
                      <a:gd name="connsiteY0" fmla="*/ 5397 h 33058"/>
                      <a:gd name="connsiteX1" fmla="*/ 14708 w 34273"/>
                      <a:gd name="connsiteY1" fmla="*/ 15248 h 33058"/>
                      <a:gd name="connsiteX2" fmla="*/ 6342 w 34273"/>
                      <a:gd name="connsiteY2" fmla="*/ 28201 h 33058"/>
                      <a:gd name="connsiteX3" fmla="*/ 0 w 34273"/>
                      <a:gd name="connsiteY3" fmla="*/ 33059 h 33058"/>
                      <a:gd name="connsiteX4" fmla="*/ 2024 w 34273"/>
                      <a:gd name="connsiteY4" fmla="*/ 8771 h 33058"/>
                      <a:gd name="connsiteX5" fmla="*/ 23479 w 34273"/>
                      <a:gd name="connsiteY5" fmla="*/ 0 h 3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73" h="33058">
                        <a:moveTo>
                          <a:pt x="34273" y="5397"/>
                        </a:moveTo>
                        <a:lnTo>
                          <a:pt x="14708" y="15248"/>
                        </a:lnTo>
                        <a:lnTo>
                          <a:pt x="6342" y="28201"/>
                        </a:lnTo>
                        <a:lnTo>
                          <a:pt x="0" y="33059"/>
                        </a:lnTo>
                        <a:lnTo>
                          <a:pt x="2024" y="8771"/>
                        </a:lnTo>
                        <a:lnTo>
                          <a:pt x="23479" y="0"/>
                        </a:lnTo>
                        <a:close/>
                      </a:path>
                    </a:pathLst>
                  </a:custGeom>
                  <a:solidFill>
                    <a:srgbClr val="FFAB84"/>
                  </a:solidFill>
                  <a:ln w="1349" cap="flat">
                    <a:noFill/>
                    <a:prstDash val="solid"/>
                    <a:miter/>
                  </a:ln>
                </p:spPr>
                <p:txBody>
                  <a:bodyPr rtlCol="0" anchor="ctr"/>
                  <a:lstStyle/>
                  <a:p>
                    <a:endParaRPr lang="en-IN">
                      <a:latin typeface="+mn-lt"/>
                    </a:endParaRPr>
                  </a:p>
                </p:txBody>
              </p:sp>
              <p:sp>
                <p:nvSpPr>
                  <p:cNvPr id="270" name="Freeform: Shape 135">
                    <a:extLst>
                      <a:ext uri="{FF2B5EF4-FFF2-40B4-BE49-F238E27FC236}">
                        <a16:creationId xmlns:a16="http://schemas.microsoft.com/office/drawing/2014/main" id="{A829FDD7-51D9-C840-8F23-07337066F161}"/>
                      </a:ext>
                    </a:extLst>
                  </p:cNvPr>
                  <p:cNvSpPr/>
                  <p:nvPr/>
                </p:nvSpPr>
                <p:spPr>
                  <a:xfrm>
                    <a:off x="8818270" y="2759249"/>
                    <a:ext cx="29955" cy="33733"/>
                  </a:xfrm>
                  <a:custGeom>
                    <a:avLst/>
                    <a:gdLst>
                      <a:gd name="connsiteX0" fmla="*/ 29955 w 29955"/>
                      <a:gd name="connsiteY0" fmla="*/ 0 h 33733"/>
                      <a:gd name="connsiteX1" fmla="*/ 27931 w 29955"/>
                      <a:gd name="connsiteY1" fmla="*/ 19835 h 33733"/>
                      <a:gd name="connsiteX2" fmla="*/ 9445 w 29955"/>
                      <a:gd name="connsiteY2" fmla="*/ 33733 h 33733"/>
                      <a:gd name="connsiteX3" fmla="*/ 5397 w 29955"/>
                      <a:gd name="connsiteY3" fmla="*/ 31035 h 33733"/>
                      <a:gd name="connsiteX4" fmla="*/ 0 w 29955"/>
                      <a:gd name="connsiteY4" fmla="*/ 16597 h 33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55" h="33733">
                        <a:moveTo>
                          <a:pt x="29955" y="0"/>
                        </a:moveTo>
                        <a:lnTo>
                          <a:pt x="27931" y="19835"/>
                        </a:lnTo>
                        <a:lnTo>
                          <a:pt x="9445" y="33733"/>
                        </a:lnTo>
                        <a:lnTo>
                          <a:pt x="5397" y="31035"/>
                        </a:lnTo>
                        <a:lnTo>
                          <a:pt x="0" y="16597"/>
                        </a:lnTo>
                        <a:close/>
                      </a:path>
                    </a:pathLst>
                  </a:custGeom>
                  <a:solidFill>
                    <a:srgbClr val="FFAB84"/>
                  </a:solidFill>
                  <a:ln w="1349" cap="flat">
                    <a:noFill/>
                    <a:prstDash val="solid"/>
                    <a:miter/>
                  </a:ln>
                </p:spPr>
                <p:txBody>
                  <a:bodyPr rtlCol="0" anchor="ctr"/>
                  <a:lstStyle/>
                  <a:p>
                    <a:endParaRPr lang="en-IN">
                      <a:latin typeface="+mn-lt"/>
                    </a:endParaRPr>
                  </a:p>
                </p:txBody>
              </p:sp>
            </p:grpSp>
            <p:grpSp>
              <p:nvGrpSpPr>
                <p:cNvPr id="149" name="Graphic 1">
                  <a:extLst>
                    <a:ext uri="{FF2B5EF4-FFF2-40B4-BE49-F238E27FC236}">
                      <a16:creationId xmlns:a16="http://schemas.microsoft.com/office/drawing/2014/main" id="{51C5248C-3CE4-BB40-A2EE-3B4B0016B96F}"/>
                    </a:ext>
                  </a:extLst>
                </p:cNvPr>
                <p:cNvGrpSpPr/>
                <p:nvPr/>
              </p:nvGrpSpPr>
              <p:grpSpPr>
                <a:xfrm flipH="1">
                  <a:off x="523441" y="4302279"/>
                  <a:ext cx="939270" cy="1473498"/>
                  <a:chOff x="8412255" y="2449442"/>
                  <a:chExt cx="797592" cy="1251239"/>
                </a:xfrm>
                <a:solidFill>
                  <a:srgbClr val="0C3E7A"/>
                </a:solidFill>
              </p:grpSpPr>
              <p:sp>
                <p:nvSpPr>
                  <p:cNvPr id="251" name="Freeform: Shape 116">
                    <a:extLst>
                      <a:ext uri="{FF2B5EF4-FFF2-40B4-BE49-F238E27FC236}">
                        <a16:creationId xmlns:a16="http://schemas.microsoft.com/office/drawing/2014/main" id="{E80599E4-8F9A-1440-BDC3-56EFD64647B2}"/>
                      </a:ext>
                    </a:extLst>
                  </p:cNvPr>
                  <p:cNvSpPr/>
                  <p:nvPr/>
                </p:nvSpPr>
                <p:spPr>
                  <a:xfrm>
                    <a:off x="8412255" y="2449442"/>
                    <a:ext cx="797592" cy="1251239"/>
                  </a:xfrm>
                  <a:custGeom>
                    <a:avLst/>
                    <a:gdLst>
                      <a:gd name="connsiteX0" fmla="*/ 797593 w 797592"/>
                      <a:gd name="connsiteY0" fmla="*/ 641069 h 1251239"/>
                      <a:gd name="connsiteX1" fmla="*/ 793545 w 797592"/>
                      <a:gd name="connsiteY1" fmla="*/ 621909 h 1251239"/>
                      <a:gd name="connsiteX2" fmla="*/ 729856 w 797592"/>
                      <a:gd name="connsiteY2" fmla="*/ 498175 h 1251239"/>
                      <a:gd name="connsiteX3" fmla="*/ 725538 w 797592"/>
                      <a:gd name="connsiteY3" fmla="*/ 493992 h 1251239"/>
                      <a:gd name="connsiteX4" fmla="*/ 681280 w 797592"/>
                      <a:gd name="connsiteY4" fmla="*/ 459044 h 1251239"/>
                      <a:gd name="connsiteX5" fmla="*/ 661984 w 797592"/>
                      <a:gd name="connsiteY5" fmla="*/ 449734 h 1251239"/>
                      <a:gd name="connsiteX6" fmla="*/ 676557 w 797592"/>
                      <a:gd name="connsiteY6" fmla="*/ 430438 h 1251239"/>
                      <a:gd name="connsiteX7" fmla="*/ 648896 w 797592"/>
                      <a:gd name="connsiteY7" fmla="*/ 342731 h 1251239"/>
                      <a:gd name="connsiteX8" fmla="*/ 622854 w 797592"/>
                      <a:gd name="connsiteY8" fmla="*/ 340842 h 1251239"/>
                      <a:gd name="connsiteX9" fmla="*/ 603558 w 797592"/>
                      <a:gd name="connsiteY9" fmla="*/ 330722 h 1251239"/>
                      <a:gd name="connsiteX10" fmla="*/ 594652 w 797592"/>
                      <a:gd name="connsiteY10" fmla="*/ 339223 h 1251239"/>
                      <a:gd name="connsiteX11" fmla="*/ 589255 w 797592"/>
                      <a:gd name="connsiteY11" fmla="*/ 333421 h 1251239"/>
                      <a:gd name="connsiteX12" fmla="*/ 581159 w 797592"/>
                      <a:gd name="connsiteY12" fmla="*/ 354336 h 1251239"/>
                      <a:gd name="connsiteX13" fmla="*/ 582913 w 797592"/>
                      <a:gd name="connsiteY13" fmla="*/ 355550 h 1251239"/>
                      <a:gd name="connsiteX14" fmla="*/ 575762 w 797592"/>
                      <a:gd name="connsiteY14" fmla="*/ 365535 h 1251239"/>
                      <a:gd name="connsiteX15" fmla="*/ 562268 w 797592"/>
                      <a:gd name="connsiteY15" fmla="*/ 412897 h 1251239"/>
                      <a:gd name="connsiteX16" fmla="*/ 561189 w 797592"/>
                      <a:gd name="connsiteY16" fmla="*/ 458100 h 1251239"/>
                      <a:gd name="connsiteX17" fmla="*/ 565372 w 797592"/>
                      <a:gd name="connsiteY17" fmla="*/ 471458 h 1251239"/>
                      <a:gd name="connsiteX18" fmla="*/ 551878 w 797592"/>
                      <a:gd name="connsiteY18" fmla="*/ 479689 h 1251239"/>
                      <a:gd name="connsiteX19" fmla="*/ 550934 w 797592"/>
                      <a:gd name="connsiteY19" fmla="*/ 484007 h 1251239"/>
                      <a:gd name="connsiteX20" fmla="*/ 454456 w 797592"/>
                      <a:gd name="connsiteY20" fmla="*/ 488190 h 1251239"/>
                      <a:gd name="connsiteX21" fmla="*/ 451623 w 797592"/>
                      <a:gd name="connsiteY21" fmla="*/ 378219 h 1251239"/>
                      <a:gd name="connsiteX22" fmla="*/ 447980 w 797592"/>
                      <a:gd name="connsiteY22" fmla="*/ 377679 h 1251239"/>
                      <a:gd name="connsiteX23" fmla="*/ 454187 w 797592"/>
                      <a:gd name="connsiteY23" fmla="*/ 344890 h 1251239"/>
                      <a:gd name="connsiteX24" fmla="*/ 453917 w 797592"/>
                      <a:gd name="connsiteY24" fmla="*/ 319388 h 1251239"/>
                      <a:gd name="connsiteX25" fmla="*/ 451893 w 797592"/>
                      <a:gd name="connsiteY25" fmla="*/ 317094 h 1251239"/>
                      <a:gd name="connsiteX26" fmla="*/ 434891 w 797592"/>
                      <a:gd name="connsiteY26" fmla="*/ 272701 h 1251239"/>
                      <a:gd name="connsiteX27" fmla="*/ 9040 w 797592"/>
                      <a:gd name="connsiteY27" fmla="*/ 0 h 1251239"/>
                      <a:gd name="connsiteX28" fmla="*/ 0 w 797592"/>
                      <a:gd name="connsiteY28" fmla="*/ 14168 h 1251239"/>
                      <a:gd name="connsiteX29" fmla="*/ 425851 w 797592"/>
                      <a:gd name="connsiteY29" fmla="*/ 286869 h 1251239"/>
                      <a:gd name="connsiteX30" fmla="*/ 436375 w 797592"/>
                      <a:gd name="connsiteY30" fmla="*/ 299418 h 1251239"/>
                      <a:gd name="connsiteX31" fmla="*/ 436240 w 797592"/>
                      <a:gd name="connsiteY31" fmla="*/ 299283 h 1251239"/>
                      <a:gd name="connsiteX32" fmla="*/ 406150 w 797592"/>
                      <a:gd name="connsiteY32" fmla="*/ 326135 h 1251239"/>
                      <a:gd name="connsiteX33" fmla="*/ 409119 w 797592"/>
                      <a:gd name="connsiteY33" fmla="*/ 334231 h 1251239"/>
                      <a:gd name="connsiteX34" fmla="*/ 398729 w 797592"/>
                      <a:gd name="connsiteY34" fmla="*/ 330452 h 1251239"/>
                      <a:gd name="connsiteX35" fmla="*/ 391038 w 797592"/>
                      <a:gd name="connsiteY35" fmla="*/ 343271 h 1251239"/>
                      <a:gd name="connsiteX36" fmla="*/ 420318 w 797592"/>
                      <a:gd name="connsiteY36" fmla="*/ 351502 h 1251239"/>
                      <a:gd name="connsiteX37" fmla="*/ 422342 w 797592"/>
                      <a:gd name="connsiteY37" fmla="*/ 355145 h 1251239"/>
                      <a:gd name="connsiteX38" fmla="*/ 422477 w 797592"/>
                      <a:gd name="connsiteY38" fmla="*/ 366210 h 1251239"/>
                      <a:gd name="connsiteX39" fmla="*/ 418969 w 797592"/>
                      <a:gd name="connsiteY39" fmla="*/ 365805 h 1251239"/>
                      <a:gd name="connsiteX40" fmla="*/ 418159 w 797592"/>
                      <a:gd name="connsiteY40" fmla="*/ 372822 h 1251239"/>
                      <a:gd name="connsiteX41" fmla="*/ 422612 w 797592"/>
                      <a:gd name="connsiteY41" fmla="*/ 373496 h 1251239"/>
                      <a:gd name="connsiteX42" fmla="*/ 422612 w 797592"/>
                      <a:gd name="connsiteY42" fmla="*/ 374036 h 1251239"/>
                      <a:gd name="connsiteX43" fmla="*/ 413571 w 797592"/>
                      <a:gd name="connsiteY43" fmla="*/ 372822 h 1251239"/>
                      <a:gd name="connsiteX44" fmla="*/ 393736 w 797592"/>
                      <a:gd name="connsiteY44" fmla="*/ 504517 h 1251239"/>
                      <a:gd name="connsiteX45" fmla="*/ 411413 w 797592"/>
                      <a:gd name="connsiteY45" fmla="*/ 544997 h 1251239"/>
                      <a:gd name="connsiteX46" fmla="*/ 522463 w 797592"/>
                      <a:gd name="connsiteY46" fmla="*/ 567396 h 1251239"/>
                      <a:gd name="connsiteX47" fmla="*/ 491293 w 797592"/>
                      <a:gd name="connsiteY47" fmla="*/ 644308 h 1251239"/>
                      <a:gd name="connsiteX48" fmla="*/ 472403 w 797592"/>
                      <a:gd name="connsiteY48" fmla="*/ 734983 h 1251239"/>
                      <a:gd name="connsiteX49" fmla="*/ 469299 w 797592"/>
                      <a:gd name="connsiteY49" fmla="*/ 799481 h 1251239"/>
                      <a:gd name="connsiteX50" fmla="*/ 469299 w 797592"/>
                      <a:gd name="connsiteY50" fmla="*/ 810141 h 1251239"/>
                      <a:gd name="connsiteX51" fmla="*/ 469299 w 797592"/>
                      <a:gd name="connsiteY51" fmla="*/ 1001747 h 1251239"/>
                      <a:gd name="connsiteX52" fmla="*/ 484142 w 797592"/>
                      <a:gd name="connsiteY52" fmla="*/ 1185392 h 1251239"/>
                      <a:gd name="connsiteX53" fmla="*/ 492777 w 797592"/>
                      <a:gd name="connsiteY53" fmla="*/ 1185122 h 1251239"/>
                      <a:gd name="connsiteX54" fmla="*/ 479959 w 797592"/>
                      <a:gd name="connsiteY54" fmla="*/ 1203338 h 1251239"/>
                      <a:gd name="connsiteX55" fmla="*/ 450273 w 797592"/>
                      <a:gd name="connsiteY55" fmla="*/ 1219530 h 1251239"/>
                      <a:gd name="connsiteX56" fmla="*/ 457830 w 797592"/>
                      <a:gd name="connsiteY56" fmla="*/ 1243008 h 1251239"/>
                      <a:gd name="connsiteX57" fmla="*/ 538790 w 797592"/>
                      <a:gd name="connsiteY57" fmla="*/ 1242064 h 1251239"/>
                      <a:gd name="connsiteX58" fmla="*/ 544322 w 797592"/>
                      <a:gd name="connsiteY58" fmla="*/ 1231809 h 1251239"/>
                      <a:gd name="connsiteX59" fmla="*/ 541893 w 797592"/>
                      <a:gd name="connsiteY59" fmla="*/ 1198480 h 1251239"/>
                      <a:gd name="connsiteX60" fmla="*/ 537171 w 797592"/>
                      <a:gd name="connsiteY60" fmla="*/ 1183502 h 1251239"/>
                      <a:gd name="connsiteX61" fmla="*/ 557816 w 797592"/>
                      <a:gd name="connsiteY61" fmla="*/ 1182693 h 1251239"/>
                      <a:gd name="connsiteX62" fmla="*/ 545537 w 797592"/>
                      <a:gd name="connsiteY62" fmla="*/ 1001207 h 1251239"/>
                      <a:gd name="connsiteX63" fmla="*/ 558490 w 797592"/>
                      <a:gd name="connsiteY63" fmla="*/ 856558 h 1251239"/>
                      <a:gd name="connsiteX64" fmla="*/ 563888 w 797592"/>
                      <a:gd name="connsiteY64" fmla="*/ 860606 h 1251239"/>
                      <a:gd name="connsiteX65" fmla="*/ 582508 w 797592"/>
                      <a:gd name="connsiteY65" fmla="*/ 1007954 h 1251239"/>
                      <a:gd name="connsiteX66" fmla="*/ 636752 w 797592"/>
                      <a:gd name="connsiteY66" fmla="*/ 1200639 h 1251239"/>
                      <a:gd name="connsiteX67" fmla="*/ 651999 w 797592"/>
                      <a:gd name="connsiteY67" fmla="*/ 1198750 h 1251239"/>
                      <a:gd name="connsiteX68" fmla="*/ 641070 w 797592"/>
                      <a:gd name="connsiteY68" fmla="*/ 1216696 h 1251239"/>
                      <a:gd name="connsiteX69" fmla="*/ 638506 w 797592"/>
                      <a:gd name="connsiteY69" fmla="*/ 1247596 h 1251239"/>
                      <a:gd name="connsiteX70" fmla="*/ 644443 w 797592"/>
                      <a:gd name="connsiteY70" fmla="*/ 1251239 h 1251239"/>
                      <a:gd name="connsiteX71" fmla="*/ 665223 w 797592"/>
                      <a:gd name="connsiteY71" fmla="*/ 1250430 h 1251239"/>
                      <a:gd name="connsiteX72" fmla="*/ 704488 w 797592"/>
                      <a:gd name="connsiteY72" fmla="*/ 1250430 h 1251239"/>
                      <a:gd name="connsiteX73" fmla="*/ 698416 w 797592"/>
                      <a:gd name="connsiteY73" fmla="*/ 1213728 h 1251239"/>
                      <a:gd name="connsiteX74" fmla="*/ 689646 w 797592"/>
                      <a:gd name="connsiteY74" fmla="*/ 1193892 h 1251239"/>
                      <a:gd name="connsiteX75" fmla="*/ 704488 w 797592"/>
                      <a:gd name="connsiteY75" fmla="*/ 1192003 h 1251239"/>
                      <a:gd name="connsiteX76" fmla="*/ 666167 w 797592"/>
                      <a:gd name="connsiteY76" fmla="*/ 975435 h 1251239"/>
                      <a:gd name="connsiteX77" fmla="*/ 668596 w 797592"/>
                      <a:gd name="connsiteY77" fmla="*/ 814189 h 1251239"/>
                      <a:gd name="connsiteX78" fmla="*/ 674263 w 797592"/>
                      <a:gd name="connsiteY78" fmla="*/ 814594 h 1251239"/>
                      <a:gd name="connsiteX79" fmla="*/ 686137 w 797592"/>
                      <a:gd name="connsiteY79" fmla="*/ 767232 h 1251239"/>
                      <a:gd name="connsiteX80" fmla="*/ 702599 w 797592"/>
                      <a:gd name="connsiteY80" fmla="*/ 665627 h 1251239"/>
                      <a:gd name="connsiteX81" fmla="*/ 711505 w 797592"/>
                      <a:gd name="connsiteY81" fmla="*/ 633243 h 1251239"/>
                      <a:gd name="connsiteX82" fmla="*/ 723919 w 797592"/>
                      <a:gd name="connsiteY82" fmla="*/ 656722 h 1251239"/>
                      <a:gd name="connsiteX83" fmla="*/ 724189 w 797592"/>
                      <a:gd name="connsiteY83" fmla="*/ 752255 h 1251239"/>
                      <a:gd name="connsiteX84" fmla="*/ 729181 w 797592"/>
                      <a:gd name="connsiteY84" fmla="*/ 754144 h 1251239"/>
                      <a:gd name="connsiteX85" fmla="*/ 724998 w 797592"/>
                      <a:gd name="connsiteY85" fmla="*/ 753604 h 1251239"/>
                      <a:gd name="connsiteX86" fmla="*/ 723244 w 797592"/>
                      <a:gd name="connsiteY86" fmla="*/ 763049 h 1251239"/>
                      <a:gd name="connsiteX87" fmla="*/ 729181 w 797592"/>
                      <a:gd name="connsiteY87" fmla="*/ 765613 h 1251239"/>
                      <a:gd name="connsiteX88" fmla="*/ 710425 w 797592"/>
                      <a:gd name="connsiteY88" fmla="*/ 780456 h 1251239"/>
                      <a:gd name="connsiteX89" fmla="*/ 706108 w 797592"/>
                      <a:gd name="connsiteY89" fmla="*/ 806768 h 1251239"/>
                      <a:gd name="connsiteX90" fmla="*/ 745778 w 797592"/>
                      <a:gd name="connsiteY90" fmla="*/ 814594 h 1251239"/>
                      <a:gd name="connsiteX91" fmla="*/ 758057 w 797592"/>
                      <a:gd name="connsiteY91" fmla="*/ 784234 h 1251239"/>
                      <a:gd name="connsiteX92" fmla="*/ 758057 w 797592"/>
                      <a:gd name="connsiteY92" fmla="*/ 778297 h 1251239"/>
                      <a:gd name="connsiteX93" fmla="*/ 762375 w 797592"/>
                      <a:gd name="connsiteY93" fmla="*/ 780186 h 1251239"/>
                      <a:gd name="connsiteX94" fmla="*/ 766288 w 797592"/>
                      <a:gd name="connsiteY94" fmla="*/ 768177 h 1251239"/>
                      <a:gd name="connsiteX95" fmla="*/ 769526 w 797592"/>
                      <a:gd name="connsiteY95" fmla="*/ 769391 h 1251239"/>
                      <a:gd name="connsiteX96" fmla="*/ 797593 w 797592"/>
                      <a:gd name="connsiteY96" fmla="*/ 641069 h 125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97592" h="1251239">
                        <a:moveTo>
                          <a:pt x="797593" y="641069"/>
                        </a:moveTo>
                        <a:lnTo>
                          <a:pt x="793545" y="621909"/>
                        </a:lnTo>
                        <a:lnTo>
                          <a:pt x="729856" y="498175"/>
                        </a:lnTo>
                        <a:lnTo>
                          <a:pt x="725538" y="493992"/>
                        </a:lnTo>
                        <a:lnTo>
                          <a:pt x="681280" y="459044"/>
                        </a:lnTo>
                        <a:lnTo>
                          <a:pt x="661984" y="449734"/>
                        </a:lnTo>
                        <a:lnTo>
                          <a:pt x="676557" y="430438"/>
                        </a:lnTo>
                        <a:cubicBezTo>
                          <a:pt x="689106" y="388744"/>
                          <a:pt x="682494" y="351907"/>
                          <a:pt x="648896" y="342731"/>
                        </a:cubicBezTo>
                        <a:cubicBezTo>
                          <a:pt x="641339" y="340707"/>
                          <a:pt x="622854" y="340842"/>
                          <a:pt x="622854" y="340842"/>
                        </a:cubicBezTo>
                        <a:lnTo>
                          <a:pt x="603558" y="330722"/>
                        </a:lnTo>
                        <a:lnTo>
                          <a:pt x="594652" y="339223"/>
                        </a:lnTo>
                        <a:lnTo>
                          <a:pt x="589255" y="333421"/>
                        </a:lnTo>
                        <a:lnTo>
                          <a:pt x="581159" y="354336"/>
                        </a:lnTo>
                        <a:lnTo>
                          <a:pt x="582913" y="355550"/>
                        </a:lnTo>
                        <a:cubicBezTo>
                          <a:pt x="580484" y="358384"/>
                          <a:pt x="577921" y="361757"/>
                          <a:pt x="575762" y="365535"/>
                        </a:cubicBezTo>
                        <a:cubicBezTo>
                          <a:pt x="568610" y="378354"/>
                          <a:pt x="563483" y="399538"/>
                          <a:pt x="562268" y="412897"/>
                        </a:cubicBezTo>
                        <a:cubicBezTo>
                          <a:pt x="562134" y="414516"/>
                          <a:pt x="560110" y="441233"/>
                          <a:pt x="561189" y="458100"/>
                        </a:cubicBezTo>
                        <a:cubicBezTo>
                          <a:pt x="561729" y="465926"/>
                          <a:pt x="564158" y="468085"/>
                          <a:pt x="565372" y="471458"/>
                        </a:cubicBezTo>
                        <a:lnTo>
                          <a:pt x="551878" y="479689"/>
                        </a:lnTo>
                        <a:lnTo>
                          <a:pt x="550934" y="484007"/>
                        </a:lnTo>
                        <a:lnTo>
                          <a:pt x="454456" y="488190"/>
                        </a:lnTo>
                        <a:lnTo>
                          <a:pt x="451623" y="378219"/>
                        </a:lnTo>
                        <a:lnTo>
                          <a:pt x="447980" y="377679"/>
                        </a:lnTo>
                        <a:lnTo>
                          <a:pt x="454187" y="344890"/>
                        </a:lnTo>
                        <a:lnTo>
                          <a:pt x="453917" y="319388"/>
                        </a:lnTo>
                        <a:lnTo>
                          <a:pt x="451893" y="317094"/>
                        </a:lnTo>
                        <a:cubicBezTo>
                          <a:pt x="462283" y="287274"/>
                          <a:pt x="434891" y="272701"/>
                          <a:pt x="434891" y="272701"/>
                        </a:cubicBezTo>
                        <a:lnTo>
                          <a:pt x="9040" y="0"/>
                        </a:lnTo>
                        <a:lnTo>
                          <a:pt x="0" y="14168"/>
                        </a:lnTo>
                        <a:lnTo>
                          <a:pt x="425851" y="286869"/>
                        </a:lnTo>
                        <a:cubicBezTo>
                          <a:pt x="430978" y="291052"/>
                          <a:pt x="434216" y="295370"/>
                          <a:pt x="436375" y="299418"/>
                        </a:cubicBezTo>
                        <a:lnTo>
                          <a:pt x="436240" y="299283"/>
                        </a:lnTo>
                        <a:lnTo>
                          <a:pt x="406150" y="326135"/>
                        </a:lnTo>
                        <a:lnTo>
                          <a:pt x="409119" y="334231"/>
                        </a:lnTo>
                        <a:cubicBezTo>
                          <a:pt x="405341" y="333961"/>
                          <a:pt x="401697" y="332746"/>
                          <a:pt x="398729" y="330452"/>
                        </a:cubicBezTo>
                        <a:lnTo>
                          <a:pt x="391038" y="343271"/>
                        </a:lnTo>
                        <a:cubicBezTo>
                          <a:pt x="391038" y="343271"/>
                          <a:pt x="403856" y="355955"/>
                          <a:pt x="420318" y="351502"/>
                        </a:cubicBezTo>
                        <a:lnTo>
                          <a:pt x="422342" y="355145"/>
                        </a:lnTo>
                        <a:lnTo>
                          <a:pt x="422477" y="366210"/>
                        </a:lnTo>
                        <a:lnTo>
                          <a:pt x="418969" y="365805"/>
                        </a:lnTo>
                        <a:lnTo>
                          <a:pt x="418159" y="372822"/>
                        </a:lnTo>
                        <a:lnTo>
                          <a:pt x="422612" y="373496"/>
                        </a:lnTo>
                        <a:lnTo>
                          <a:pt x="422612" y="374036"/>
                        </a:lnTo>
                        <a:lnTo>
                          <a:pt x="413571" y="372822"/>
                        </a:lnTo>
                        <a:lnTo>
                          <a:pt x="393736" y="504517"/>
                        </a:lnTo>
                        <a:lnTo>
                          <a:pt x="411413" y="544997"/>
                        </a:lnTo>
                        <a:lnTo>
                          <a:pt x="522463" y="567396"/>
                        </a:lnTo>
                        <a:lnTo>
                          <a:pt x="491293" y="644308"/>
                        </a:lnTo>
                        <a:lnTo>
                          <a:pt x="472403" y="734983"/>
                        </a:lnTo>
                        <a:lnTo>
                          <a:pt x="469299" y="799481"/>
                        </a:lnTo>
                        <a:lnTo>
                          <a:pt x="469299" y="810141"/>
                        </a:lnTo>
                        <a:lnTo>
                          <a:pt x="469299" y="1001747"/>
                        </a:lnTo>
                        <a:lnTo>
                          <a:pt x="484142" y="1185392"/>
                        </a:lnTo>
                        <a:lnTo>
                          <a:pt x="492777" y="1185122"/>
                        </a:lnTo>
                        <a:lnTo>
                          <a:pt x="479959" y="1203338"/>
                        </a:lnTo>
                        <a:lnTo>
                          <a:pt x="450273" y="1219530"/>
                        </a:lnTo>
                        <a:lnTo>
                          <a:pt x="457830" y="1243008"/>
                        </a:lnTo>
                        <a:lnTo>
                          <a:pt x="538790" y="1242064"/>
                        </a:lnTo>
                        <a:lnTo>
                          <a:pt x="544322" y="1231809"/>
                        </a:lnTo>
                        <a:cubicBezTo>
                          <a:pt x="544322" y="1231809"/>
                          <a:pt x="543648" y="1199155"/>
                          <a:pt x="541893" y="1198480"/>
                        </a:cubicBezTo>
                        <a:cubicBezTo>
                          <a:pt x="541084" y="1198075"/>
                          <a:pt x="539060" y="1190924"/>
                          <a:pt x="537171" y="1183502"/>
                        </a:cubicBezTo>
                        <a:lnTo>
                          <a:pt x="557816" y="1182693"/>
                        </a:lnTo>
                        <a:lnTo>
                          <a:pt x="545537" y="1001207"/>
                        </a:lnTo>
                        <a:lnTo>
                          <a:pt x="558490" y="856558"/>
                        </a:lnTo>
                        <a:lnTo>
                          <a:pt x="563888" y="860606"/>
                        </a:lnTo>
                        <a:lnTo>
                          <a:pt x="582508" y="1007954"/>
                        </a:lnTo>
                        <a:lnTo>
                          <a:pt x="636752" y="1200639"/>
                        </a:lnTo>
                        <a:lnTo>
                          <a:pt x="651999" y="1198750"/>
                        </a:lnTo>
                        <a:cubicBezTo>
                          <a:pt x="647411" y="1206981"/>
                          <a:pt x="642014" y="1216291"/>
                          <a:pt x="641070" y="1216696"/>
                        </a:cubicBezTo>
                        <a:cubicBezTo>
                          <a:pt x="639315" y="1217506"/>
                          <a:pt x="638506" y="1247596"/>
                          <a:pt x="638506" y="1247596"/>
                        </a:cubicBezTo>
                        <a:lnTo>
                          <a:pt x="644443" y="1251239"/>
                        </a:lnTo>
                        <a:lnTo>
                          <a:pt x="665223" y="1250430"/>
                        </a:lnTo>
                        <a:lnTo>
                          <a:pt x="704488" y="1250430"/>
                        </a:lnTo>
                        <a:lnTo>
                          <a:pt x="698416" y="1213728"/>
                        </a:lnTo>
                        <a:cubicBezTo>
                          <a:pt x="698416" y="1213728"/>
                          <a:pt x="693694" y="1202393"/>
                          <a:pt x="689646" y="1193892"/>
                        </a:cubicBezTo>
                        <a:lnTo>
                          <a:pt x="704488" y="1192003"/>
                        </a:lnTo>
                        <a:lnTo>
                          <a:pt x="666167" y="975435"/>
                        </a:lnTo>
                        <a:lnTo>
                          <a:pt x="668596" y="814189"/>
                        </a:lnTo>
                        <a:lnTo>
                          <a:pt x="674263" y="814594"/>
                        </a:lnTo>
                        <a:lnTo>
                          <a:pt x="686137" y="767232"/>
                        </a:lnTo>
                        <a:lnTo>
                          <a:pt x="702599" y="665627"/>
                        </a:lnTo>
                        <a:lnTo>
                          <a:pt x="711505" y="633243"/>
                        </a:lnTo>
                        <a:lnTo>
                          <a:pt x="723919" y="656722"/>
                        </a:lnTo>
                        <a:lnTo>
                          <a:pt x="724189" y="752255"/>
                        </a:lnTo>
                        <a:lnTo>
                          <a:pt x="729181" y="754144"/>
                        </a:lnTo>
                        <a:lnTo>
                          <a:pt x="724998" y="753604"/>
                        </a:lnTo>
                        <a:lnTo>
                          <a:pt x="723244" y="763049"/>
                        </a:lnTo>
                        <a:lnTo>
                          <a:pt x="729181" y="765613"/>
                        </a:lnTo>
                        <a:lnTo>
                          <a:pt x="710425" y="780456"/>
                        </a:lnTo>
                        <a:lnTo>
                          <a:pt x="706108" y="806768"/>
                        </a:lnTo>
                        <a:lnTo>
                          <a:pt x="745778" y="814594"/>
                        </a:lnTo>
                        <a:lnTo>
                          <a:pt x="758057" y="784234"/>
                        </a:lnTo>
                        <a:lnTo>
                          <a:pt x="758057" y="778297"/>
                        </a:lnTo>
                        <a:lnTo>
                          <a:pt x="762375" y="780186"/>
                        </a:lnTo>
                        <a:lnTo>
                          <a:pt x="766288" y="768177"/>
                        </a:lnTo>
                        <a:lnTo>
                          <a:pt x="769526" y="769391"/>
                        </a:lnTo>
                        <a:lnTo>
                          <a:pt x="797593" y="641069"/>
                        </a:lnTo>
                        <a:close/>
                      </a:path>
                    </a:pathLst>
                  </a:custGeom>
                  <a:solidFill>
                    <a:srgbClr val="0C3E7A"/>
                  </a:solidFill>
                  <a:ln w="1349" cap="flat">
                    <a:noFill/>
                    <a:prstDash val="solid"/>
                    <a:miter/>
                  </a:ln>
                </p:spPr>
                <p:txBody>
                  <a:bodyPr rtlCol="0" anchor="ctr"/>
                  <a:lstStyle/>
                  <a:p>
                    <a:endParaRPr lang="en-IN">
                      <a:latin typeface="+mn-lt"/>
                    </a:endParaRPr>
                  </a:p>
                </p:txBody>
              </p:sp>
              <p:sp>
                <p:nvSpPr>
                  <p:cNvPr id="252" name="Freeform: Shape 117">
                    <a:extLst>
                      <a:ext uri="{FF2B5EF4-FFF2-40B4-BE49-F238E27FC236}">
                        <a16:creationId xmlns:a16="http://schemas.microsoft.com/office/drawing/2014/main" id="{5BA8C232-0B16-604B-82C7-F4380D23A105}"/>
                      </a:ext>
                    </a:extLst>
                  </p:cNvPr>
                  <p:cNvSpPr/>
                  <p:nvPr/>
                </p:nvSpPr>
                <p:spPr>
                  <a:xfrm>
                    <a:off x="8719903" y="3160002"/>
                    <a:ext cx="34273" cy="33058"/>
                  </a:xfrm>
                  <a:custGeom>
                    <a:avLst/>
                    <a:gdLst>
                      <a:gd name="connsiteX0" fmla="*/ 2024 w 34273"/>
                      <a:gd name="connsiteY0" fmla="*/ 8771 h 33058"/>
                      <a:gd name="connsiteX1" fmla="*/ 0 w 34273"/>
                      <a:gd name="connsiteY1" fmla="*/ 33059 h 33058"/>
                      <a:gd name="connsiteX2" fmla="*/ 6342 w 34273"/>
                      <a:gd name="connsiteY2" fmla="*/ 28201 h 33058"/>
                      <a:gd name="connsiteX3" fmla="*/ 14708 w 34273"/>
                      <a:gd name="connsiteY3" fmla="*/ 15248 h 33058"/>
                      <a:gd name="connsiteX4" fmla="*/ 34273 w 34273"/>
                      <a:gd name="connsiteY4" fmla="*/ 5397 h 33058"/>
                      <a:gd name="connsiteX5" fmla="*/ 23479 w 34273"/>
                      <a:gd name="connsiteY5" fmla="*/ 0 h 3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73" h="33058">
                        <a:moveTo>
                          <a:pt x="2024" y="8771"/>
                        </a:moveTo>
                        <a:lnTo>
                          <a:pt x="0" y="33059"/>
                        </a:lnTo>
                        <a:lnTo>
                          <a:pt x="6342" y="28201"/>
                        </a:lnTo>
                        <a:lnTo>
                          <a:pt x="14708" y="15248"/>
                        </a:lnTo>
                        <a:lnTo>
                          <a:pt x="34273" y="5397"/>
                        </a:lnTo>
                        <a:lnTo>
                          <a:pt x="23479" y="0"/>
                        </a:lnTo>
                        <a:close/>
                      </a:path>
                    </a:pathLst>
                  </a:custGeom>
                  <a:solidFill>
                    <a:srgbClr val="0C3E7A"/>
                  </a:solidFill>
                  <a:ln w="1349" cap="flat">
                    <a:noFill/>
                    <a:prstDash val="solid"/>
                    <a:miter/>
                  </a:ln>
                </p:spPr>
                <p:txBody>
                  <a:bodyPr rtlCol="0" anchor="ctr"/>
                  <a:lstStyle/>
                  <a:p>
                    <a:endParaRPr lang="en-IN">
                      <a:latin typeface="+mn-lt"/>
                    </a:endParaRPr>
                  </a:p>
                </p:txBody>
              </p:sp>
            </p:grpSp>
            <p:grpSp>
              <p:nvGrpSpPr>
                <p:cNvPr id="150" name="Graphic 1">
                  <a:extLst>
                    <a:ext uri="{FF2B5EF4-FFF2-40B4-BE49-F238E27FC236}">
                      <a16:creationId xmlns:a16="http://schemas.microsoft.com/office/drawing/2014/main" id="{4C0975E4-E4DF-534C-B1E5-F4365570B49E}"/>
                    </a:ext>
                  </a:extLst>
                </p:cNvPr>
                <p:cNvGrpSpPr/>
                <p:nvPr/>
              </p:nvGrpSpPr>
              <p:grpSpPr>
                <a:xfrm flipH="1">
                  <a:off x="-121224" y="4625680"/>
                  <a:ext cx="447626" cy="1166941"/>
                  <a:chOff x="9377165" y="2724062"/>
                  <a:chExt cx="380107" cy="990922"/>
                </a:xfrm>
                <a:solidFill>
                  <a:schemeClr val="accent1"/>
                </a:solidFill>
              </p:grpSpPr>
              <p:grpSp>
                <p:nvGrpSpPr>
                  <p:cNvPr id="233" name="Graphic 1">
                    <a:extLst>
                      <a:ext uri="{FF2B5EF4-FFF2-40B4-BE49-F238E27FC236}">
                        <a16:creationId xmlns:a16="http://schemas.microsoft.com/office/drawing/2014/main" id="{CE137465-DB17-184A-A0B1-2805FC12D97B}"/>
                      </a:ext>
                    </a:extLst>
                  </p:cNvPr>
                  <p:cNvGrpSpPr/>
                  <p:nvPr/>
                </p:nvGrpSpPr>
                <p:grpSpPr>
                  <a:xfrm>
                    <a:off x="9377165" y="2724062"/>
                    <a:ext cx="353256" cy="990922"/>
                    <a:chOff x="9377165" y="2724062"/>
                    <a:chExt cx="353256" cy="990922"/>
                  </a:xfrm>
                  <a:solidFill>
                    <a:schemeClr val="accent1"/>
                  </a:solidFill>
                </p:grpSpPr>
                <p:sp>
                  <p:nvSpPr>
                    <p:cNvPr id="238" name="Freeform: Shape 103">
                      <a:extLst>
                        <a:ext uri="{FF2B5EF4-FFF2-40B4-BE49-F238E27FC236}">
                          <a16:creationId xmlns:a16="http://schemas.microsoft.com/office/drawing/2014/main" id="{5D4F9C76-E595-8243-BDE4-243438BAD9BF}"/>
                        </a:ext>
                      </a:extLst>
                    </p:cNvPr>
                    <p:cNvSpPr/>
                    <p:nvPr/>
                  </p:nvSpPr>
                  <p:spPr>
                    <a:xfrm>
                      <a:off x="9491858" y="2873673"/>
                      <a:ext cx="238562" cy="789901"/>
                    </a:xfrm>
                    <a:custGeom>
                      <a:avLst/>
                      <a:gdLst>
                        <a:gd name="connsiteX0" fmla="*/ 40885 w 238562"/>
                        <a:gd name="connsiteY0" fmla="*/ 12684 h 789901"/>
                        <a:gd name="connsiteX1" fmla="*/ 99851 w 238562"/>
                        <a:gd name="connsiteY1" fmla="*/ 0 h 789901"/>
                        <a:gd name="connsiteX2" fmla="*/ 125353 w 238562"/>
                        <a:gd name="connsiteY2" fmla="*/ 1214 h 789901"/>
                        <a:gd name="connsiteX3" fmla="*/ 159087 w 238562"/>
                        <a:gd name="connsiteY3" fmla="*/ 10525 h 789901"/>
                        <a:gd name="connsiteX4" fmla="*/ 189987 w 238562"/>
                        <a:gd name="connsiteY4" fmla="*/ 33464 h 789901"/>
                        <a:gd name="connsiteX5" fmla="*/ 192685 w 238562"/>
                        <a:gd name="connsiteY5" fmla="*/ 97827 h 789901"/>
                        <a:gd name="connsiteX6" fmla="*/ 194304 w 238562"/>
                        <a:gd name="connsiteY6" fmla="*/ 122924 h 789901"/>
                        <a:gd name="connsiteX7" fmla="*/ 186343 w 238562"/>
                        <a:gd name="connsiteY7" fmla="*/ 217648 h 789901"/>
                        <a:gd name="connsiteX8" fmla="*/ 191336 w 238562"/>
                        <a:gd name="connsiteY8" fmla="*/ 281876 h 789901"/>
                        <a:gd name="connsiteX9" fmla="*/ 211306 w 238562"/>
                        <a:gd name="connsiteY9" fmla="*/ 368504 h 789901"/>
                        <a:gd name="connsiteX10" fmla="*/ 186613 w 238562"/>
                        <a:gd name="connsiteY10" fmla="*/ 396840 h 789901"/>
                        <a:gd name="connsiteX11" fmla="*/ 203750 w 238562"/>
                        <a:gd name="connsiteY11" fmla="*/ 565911 h 789901"/>
                        <a:gd name="connsiteX12" fmla="*/ 238563 w 238562"/>
                        <a:gd name="connsiteY12" fmla="*/ 785988 h 789901"/>
                        <a:gd name="connsiteX13" fmla="*/ 166103 w 238562"/>
                        <a:gd name="connsiteY13" fmla="*/ 789901 h 789901"/>
                        <a:gd name="connsiteX14" fmla="*/ 124409 w 238562"/>
                        <a:gd name="connsiteY14" fmla="*/ 576841 h 789901"/>
                        <a:gd name="connsiteX15" fmla="*/ 96342 w 238562"/>
                        <a:gd name="connsiteY15" fmla="*/ 406690 h 789901"/>
                        <a:gd name="connsiteX16" fmla="*/ 94993 w 238562"/>
                        <a:gd name="connsiteY16" fmla="*/ 406960 h 789901"/>
                        <a:gd name="connsiteX17" fmla="*/ 66927 w 238562"/>
                        <a:gd name="connsiteY17" fmla="*/ 578190 h 789901"/>
                        <a:gd name="connsiteX18" fmla="*/ 64498 w 238562"/>
                        <a:gd name="connsiteY18" fmla="*/ 787337 h 789901"/>
                        <a:gd name="connsiteX19" fmla="*/ 135 w 238562"/>
                        <a:gd name="connsiteY19" fmla="*/ 788417 h 789901"/>
                        <a:gd name="connsiteX20" fmla="*/ 0 w 238562"/>
                        <a:gd name="connsiteY20" fmla="*/ 576976 h 789901"/>
                        <a:gd name="connsiteX21" fmla="*/ 8231 w 238562"/>
                        <a:gd name="connsiteY21" fmla="*/ 381187 h 789901"/>
                        <a:gd name="connsiteX22" fmla="*/ 1619 w 238562"/>
                        <a:gd name="connsiteY22" fmla="*/ 367694 h 789901"/>
                        <a:gd name="connsiteX23" fmla="*/ 8231 w 238562"/>
                        <a:gd name="connsiteY23" fmla="*/ 247198 h 789901"/>
                        <a:gd name="connsiteX24" fmla="*/ 10525 w 238562"/>
                        <a:gd name="connsiteY24" fmla="*/ 90406 h 789901"/>
                        <a:gd name="connsiteX25" fmla="*/ 10795 w 238562"/>
                        <a:gd name="connsiteY25" fmla="*/ 30360 h 789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8562" h="789901">
                          <a:moveTo>
                            <a:pt x="40885" y="12684"/>
                          </a:moveTo>
                          <a:lnTo>
                            <a:pt x="99851" y="0"/>
                          </a:lnTo>
                          <a:lnTo>
                            <a:pt x="125353" y="1214"/>
                          </a:lnTo>
                          <a:lnTo>
                            <a:pt x="159087" y="10525"/>
                          </a:lnTo>
                          <a:lnTo>
                            <a:pt x="189987" y="33464"/>
                          </a:lnTo>
                          <a:lnTo>
                            <a:pt x="192685" y="97827"/>
                          </a:lnTo>
                          <a:lnTo>
                            <a:pt x="194304" y="122924"/>
                          </a:lnTo>
                          <a:lnTo>
                            <a:pt x="186343" y="217648"/>
                          </a:lnTo>
                          <a:lnTo>
                            <a:pt x="191336" y="281876"/>
                          </a:lnTo>
                          <a:lnTo>
                            <a:pt x="211306" y="368504"/>
                          </a:lnTo>
                          <a:lnTo>
                            <a:pt x="186613" y="396840"/>
                          </a:lnTo>
                          <a:lnTo>
                            <a:pt x="203750" y="565911"/>
                          </a:lnTo>
                          <a:lnTo>
                            <a:pt x="238563" y="785988"/>
                          </a:lnTo>
                          <a:lnTo>
                            <a:pt x="166103" y="789901"/>
                          </a:lnTo>
                          <a:lnTo>
                            <a:pt x="124409" y="576841"/>
                          </a:lnTo>
                          <a:lnTo>
                            <a:pt x="96342" y="406690"/>
                          </a:lnTo>
                          <a:lnTo>
                            <a:pt x="94993" y="406960"/>
                          </a:lnTo>
                          <a:lnTo>
                            <a:pt x="66927" y="578190"/>
                          </a:lnTo>
                          <a:lnTo>
                            <a:pt x="64498" y="787337"/>
                          </a:lnTo>
                          <a:lnTo>
                            <a:pt x="135" y="788417"/>
                          </a:lnTo>
                          <a:lnTo>
                            <a:pt x="0" y="576976"/>
                          </a:lnTo>
                          <a:lnTo>
                            <a:pt x="8231" y="381187"/>
                          </a:lnTo>
                          <a:lnTo>
                            <a:pt x="1619" y="367694"/>
                          </a:lnTo>
                          <a:lnTo>
                            <a:pt x="8231" y="247198"/>
                          </a:lnTo>
                          <a:lnTo>
                            <a:pt x="10525" y="90406"/>
                          </a:lnTo>
                          <a:lnTo>
                            <a:pt x="10795" y="30360"/>
                          </a:lnTo>
                          <a:close/>
                        </a:path>
                      </a:pathLst>
                    </a:custGeom>
                    <a:solidFill>
                      <a:srgbClr val="002B69"/>
                    </a:solidFill>
                    <a:ln w="1349" cap="flat">
                      <a:noFill/>
                      <a:prstDash val="solid"/>
                      <a:miter/>
                    </a:ln>
                  </p:spPr>
                  <p:txBody>
                    <a:bodyPr rtlCol="0" anchor="ctr"/>
                    <a:lstStyle/>
                    <a:p>
                      <a:endParaRPr lang="en-IN">
                        <a:latin typeface="+mn-lt"/>
                      </a:endParaRPr>
                    </a:p>
                  </p:txBody>
                </p:sp>
                <p:sp>
                  <p:nvSpPr>
                    <p:cNvPr id="239" name="Freeform: Shape 104">
                      <a:extLst>
                        <a:ext uri="{FF2B5EF4-FFF2-40B4-BE49-F238E27FC236}">
                          <a16:creationId xmlns:a16="http://schemas.microsoft.com/office/drawing/2014/main" id="{7878473E-B225-544F-98C3-2257A414DB7D}"/>
                        </a:ext>
                      </a:extLst>
                    </p:cNvPr>
                    <p:cNvSpPr/>
                    <p:nvPr/>
                  </p:nvSpPr>
                  <p:spPr>
                    <a:xfrm>
                      <a:off x="9465006" y="2726326"/>
                      <a:ext cx="79206" cy="44258"/>
                    </a:xfrm>
                    <a:custGeom>
                      <a:avLst/>
                      <a:gdLst>
                        <a:gd name="connsiteX0" fmla="*/ 26447 w 79206"/>
                        <a:gd name="connsiteY0" fmla="*/ 44258 h 44258"/>
                        <a:gd name="connsiteX1" fmla="*/ 0 w 79206"/>
                        <a:gd name="connsiteY1" fmla="*/ 30900 h 44258"/>
                        <a:gd name="connsiteX2" fmla="*/ 21994 w 79206"/>
                        <a:gd name="connsiteY2" fmla="*/ 12009 h 44258"/>
                        <a:gd name="connsiteX3" fmla="*/ 56133 w 79206"/>
                        <a:gd name="connsiteY3" fmla="*/ 0 h 44258"/>
                        <a:gd name="connsiteX4" fmla="*/ 79206 w 79206"/>
                        <a:gd name="connsiteY4" fmla="*/ 16327 h 44258"/>
                        <a:gd name="connsiteX5" fmla="*/ 75833 w 79206"/>
                        <a:gd name="connsiteY5" fmla="*/ 23478 h 44258"/>
                        <a:gd name="connsiteX6" fmla="*/ 39131 w 79206"/>
                        <a:gd name="connsiteY6" fmla="*/ 35218 h 44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06" h="44258">
                          <a:moveTo>
                            <a:pt x="26447" y="44258"/>
                          </a:moveTo>
                          <a:lnTo>
                            <a:pt x="0" y="30900"/>
                          </a:lnTo>
                          <a:lnTo>
                            <a:pt x="21994" y="12009"/>
                          </a:lnTo>
                          <a:lnTo>
                            <a:pt x="56133" y="0"/>
                          </a:lnTo>
                          <a:lnTo>
                            <a:pt x="79206" y="16327"/>
                          </a:lnTo>
                          <a:lnTo>
                            <a:pt x="75833" y="23478"/>
                          </a:lnTo>
                          <a:lnTo>
                            <a:pt x="39131" y="35218"/>
                          </a:lnTo>
                          <a:close/>
                        </a:path>
                      </a:pathLst>
                    </a:custGeom>
                    <a:solidFill>
                      <a:srgbClr val="FFAB84"/>
                    </a:solidFill>
                    <a:ln w="1349" cap="flat">
                      <a:noFill/>
                      <a:prstDash val="solid"/>
                      <a:miter/>
                    </a:ln>
                  </p:spPr>
                  <p:txBody>
                    <a:bodyPr rtlCol="0" anchor="ctr"/>
                    <a:lstStyle/>
                    <a:p>
                      <a:endParaRPr lang="en-IN">
                        <a:latin typeface="+mn-lt"/>
                      </a:endParaRPr>
                    </a:p>
                  </p:txBody>
                </p:sp>
                <p:sp>
                  <p:nvSpPr>
                    <p:cNvPr id="240" name="Freeform: Shape 105">
                      <a:extLst>
                        <a:ext uri="{FF2B5EF4-FFF2-40B4-BE49-F238E27FC236}">
                          <a16:creationId xmlns:a16="http://schemas.microsoft.com/office/drawing/2014/main" id="{D2F21BBC-E2E5-4D49-844E-426E4EAA6A9B}"/>
                        </a:ext>
                      </a:extLst>
                    </p:cNvPr>
                    <p:cNvSpPr/>
                    <p:nvPr/>
                  </p:nvSpPr>
                  <p:spPr>
                    <a:xfrm>
                      <a:off x="9377165" y="2750749"/>
                      <a:ext cx="133179" cy="229926"/>
                    </a:xfrm>
                    <a:custGeom>
                      <a:avLst/>
                      <a:gdLst>
                        <a:gd name="connsiteX0" fmla="*/ 133179 w 133179"/>
                        <a:gd name="connsiteY0" fmla="*/ 229927 h 229926"/>
                        <a:gd name="connsiteX1" fmla="*/ 125488 w 133179"/>
                        <a:gd name="connsiteY1" fmla="*/ 153285 h 229926"/>
                        <a:gd name="connsiteX2" fmla="*/ 62474 w 133179"/>
                        <a:gd name="connsiteY2" fmla="*/ 93374 h 229926"/>
                        <a:gd name="connsiteX3" fmla="*/ 114694 w 133179"/>
                        <a:gd name="connsiteY3" fmla="*/ 34948 h 229926"/>
                        <a:gd name="connsiteX4" fmla="*/ 91080 w 133179"/>
                        <a:gd name="connsiteY4" fmla="*/ 0 h 229926"/>
                        <a:gd name="connsiteX5" fmla="*/ 0 w 133179"/>
                        <a:gd name="connsiteY5" fmla="*/ 88247 h 229926"/>
                        <a:gd name="connsiteX6" fmla="*/ 8771 w 133179"/>
                        <a:gd name="connsiteY6" fmla="*/ 110511 h 229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79" h="229926">
                          <a:moveTo>
                            <a:pt x="133179" y="229927"/>
                          </a:moveTo>
                          <a:lnTo>
                            <a:pt x="125488" y="153285"/>
                          </a:lnTo>
                          <a:lnTo>
                            <a:pt x="62474" y="93374"/>
                          </a:lnTo>
                          <a:lnTo>
                            <a:pt x="114694" y="34948"/>
                          </a:lnTo>
                          <a:lnTo>
                            <a:pt x="91080" y="0"/>
                          </a:lnTo>
                          <a:lnTo>
                            <a:pt x="0" y="88247"/>
                          </a:lnTo>
                          <a:lnTo>
                            <a:pt x="8771" y="110511"/>
                          </a:lnTo>
                          <a:close/>
                        </a:path>
                      </a:pathLst>
                    </a:custGeom>
                    <a:solidFill>
                      <a:srgbClr val="00588F"/>
                    </a:solidFill>
                    <a:ln w="1349" cap="flat">
                      <a:noFill/>
                      <a:prstDash val="solid"/>
                      <a:miter/>
                    </a:ln>
                  </p:spPr>
                  <p:txBody>
                    <a:bodyPr rtlCol="0" anchor="ctr"/>
                    <a:lstStyle/>
                    <a:p>
                      <a:endParaRPr lang="en-IN">
                        <a:latin typeface="+mn-lt"/>
                      </a:endParaRPr>
                    </a:p>
                  </p:txBody>
                </p:sp>
                <p:sp>
                  <p:nvSpPr>
                    <p:cNvPr id="241" name="Freeform: Shape 106">
                      <a:extLst>
                        <a:ext uri="{FF2B5EF4-FFF2-40B4-BE49-F238E27FC236}">
                          <a16:creationId xmlns:a16="http://schemas.microsoft.com/office/drawing/2014/main" id="{A52CFD24-E07B-034A-8365-A2878FABA61D}"/>
                        </a:ext>
                      </a:extLst>
                    </p:cNvPr>
                    <p:cNvSpPr/>
                    <p:nvPr/>
                  </p:nvSpPr>
                  <p:spPr>
                    <a:xfrm>
                      <a:off x="9469729" y="2748050"/>
                      <a:ext cx="26986" cy="35757"/>
                    </a:xfrm>
                    <a:custGeom>
                      <a:avLst/>
                      <a:gdLst>
                        <a:gd name="connsiteX0" fmla="*/ 0 w 26986"/>
                        <a:gd name="connsiteY0" fmla="*/ 4318 h 35757"/>
                        <a:gd name="connsiteX1" fmla="*/ 5937 w 26986"/>
                        <a:gd name="connsiteY1" fmla="*/ 0 h 35757"/>
                        <a:gd name="connsiteX2" fmla="*/ 26987 w 26986"/>
                        <a:gd name="connsiteY2" fmla="*/ 29550 h 35757"/>
                        <a:gd name="connsiteX3" fmla="*/ 21320 w 26986"/>
                        <a:gd name="connsiteY3" fmla="*/ 35757 h 35757"/>
                      </a:gdLst>
                      <a:ahLst/>
                      <a:cxnLst>
                        <a:cxn ang="0">
                          <a:pos x="connsiteX0" y="connsiteY0"/>
                        </a:cxn>
                        <a:cxn ang="0">
                          <a:pos x="connsiteX1" y="connsiteY1"/>
                        </a:cxn>
                        <a:cxn ang="0">
                          <a:pos x="connsiteX2" y="connsiteY2"/>
                        </a:cxn>
                        <a:cxn ang="0">
                          <a:pos x="connsiteX3" y="connsiteY3"/>
                        </a:cxn>
                      </a:cxnLst>
                      <a:rect l="l" t="t" r="r" b="b"/>
                      <a:pathLst>
                        <a:path w="26986" h="35757">
                          <a:moveTo>
                            <a:pt x="0" y="4318"/>
                          </a:moveTo>
                          <a:lnTo>
                            <a:pt x="5937" y="0"/>
                          </a:lnTo>
                          <a:lnTo>
                            <a:pt x="26987" y="29550"/>
                          </a:lnTo>
                          <a:lnTo>
                            <a:pt x="21320" y="35757"/>
                          </a:lnTo>
                          <a:close/>
                        </a:path>
                      </a:pathLst>
                    </a:custGeom>
                    <a:solidFill>
                      <a:srgbClr val="FFFFFF"/>
                    </a:solidFill>
                    <a:ln w="1349" cap="flat">
                      <a:noFill/>
                      <a:prstDash val="solid"/>
                      <a:miter/>
                    </a:ln>
                  </p:spPr>
                  <p:txBody>
                    <a:bodyPr rtlCol="0" anchor="ctr"/>
                    <a:lstStyle/>
                    <a:p>
                      <a:endParaRPr lang="en-IN">
                        <a:latin typeface="+mn-lt"/>
                      </a:endParaRPr>
                    </a:p>
                  </p:txBody>
                </p:sp>
                <p:sp>
                  <p:nvSpPr>
                    <p:cNvPr id="242" name="Freeform: Shape 107">
                      <a:extLst>
                        <a:ext uri="{FF2B5EF4-FFF2-40B4-BE49-F238E27FC236}">
                          <a16:creationId xmlns:a16="http://schemas.microsoft.com/office/drawing/2014/main" id="{A89E853F-2BAF-AE4F-BE5E-AD416EDA44BC}"/>
                        </a:ext>
                      </a:extLst>
                    </p:cNvPr>
                    <p:cNvSpPr/>
                    <p:nvPr/>
                  </p:nvSpPr>
                  <p:spPr>
                    <a:xfrm>
                      <a:off x="9482818" y="2872324"/>
                      <a:ext cx="220346" cy="415055"/>
                    </a:xfrm>
                    <a:custGeom>
                      <a:avLst/>
                      <a:gdLst>
                        <a:gd name="connsiteX0" fmla="*/ 61934 w 220346"/>
                        <a:gd name="connsiteY0" fmla="*/ 4858 h 415055"/>
                        <a:gd name="connsiteX1" fmla="*/ 108891 w 220346"/>
                        <a:gd name="connsiteY1" fmla="*/ 1349 h 415055"/>
                        <a:gd name="connsiteX2" fmla="*/ 132100 w 220346"/>
                        <a:gd name="connsiteY2" fmla="*/ 0 h 415055"/>
                        <a:gd name="connsiteX3" fmla="*/ 168127 w 220346"/>
                        <a:gd name="connsiteY3" fmla="*/ 11874 h 415055"/>
                        <a:gd name="connsiteX4" fmla="*/ 205504 w 220346"/>
                        <a:gd name="connsiteY4" fmla="*/ 26717 h 415055"/>
                        <a:gd name="connsiteX5" fmla="*/ 211846 w 220346"/>
                        <a:gd name="connsiteY5" fmla="*/ 88786 h 415055"/>
                        <a:gd name="connsiteX6" fmla="*/ 216568 w 220346"/>
                        <a:gd name="connsiteY6" fmla="*/ 140601 h 415055"/>
                        <a:gd name="connsiteX7" fmla="*/ 202130 w 220346"/>
                        <a:gd name="connsiteY7" fmla="*/ 218862 h 415055"/>
                        <a:gd name="connsiteX8" fmla="*/ 207123 w 220346"/>
                        <a:gd name="connsiteY8" fmla="*/ 283091 h 415055"/>
                        <a:gd name="connsiteX9" fmla="*/ 220346 w 220346"/>
                        <a:gd name="connsiteY9" fmla="*/ 369853 h 415055"/>
                        <a:gd name="connsiteX10" fmla="*/ 195654 w 220346"/>
                        <a:gd name="connsiteY10" fmla="*/ 398189 h 415055"/>
                        <a:gd name="connsiteX11" fmla="*/ 143974 w 220346"/>
                        <a:gd name="connsiteY11" fmla="*/ 415056 h 415055"/>
                        <a:gd name="connsiteX12" fmla="*/ 124004 w 220346"/>
                        <a:gd name="connsiteY12" fmla="*/ 354740 h 415055"/>
                        <a:gd name="connsiteX13" fmla="*/ 43449 w 220346"/>
                        <a:gd name="connsiteY13" fmla="*/ 350288 h 415055"/>
                        <a:gd name="connsiteX14" fmla="*/ 31439 w 220346"/>
                        <a:gd name="connsiteY14" fmla="*/ 396300 h 415055"/>
                        <a:gd name="connsiteX15" fmla="*/ 17271 w 220346"/>
                        <a:gd name="connsiteY15" fmla="*/ 382537 h 415055"/>
                        <a:gd name="connsiteX16" fmla="*/ 10660 w 220346"/>
                        <a:gd name="connsiteY16" fmla="*/ 369043 h 415055"/>
                        <a:gd name="connsiteX17" fmla="*/ 9580 w 220346"/>
                        <a:gd name="connsiteY17" fmla="*/ 248683 h 415055"/>
                        <a:gd name="connsiteX18" fmla="*/ 7961 w 220346"/>
                        <a:gd name="connsiteY18" fmla="*/ 167857 h 415055"/>
                        <a:gd name="connsiteX19" fmla="*/ 0 w 220346"/>
                        <a:gd name="connsiteY19" fmla="*/ 91620 h 415055"/>
                        <a:gd name="connsiteX20" fmla="*/ 9580 w 220346"/>
                        <a:gd name="connsiteY20" fmla="*/ 18621 h 415055"/>
                        <a:gd name="connsiteX21" fmla="*/ 34003 w 220346"/>
                        <a:gd name="connsiteY21" fmla="*/ 10255 h 415055"/>
                        <a:gd name="connsiteX22" fmla="*/ 46282 w 220346"/>
                        <a:gd name="connsiteY22" fmla="*/ 9445 h 41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0346" h="415055">
                          <a:moveTo>
                            <a:pt x="61934" y="4858"/>
                          </a:moveTo>
                          <a:lnTo>
                            <a:pt x="108891" y="1349"/>
                          </a:lnTo>
                          <a:lnTo>
                            <a:pt x="132100" y="0"/>
                          </a:lnTo>
                          <a:lnTo>
                            <a:pt x="168127" y="11874"/>
                          </a:lnTo>
                          <a:lnTo>
                            <a:pt x="205504" y="26717"/>
                          </a:lnTo>
                          <a:lnTo>
                            <a:pt x="211846" y="88786"/>
                          </a:lnTo>
                          <a:lnTo>
                            <a:pt x="216568" y="140601"/>
                          </a:lnTo>
                          <a:lnTo>
                            <a:pt x="202130" y="218862"/>
                          </a:lnTo>
                          <a:lnTo>
                            <a:pt x="207123" y="283091"/>
                          </a:lnTo>
                          <a:lnTo>
                            <a:pt x="220346" y="369853"/>
                          </a:lnTo>
                          <a:lnTo>
                            <a:pt x="195654" y="398189"/>
                          </a:lnTo>
                          <a:lnTo>
                            <a:pt x="143974" y="415056"/>
                          </a:lnTo>
                          <a:lnTo>
                            <a:pt x="124004" y="354740"/>
                          </a:lnTo>
                          <a:lnTo>
                            <a:pt x="43449" y="350288"/>
                          </a:lnTo>
                          <a:lnTo>
                            <a:pt x="31439" y="396300"/>
                          </a:lnTo>
                          <a:lnTo>
                            <a:pt x="17271" y="382537"/>
                          </a:lnTo>
                          <a:lnTo>
                            <a:pt x="10660" y="369043"/>
                          </a:lnTo>
                          <a:lnTo>
                            <a:pt x="9580" y="248683"/>
                          </a:lnTo>
                          <a:lnTo>
                            <a:pt x="7961" y="167857"/>
                          </a:lnTo>
                          <a:lnTo>
                            <a:pt x="0" y="91620"/>
                          </a:lnTo>
                          <a:lnTo>
                            <a:pt x="9580" y="18621"/>
                          </a:lnTo>
                          <a:lnTo>
                            <a:pt x="34003" y="10255"/>
                          </a:lnTo>
                          <a:lnTo>
                            <a:pt x="46282" y="9445"/>
                          </a:lnTo>
                          <a:close/>
                        </a:path>
                      </a:pathLst>
                    </a:custGeom>
                    <a:solidFill>
                      <a:srgbClr val="187FBA"/>
                    </a:solidFill>
                    <a:ln w="1349" cap="flat">
                      <a:noFill/>
                      <a:prstDash val="solid"/>
                      <a:miter/>
                    </a:ln>
                  </p:spPr>
                  <p:txBody>
                    <a:bodyPr rtlCol="0" anchor="ctr"/>
                    <a:lstStyle/>
                    <a:p>
                      <a:endParaRPr lang="en-IN">
                        <a:latin typeface="+mn-lt"/>
                      </a:endParaRPr>
                    </a:p>
                  </p:txBody>
                </p:sp>
                <p:sp>
                  <p:nvSpPr>
                    <p:cNvPr id="243" name="Freeform: Shape 108">
                      <a:extLst>
                        <a:ext uri="{FF2B5EF4-FFF2-40B4-BE49-F238E27FC236}">
                          <a16:creationId xmlns:a16="http://schemas.microsoft.com/office/drawing/2014/main" id="{6D8625A8-CAE7-3045-95BB-7F75AAAAB9D8}"/>
                        </a:ext>
                      </a:extLst>
                    </p:cNvPr>
                    <p:cNvSpPr/>
                    <p:nvPr/>
                  </p:nvSpPr>
                  <p:spPr>
                    <a:xfrm>
                      <a:off x="9538006" y="2832518"/>
                      <a:ext cx="66792" cy="149236"/>
                    </a:xfrm>
                    <a:custGeom>
                      <a:avLst/>
                      <a:gdLst>
                        <a:gd name="connsiteX0" fmla="*/ 65982 w 66792"/>
                        <a:gd name="connsiteY0" fmla="*/ 63959 h 149236"/>
                        <a:gd name="connsiteX1" fmla="*/ 25233 w 66792"/>
                        <a:gd name="connsiteY1" fmla="*/ 149237 h 149236"/>
                        <a:gd name="connsiteX2" fmla="*/ 0 w 66792"/>
                        <a:gd name="connsiteY2" fmla="*/ 75968 h 149236"/>
                        <a:gd name="connsiteX3" fmla="*/ 6342 w 66792"/>
                        <a:gd name="connsiteY3" fmla="*/ 57482 h 149236"/>
                        <a:gd name="connsiteX4" fmla="*/ 9445 w 66792"/>
                        <a:gd name="connsiteY4" fmla="*/ 54918 h 149236"/>
                        <a:gd name="connsiteX5" fmla="*/ 6207 w 66792"/>
                        <a:gd name="connsiteY5" fmla="*/ 4992 h 149236"/>
                        <a:gd name="connsiteX6" fmla="*/ 62609 w 66792"/>
                        <a:gd name="connsiteY6" fmla="*/ 0 h 149236"/>
                        <a:gd name="connsiteX7" fmla="*/ 66792 w 66792"/>
                        <a:gd name="connsiteY7" fmla="*/ 38456 h 14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792" h="149236">
                          <a:moveTo>
                            <a:pt x="65982" y="63959"/>
                          </a:moveTo>
                          <a:lnTo>
                            <a:pt x="25233" y="149237"/>
                          </a:lnTo>
                          <a:lnTo>
                            <a:pt x="0" y="75968"/>
                          </a:lnTo>
                          <a:lnTo>
                            <a:pt x="6342" y="57482"/>
                          </a:lnTo>
                          <a:lnTo>
                            <a:pt x="9445" y="54918"/>
                          </a:lnTo>
                          <a:lnTo>
                            <a:pt x="6207" y="4992"/>
                          </a:lnTo>
                          <a:lnTo>
                            <a:pt x="62609" y="0"/>
                          </a:lnTo>
                          <a:lnTo>
                            <a:pt x="66792" y="38456"/>
                          </a:lnTo>
                          <a:close/>
                        </a:path>
                      </a:pathLst>
                    </a:custGeom>
                    <a:solidFill>
                      <a:srgbClr val="FF9380"/>
                    </a:solidFill>
                    <a:ln w="1349" cap="flat">
                      <a:noFill/>
                      <a:prstDash val="solid"/>
                      <a:miter/>
                    </a:ln>
                  </p:spPr>
                  <p:txBody>
                    <a:bodyPr rtlCol="0" anchor="ctr"/>
                    <a:lstStyle/>
                    <a:p>
                      <a:endParaRPr lang="en-IN">
                        <a:latin typeface="+mn-lt"/>
                      </a:endParaRPr>
                    </a:p>
                  </p:txBody>
                </p:sp>
                <p:sp>
                  <p:nvSpPr>
                    <p:cNvPr id="244" name="Freeform: Shape 109">
                      <a:extLst>
                        <a:ext uri="{FF2B5EF4-FFF2-40B4-BE49-F238E27FC236}">
                          <a16:creationId xmlns:a16="http://schemas.microsoft.com/office/drawing/2014/main" id="{74A22F29-9C1D-0C4B-82B4-6A2724D55377}"/>
                        </a:ext>
                      </a:extLst>
                    </p:cNvPr>
                    <p:cNvSpPr/>
                    <p:nvPr/>
                  </p:nvSpPr>
                  <p:spPr>
                    <a:xfrm>
                      <a:off x="9519520" y="2851679"/>
                      <a:ext cx="92159" cy="380142"/>
                    </a:xfrm>
                    <a:custGeom>
                      <a:avLst/>
                      <a:gdLst>
                        <a:gd name="connsiteX0" fmla="*/ 51949 w 92159"/>
                        <a:gd name="connsiteY0" fmla="*/ 16192 h 380142"/>
                        <a:gd name="connsiteX1" fmla="*/ 82984 w 92159"/>
                        <a:gd name="connsiteY1" fmla="*/ 0 h 380142"/>
                        <a:gd name="connsiteX2" fmla="*/ 87032 w 92159"/>
                        <a:gd name="connsiteY2" fmla="*/ 1889 h 380142"/>
                        <a:gd name="connsiteX3" fmla="*/ 92160 w 92159"/>
                        <a:gd name="connsiteY3" fmla="*/ 21994 h 380142"/>
                        <a:gd name="connsiteX4" fmla="*/ 84334 w 92159"/>
                        <a:gd name="connsiteY4" fmla="*/ 59641 h 380142"/>
                        <a:gd name="connsiteX5" fmla="*/ 81635 w 92159"/>
                        <a:gd name="connsiteY5" fmla="*/ 109296 h 380142"/>
                        <a:gd name="connsiteX6" fmla="*/ 85548 w 92159"/>
                        <a:gd name="connsiteY6" fmla="*/ 245579 h 380142"/>
                        <a:gd name="connsiteX7" fmla="*/ 89056 w 92159"/>
                        <a:gd name="connsiteY7" fmla="*/ 379433 h 380142"/>
                        <a:gd name="connsiteX8" fmla="*/ 7152 w 92159"/>
                        <a:gd name="connsiteY8" fmla="*/ 370798 h 380142"/>
                        <a:gd name="connsiteX9" fmla="*/ 0 w 92159"/>
                        <a:gd name="connsiteY9" fmla="*/ 242476 h 380142"/>
                        <a:gd name="connsiteX10" fmla="*/ 0 w 92159"/>
                        <a:gd name="connsiteY10" fmla="*/ 133180 h 380142"/>
                        <a:gd name="connsiteX11" fmla="*/ 5802 w 92159"/>
                        <a:gd name="connsiteY11" fmla="*/ 78666 h 380142"/>
                        <a:gd name="connsiteX12" fmla="*/ 19565 w 92159"/>
                        <a:gd name="connsiteY12" fmla="*/ 41964 h 380142"/>
                        <a:gd name="connsiteX13" fmla="*/ 25097 w 92159"/>
                        <a:gd name="connsiteY13" fmla="*/ 31979 h 380142"/>
                        <a:gd name="connsiteX14" fmla="*/ 26582 w 92159"/>
                        <a:gd name="connsiteY14" fmla="*/ 14303 h 380142"/>
                        <a:gd name="connsiteX15" fmla="*/ 51949 w 92159"/>
                        <a:gd name="connsiteY15" fmla="*/ 16192 h 38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2159" h="380142">
                          <a:moveTo>
                            <a:pt x="51949" y="16192"/>
                          </a:moveTo>
                          <a:cubicBezTo>
                            <a:pt x="78261" y="14438"/>
                            <a:pt x="82984" y="0"/>
                            <a:pt x="82984" y="0"/>
                          </a:cubicBezTo>
                          <a:lnTo>
                            <a:pt x="87032" y="1889"/>
                          </a:lnTo>
                          <a:lnTo>
                            <a:pt x="92160" y="21994"/>
                          </a:lnTo>
                          <a:lnTo>
                            <a:pt x="84334" y="59641"/>
                          </a:lnTo>
                          <a:lnTo>
                            <a:pt x="81635" y="109296"/>
                          </a:lnTo>
                          <a:lnTo>
                            <a:pt x="85548" y="245579"/>
                          </a:lnTo>
                          <a:lnTo>
                            <a:pt x="89056" y="379433"/>
                          </a:lnTo>
                          <a:cubicBezTo>
                            <a:pt x="49251" y="382402"/>
                            <a:pt x="28876" y="375385"/>
                            <a:pt x="7152" y="370798"/>
                          </a:cubicBezTo>
                          <a:lnTo>
                            <a:pt x="0" y="242476"/>
                          </a:lnTo>
                          <a:lnTo>
                            <a:pt x="0" y="133180"/>
                          </a:lnTo>
                          <a:lnTo>
                            <a:pt x="5802" y="78666"/>
                          </a:lnTo>
                          <a:lnTo>
                            <a:pt x="19565" y="41964"/>
                          </a:lnTo>
                          <a:lnTo>
                            <a:pt x="25097" y="31979"/>
                          </a:lnTo>
                          <a:lnTo>
                            <a:pt x="26582" y="14303"/>
                          </a:lnTo>
                          <a:cubicBezTo>
                            <a:pt x="26042" y="14573"/>
                            <a:pt x="38456" y="17002"/>
                            <a:pt x="51949" y="16192"/>
                          </a:cubicBezTo>
                          <a:close/>
                        </a:path>
                      </a:pathLst>
                    </a:custGeom>
                    <a:solidFill>
                      <a:srgbClr val="FFFFFF"/>
                    </a:solidFill>
                    <a:ln w="1349" cap="flat">
                      <a:noFill/>
                      <a:prstDash val="solid"/>
                      <a:miter/>
                    </a:ln>
                  </p:spPr>
                  <p:txBody>
                    <a:bodyPr rtlCol="0" anchor="ctr"/>
                    <a:lstStyle/>
                    <a:p>
                      <a:endParaRPr lang="en-IN">
                        <a:latin typeface="+mn-lt"/>
                      </a:endParaRPr>
                    </a:p>
                  </p:txBody>
                </p:sp>
                <p:sp>
                  <p:nvSpPr>
                    <p:cNvPr id="245" name="Freeform: Shape 110">
                      <a:extLst>
                        <a:ext uri="{FF2B5EF4-FFF2-40B4-BE49-F238E27FC236}">
                          <a16:creationId xmlns:a16="http://schemas.microsoft.com/office/drawing/2014/main" id="{6C32ED41-BA70-EB47-AAAF-924EA0CA9B40}"/>
                        </a:ext>
                      </a:extLst>
                    </p:cNvPr>
                    <p:cNvSpPr/>
                    <p:nvPr/>
                  </p:nvSpPr>
                  <p:spPr>
                    <a:xfrm>
                      <a:off x="9662549" y="3645898"/>
                      <a:ext cx="67196" cy="68141"/>
                    </a:xfrm>
                    <a:custGeom>
                      <a:avLst/>
                      <a:gdLst>
                        <a:gd name="connsiteX0" fmla="*/ 47632 w 67196"/>
                        <a:gd name="connsiteY0" fmla="*/ 0 h 68141"/>
                        <a:gd name="connsiteX1" fmla="*/ 61260 w 67196"/>
                        <a:gd name="connsiteY1" fmla="*/ 29820 h 68141"/>
                        <a:gd name="connsiteX2" fmla="*/ 67197 w 67196"/>
                        <a:gd name="connsiteY2" fmla="*/ 67871 h 68141"/>
                        <a:gd name="connsiteX3" fmla="*/ 6072 w 67196"/>
                        <a:gd name="connsiteY3" fmla="*/ 68141 h 68141"/>
                        <a:gd name="connsiteX4" fmla="*/ 0 w 67196"/>
                        <a:gd name="connsiteY4" fmla="*/ 64363 h 68141"/>
                        <a:gd name="connsiteX5" fmla="*/ 2968 w 67196"/>
                        <a:gd name="connsiteY5" fmla="*/ 32384 h 68141"/>
                        <a:gd name="connsiteX6" fmla="*/ 21589 w 67196"/>
                        <a:gd name="connsiteY6" fmla="*/ 810 h 68141"/>
                        <a:gd name="connsiteX7" fmla="*/ 47632 w 67196"/>
                        <a:gd name="connsiteY7" fmla="*/ 0 h 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196" h="68141">
                          <a:moveTo>
                            <a:pt x="47632" y="0"/>
                          </a:moveTo>
                          <a:cubicBezTo>
                            <a:pt x="50465" y="3103"/>
                            <a:pt x="61260" y="29820"/>
                            <a:pt x="61260" y="29820"/>
                          </a:cubicBezTo>
                          <a:lnTo>
                            <a:pt x="67197" y="67871"/>
                          </a:lnTo>
                          <a:lnTo>
                            <a:pt x="6072" y="68141"/>
                          </a:lnTo>
                          <a:lnTo>
                            <a:pt x="0" y="64363"/>
                          </a:lnTo>
                          <a:cubicBezTo>
                            <a:pt x="0" y="64363"/>
                            <a:pt x="1080" y="33329"/>
                            <a:pt x="2968" y="32384"/>
                          </a:cubicBezTo>
                          <a:cubicBezTo>
                            <a:pt x="4723" y="31574"/>
                            <a:pt x="21589" y="810"/>
                            <a:pt x="21589" y="810"/>
                          </a:cubicBezTo>
                          <a:lnTo>
                            <a:pt x="47632" y="0"/>
                          </a:lnTo>
                          <a:close/>
                        </a:path>
                      </a:pathLst>
                    </a:custGeom>
                    <a:solidFill>
                      <a:srgbClr val="002B69"/>
                    </a:solidFill>
                    <a:ln w="1349" cap="flat">
                      <a:noFill/>
                      <a:prstDash val="solid"/>
                      <a:miter/>
                    </a:ln>
                  </p:spPr>
                  <p:txBody>
                    <a:bodyPr rtlCol="0" anchor="ctr"/>
                    <a:lstStyle/>
                    <a:p>
                      <a:endParaRPr lang="en-IN">
                        <a:latin typeface="+mn-lt"/>
                      </a:endParaRPr>
                    </a:p>
                  </p:txBody>
                </p:sp>
                <p:sp>
                  <p:nvSpPr>
                    <p:cNvPr id="246" name="Freeform: Shape 111">
                      <a:extLst>
                        <a:ext uri="{FF2B5EF4-FFF2-40B4-BE49-F238E27FC236}">
                          <a16:creationId xmlns:a16="http://schemas.microsoft.com/office/drawing/2014/main" id="{8333B632-E1BE-5E45-8F60-5FC4AF903F8E}"/>
                        </a:ext>
                      </a:extLst>
                    </p:cNvPr>
                    <p:cNvSpPr/>
                    <p:nvPr/>
                  </p:nvSpPr>
                  <p:spPr>
                    <a:xfrm>
                      <a:off x="9450704" y="3644953"/>
                      <a:ext cx="97286" cy="70030"/>
                    </a:xfrm>
                    <a:custGeom>
                      <a:avLst/>
                      <a:gdLst>
                        <a:gd name="connsiteX0" fmla="*/ 54918 w 97286"/>
                        <a:gd name="connsiteY0" fmla="*/ 4183 h 70030"/>
                        <a:gd name="connsiteX1" fmla="*/ 54918 w 97286"/>
                        <a:gd name="connsiteY1" fmla="*/ 4183 h 70030"/>
                        <a:gd name="connsiteX2" fmla="*/ 31979 w 97286"/>
                        <a:gd name="connsiteY2" fmla="*/ 33464 h 70030"/>
                        <a:gd name="connsiteX3" fmla="*/ 0 w 97286"/>
                        <a:gd name="connsiteY3" fmla="*/ 48171 h 70030"/>
                        <a:gd name="connsiteX4" fmla="*/ 7421 w 97286"/>
                        <a:gd name="connsiteY4" fmla="*/ 70031 h 70030"/>
                        <a:gd name="connsiteX5" fmla="*/ 91485 w 97286"/>
                        <a:gd name="connsiteY5" fmla="*/ 69626 h 70030"/>
                        <a:gd name="connsiteX6" fmla="*/ 97287 w 97286"/>
                        <a:gd name="connsiteY6" fmla="*/ 60045 h 70030"/>
                        <a:gd name="connsiteX7" fmla="*/ 95128 w 97286"/>
                        <a:gd name="connsiteY7" fmla="*/ 29011 h 70030"/>
                        <a:gd name="connsiteX8" fmla="*/ 86627 w 97286"/>
                        <a:gd name="connsiteY8" fmla="*/ 0 h 70030"/>
                        <a:gd name="connsiteX9" fmla="*/ 54918 w 97286"/>
                        <a:gd name="connsiteY9" fmla="*/ 4183 h 7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286" h="70030">
                          <a:moveTo>
                            <a:pt x="54918" y="4183"/>
                          </a:moveTo>
                          <a:cubicBezTo>
                            <a:pt x="52354" y="7152"/>
                            <a:pt x="54918" y="4183"/>
                            <a:pt x="54918" y="4183"/>
                          </a:cubicBezTo>
                          <a:lnTo>
                            <a:pt x="31979" y="33464"/>
                          </a:lnTo>
                          <a:lnTo>
                            <a:pt x="0" y="48171"/>
                          </a:lnTo>
                          <a:lnTo>
                            <a:pt x="7421" y="70031"/>
                          </a:lnTo>
                          <a:lnTo>
                            <a:pt x="91485" y="69626"/>
                          </a:lnTo>
                          <a:lnTo>
                            <a:pt x="97287" y="60045"/>
                          </a:lnTo>
                          <a:cubicBezTo>
                            <a:pt x="97287" y="60045"/>
                            <a:pt x="97017" y="29685"/>
                            <a:pt x="95128" y="29011"/>
                          </a:cubicBezTo>
                          <a:cubicBezTo>
                            <a:pt x="93374" y="28336"/>
                            <a:pt x="86627" y="0"/>
                            <a:pt x="86627" y="0"/>
                          </a:cubicBezTo>
                          <a:lnTo>
                            <a:pt x="54918" y="4183"/>
                          </a:lnTo>
                          <a:close/>
                        </a:path>
                      </a:pathLst>
                    </a:custGeom>
                    <a:solidFill>
                      <a:srgbClr val="002B69"/>
                    </a:solidFill>
                    <a:ln w="1349" cap="flat">
                      <a:noFill/>
                      <a:prstDash val="solid"/>
                      <a:miter/>
                    </a:ln>
                  </p:spPr>
                  <p:txBody>
                    <a:bodyPr rtlCol="0" anchor="ctr"/>
                    <a:lstStyle/>
                    <a:p>
                      <a:endParaRPr lang="en-IN">
                        <a:latin typeface="+mn-lt"/>
                      </a:endParaRPr>
                    </a:p>
                  </p:txBody>
                </p:sp>
                <p:sp>
                  <p:nvSpPr>
                    <p:cNvPr id="247" name="Freeform: Shape 112">
                      <a:extLst>
                        <a:ext uri="{FF2B5EF4-FFF2-40B4-BE49-F238E27FC236}">
                          <a16:creationId xmlns:a16="http://schemas.microsoft.com/office/drawing/2014/main" id="{2EBA98D5-E061-1843-893C-0153E4413BFA}"/>
                        </a:ext>
                      </a:extLst>
                    </p:cNvPr>
                    <p:cNvSpPr/>
                    <p:nvPr/>
                  </p:nvSpPr>
                  <p:spPr>
                    <a:xfrm>
                      <a:off x="9544213" y="2863013"/>
                      <a:ext cx="36297" cy="23030"/>
                    </a:xfrm>
                    <a:custGeom>
                      <a:avLst/>
                      <a:gdLst>
                        <a:gd name="connsiteX0" fmla="*/ 0 w 36297"/>
                        <a:gd name="connsiteY0" fmla="*/ 20915 h 23030"/>
                        <a:gd name="connsiteX1" fmla="*/ 36297 w 36297"/>
                        <a:gd name="connsiteY1" fmla="*/ 20105 h 23030"/>
                        <a:gd name="connsiteX2" fmla="*/ 33733 w 36297"/>
                        <a:gd name="connsiteY2" fmla="*/ 4318 h 23030"/>
                        <a:gd name="connsiteX3" fmla="*/ 0 w 36297"/>
                        <a:gd name="connsiteY3" fmla="*/ 0 h 23030"/>
                        <a:gd name="connsiteX4" fmla="*/ 0 w 36297"/>
                        <a:gd name="connsiteY4" fmla="*/ 20915 h 23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97" h="23030">
                          <a:moveTo>
                            <a:pt x="0" y="20915"/>
                          </a:moveTo>
                          <a:cubicBezTo>
                            <a:pt x="0" y="20915"/>
                            <a:pt x="22129" y="26177"/>
                            <a:pt x="36297" y="20105"/>
                          </a:cubicBezTo>
                          <a:lnTo>
                            <a:pt x="33733" y="4318"/>
                          </a:lnTo>
                          <a:cubicBezTo>
                            <a:pt x="21454" y="6072"/>
                            <a:pt x="8231" y="3913"/>
                            <a:pt x="0" y="0"/>
                          </a:cubicBezTo>
                          <a:lnTo>
                            <a:pt x="0" y="20915"/>
                          </a:lnTo>
                          <a:close/>
                        </a:path>
                      </a:pathLst>
                    </a:custGeom>
                    <a:solidFill>
                      <a:srgbClr val="E0EAEB"/>
                    </a:solidFill>
                    <a:ln w="1349" cap="flat">
                      <a:noFill/>
                      <a:prstDash val="solid"/>
                      <a:miter/>
                    </a:ln>
                  </p:spPr>
                  <p:txBody>
                    <a:bodyPr rtlCol="0" anchor="ctr"/>
                    <a:lstStyle/>
                    <a:p>
                      <a:endParaRPr lang="en-IN">
                        <a:latin typeface="+mn-lt"/>
                      </a:endParaRPr>
                    </a:p>
                  </p:txBody>
                </p:sp>
                <p:sp>
                  <p:nvSpPr>
                    <p:cNvPr id="248" name="Freeform: Shape 113">
                      <a:extLst>
                        <a:ext uri="{FF2B5EF4-FFF2-40B4-BE49-F238E27FC236}">
                          <a16:creationId xmlns:a16="http://schemas.microsoft.com/office/drawing/2014/main" id="{60A5D3D1-0E46-7D4A-BFC7-53A2D665D074}"/>
                        </a:ext>
                      </a:extLst>
                    </p:cNvPr>
                    <p:cNvSpPr/>
                    <p:nvPr/>
                  </p:nvSpPr>
                  <p:spPr>
                    <a:xfrm>
                      <a:off x="9513807" y="2739880"/>
                      <a:ext cx="109164" cy="137031"/>
                    </a:xfrm>
                    <a:custGeom>
                      <a:avLst/>
                      <a:gdLst>
                        <a:gd name="connsiteX0" fmla="*/ 18801 w 109164"/>
                        <a:gd name="connsiteY0" fmla="*/ 1828 h 137031"/>
                        <a:gd name="connsiteX1" fmla="*/ 70480 w 109164"/>
                        <a:gd name="connsiteY1" fmla="*/ 209 h 137031"/>
                        <a:gd name="connsiteX2" fmla="*/ 108262 w 109164"/>
                        <a:gd name="connsiteY2" fmla="*/ 62413 h 137031"/>
                        <a:gd name="connsiteX3" fmla="*/ 77227 w 109164"/>
                        <a:gd name="connsiteY3" fmla="*/ 99520 h 137031"/>
                        <a:gd name="connsiteX4" fmla="*/ 74528 w 109164"/>
                        <a:gd name="connsiteY4" fmla="*/ 116252 h 137031"/>
                        <a:gd name="connsiteX5" fmla="*/ 39580 w 109164"/>
                        <a:gd name="connsiteY5" fmla="*/ 137032 h 137031"/>
                        <a:gd name="connsiteX6" fmla="*/ 14078 w 109164"/>
                        <a:gd name="connsiteY6" fmla="*/ 137032 h 137031"/>
                        <a:gd name="connsiteX7" fmla="*/ 180 w 109164"/>
                        <a:gd name="connsiteY7" fmla="*/ 92638 h 137031"/>
                        <a:gd name="connsiteX8" fmla="*/ 180 w 109164"/>
                        <a:gd name="connsiteY8" fmla="*/ 50539 h 137031"/>
                        <a:gd name="connsiteX9" fmla="*/ 4228 w 109164"/>
                        <a:gd name="connsiteY9" fmla="*/ 17211 h 137031"/>
                        <a:gd name="connsiteX10" fmla="*/ 18801 w 109164"/>
                        <a:gd name="connsiteY10" fmla="*/ 1828 h 137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164" h="137031">
                          <a:moveTo>
                            <a:pt x="18801" y="1828"/>
                          </a:moveTo>
                          <a:cubicBezTo>
                            <a:pt x="18801" y="1828"/>
                            <a:pt x="58471" y="-736"/>
                            <a:pt x="70480" y="209"/>
                          </a:cubicBezTo>
                          <a:cubicBezTo>
                            <a:pt x="106913" y="3043"/>
                            <a:pt x="111635" y="21259"/>
                            <a:pt x="108262" y="62413"/>
                          </a:cubicBezTo>
                          <a:cubicBezTo>
                            <a:pt x="106103" y="87646"/>
                            <a:pt x="77227" y="99520"/>
                            <a:pt x="77227" y="99520"/>
                          </a:cubicBezTo>
                          <a:lnTo>
                            <a:pt x="74528" y="116252"/>
                          </a:lnTo>
                          <a:cubicBezTo>
                            <a:pt x="66837" y="119355"/>
                            <a:pt x="39580" y="137032"/>
                            <a:pt x="39580" y="137032"/>
                          </a:cubicBezTo>
                          <a:lnTo>
                            <a:pt x="14078" y="137032"/>
                          </a:lnTo>
                          <a:lnTo>
                            <a:pt x="180" y="92638"/>
                          </a:lnTo>
                          <a:cubicBezTo>
                            <a:pt x="180" y="92638"/>
                            <a:pt x="-225" y="52698"/>
                            <a:pt x="180" y="50539"/>
                          </a:cubicBezTo>
                          <a:cubicBezTo>
                            <a:pt x="180" y="50539"/>
                            <a:pt x="-495" y="30029"/>
                            <a:pt x="4228" y="17211"/>
                          </a:cubicBezTo>
                          <a:cubicBezTo>
                            <a:pt x="8006" y="7091"/>
                            <a:pt x="18801" y="1828"/>
                            <a:pt x="18801" y="1828"/>
                          </a:cubicBezTo>
                          <a:close/>
                        </a:path>
                      </a:pathLst>
                    </a:custGeom>
                    <a:solidFill>
                      <a:srgbClr val="FFAB84"/>
                    </a:solidFill>
                    <a:ln w="1349" cap="flat">
                      <a:noFill/>
                      <a:prstDash val="solid"/>
                      <a:miter/>
                    </a:ln>
                  </p:spPr>
                  <p:txBody>
                    <a:bodyPr rtlCol="0" anchor="ctr"/>
                    <a:lstStyle/>
                    <a:p>
                      <a:endParaRPr lang="en-IN">
                        <a:latin typeface="+mn-lt"/>
                      </a:endParaRPr>
                    </a:p>
                  </p:txBody>
                </p:sp>
                <p:sp>
                  <p:nvSpPr>
                    <p:cNvPr id="249" name="Freeform: Shape 114">
                      <a:extLst>
                        <a:ext uri="{FF2B5EF4-FFF2-40B4-BE49-F238E27FC236}">
                          <a16:creationId xmlns:a16="http://schemas.microsoft.com/office/drawing/2014/main" id="{2BFA92D7-8FBA-E34D-A56F-0FADA1998A5A}"/>
                        </a:ext>
                      </a:extLst>
                    </p:cNvPr>
                    <p:cNvSpPr/>
                    <p:nvPr/>
                  </p:nvSpPr>
                  <p:spPr>
                    <a:xfrm>
                      <a:off x="9510614" y="2724062"/>
                      <a:ext cx="119740" cy="122894"/>
                    </a:xfrm>
                    <a:custGeom>
                      <a:avLst/>
                      <a:gdLst>
                        <a:gd name="connsiteX0" fmla="*/ 13628 w 119740"/>
                        <a:gd name="connsiteY0" fmla="*/ 7391 h 122894"/>
                        <a:gd name="connsiteX1" fmla="*/ 34813 w 119740"/>
                        <a:gd name="connsiteY1" fmla="*/ 240 h 122894"/>
                        <a:gd name="connsiteX2" fmla="*/ 73674 w 119740"/>
                        <a:gd name="connsiteY2" fmla="*/ 240 h 122894"/>
                        <a:gd name="connsiteX3" fmla="*/ 118877 w 119740"/>
                        <a:gd name="connsiteY3" fmla="*/ 79176 h 122894"/>
                        <a:gd name="connsiteX4" fmla="*/ 104034 w 119740"/>
                        <a:gd name="connsiteY4" fmla="*/ 111290 h 122894"/>
                        <a:gd name="connsiteX5" fmla="*/ 91755 w 119740"/>
                        <a:gd name="connsiteY5" fmla="*/ 122894 h 122894"/>
                        <a:gd name="connsiteX6" fmla="*/ 82445 w 119740"/>
                        <a:gd name="connsiteY6" fmla="*/ 96852 h 122894"/>
                        <a:gd name="connsiteX7" fmla="*/ 64093 w 119740"/>
                        <a:gd name="connsiteY7" fmla="*/ 84978 h 122894"/>
                        <a:gd name="connsiteX8" fmla="*/ 76373 w 119740"/>
                        <a:gd name="connsiteY8" fmla="*/ 50165 h 122894"/>
                        <a:gd name="connsiteX9" fmla="*/ 54918 w 119740"/>
                        <a:gd name="connsiteY9" fmla="*/ 31140 h 122894"/>
                        <a:gd name="connsiteX10" fmla="*/ 15248 w 119740"/>
                        <a:gd name="connsiteY10" fmla="*/ 36807 h 122894"/>
                        <a:gd name="connsiteX11" fmla="*/ 6477 w 119740"/>
                        <a:gd name="connsiteY11" fmla="*/ 36537 h 122894"/>
                        <a:gd name="connsiteX12" fmla="*/ 0 w 119740"/>
                        <a:gd name="connsiteY12" fmla="*/ 28711 h 122894"/>
                        <a:gd name="connsiteX13" fmla="*/ 0 w 119740"/>
                        <a:gd name="connsiteY13" fmla="*/ 15217 h 122894"/>
                        <a:gd name="connsiteX14" fmla="*/ 13628 w 119740"/>
                        <a:gd name="connsiteY14" fmla="*/ 7391 h 12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740" h="122894">
                          <a:moveTo>
                            <a:pt x="13628" y="7391"/>
                          </a:moveTo>
                          <a:lnTo>
                            <a:pt x="34813" y="240"/>
                          </a:lnTo>
                          <a:cubicBezTo>
                            <a:pt x="34813" y="240"/>
                            <a:pt x="65848" y="-300"/>
                            <a:pt x="73674" y="240"/>
                          </a:cubicBezTo>
                          <a:cubicBezTo>
                            <a:pt x="109026" y="2939"/>
                            <a:pt x="123599" y="39506"/>
                            <a:pt x="118877" y="79176"/>
                          </a:cubicBezTo>
                          <a:lnTo>
                            <a:pt x="104034" y="111290"/>
                          </a:lnTo>
                          <a:lnTo>
                            <a:pt x="91755" y="122894"/>
                          </a:lnTo>
                          <a:lnTo>
                            <a:pt x="82445" y="96852"/>
                          </a:lnTo>
                          <a:cubicBezTo>
                            <a:pt x="77047" y="95503"/>
                            <a:pt x="64093" y="84978"/>
                            <a:pt x="64093" y="84978"/>
                          </a:cubicBezTo>
                          <a:lnTo>
                            <a:pt x="76373" y="50165"/>
                          </a:lnTo>
                          <a:lnTo>
                            <a:pt x="54918" y="31140"/>
                          </a:lnTo>
                          <a:lnTo>
                            <a:pt x="15248" y="36807"/>
                          </a:lnTo>
                          <a:lnTo>
                            <a:pt x="6477" y="36537"/>
                          </a:lnTo>
                          <a:lnTo>
                            <a:pt x="0" y="28711"/>
                          </a:lnTo>
                          <a:lnTo>
                            <a:pt x="0" y="15217"/>
                          </a:lnTo>
                          <a:lnTo>
                            <a:pt x="13628" y="7391"/>
                          </a:lnTo>
                          <a:close/>
                        </a:path>
                      </a:pathLst>
                    </a:custGeom>
                    <a:solidFill>
                      <a:srgbClr val="36587A"/>
                    </a:solidFill>
                    <a:ln w="1349" cap="flat">
                      <a:noFill/>
                      <a:prstDash val="solid"/>
                      <a:miter/>
                    </a:ln>
                  </p:spPr>
                  <p:txBody>
                    <a:bodyPr rtlCol="0" anchor="ctr"/>
                    <a:lstStyle/>
                    <a:p>
                      <a:endParaRPr lang="en-IN">
                        <a:latin typeface="+mn-lt"/>
                      </a:endParaRPr>
                    </a:p>
                  </p:txBody>
                </p:sp>
                <p:sp>
                  <p:nvSpPr>
                    <p:cNvPr id="250" name="Freeform: Shape 115">
                      <a:extLst>
                        <a:ext uri="{FF2B5EF4-FFF2-40B4-BE49-F238E27FC236}">
                          <a16:creationId xmlns:a16="http://schemas.microsoft.com/office/drawing/2014/main" id="{929CCB87-D7DD-DB41-91B6-4F1CB35B0426}"/>
                        </a:ext>
                      </a:extLst>
                    </p:cNvPr>
                    <p:cNvSpPr/>
                    <p:nvPr/>
                  </p:nvSpPr>
                  <p:spPr>
                    <a:xfrm>
                      <a:off x="9580467" y="2804986"/>
                      <a:ext cx="23619" cy="34060"/>
                    </a:xfrm>
                    <a:custGeom>
                      <a:avLst/>
                      <a:gdLst>
                        <a:gd name="connsiteX0" fmla="*/ 42 w 23619"/>
                        <a:gd name="connsiteY0" fmla="*/ 19841 h 34060"/>
                        <a:gd name="connsiteX1" fmla="*/ 9623 w 23619"/>
                        <a:gd name="connsiteY1" fmla="*/ 33739 h 34060"/>
                        <a:gd name="connsiteX2" fmla="*/ 23116 w 23619"/>
                        <a:gd name="connsiteY2" fmla="*/ 18627 h 34060"/>
                        <a:gd name="connsiteX3" fmla="*/ 10837 w 23619"/>
                        <a:gd name="connsiteY3" fmla="*/ 6 h 34060"/>
                        <a:gd name="connsiteX4" fmla="*/ 42 w 23619"/>
                        <a:gd name="connsiteY4" fmla="*/ 19841 h 34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9" h="34060">
                          <a:moveTo>
                            <a:pt x="42" y="19841"/>
                          </a:moveTo>
                          <a:cubicBezTo>
                            <a:pt x="447" y="29961"/>
                            <a:pt x="987" y="35493"/>
                            <a:pt x="9623" y="33739"/>
                          </a:cubicBezTo>
                          <a:cubicBezTo>
                            <a:pt x="14210" y="32795"/>
                            <a:pt x="19877" y="31850"/>
                            <a:pt x="23116" y="18627"/>
                          </a:cubicBezTo>
                          <a:cubicBezTo>
                            <a:pt x="25410" y="8777"/>
                            <a:pt x="19608" y="-264"/>
                            <a:pt x="10837" y="6"/>
                          </a:cubicBezTo>
                          <a:cubicBezTo>
                            <a:pt x="2066" y="276"/>
                            <a:pt x="-363" y="9721"/>
                            <a:pt x="42" y="19841"/>
                          </a:cubicBezTo>
                          <a:close/>
                        </a:path>
                      </a:pathLst>
                    </a:custGeom>
                    <a:solidFill>
                      <a:srgbClr val="FFAB84"/>
                    </a:solidFill>
                    <a:ln w="1349" cap="flat">
                      <a:noFill/>
                      <a:prstDash val="solid"/>
                      <a:miter/>
                    </a:ln>
                  </p:spPr>
                  <p:txBody>
                    <a:bodyPr rtlCol="0" anchor="ctr"/>
                    <a:lstStyle/>
                    <a:p>
                      <a:endParaRPr lang="en-IN">
                        <a:latin typeface="+mn-lt"/>
                      </a:endParaRPr>
                    </a:p>
                  </p:txBody>
                </p:sp>
              </p:grpSp>
              <p:grpSp>
                <p:nvGrpSpPr>
                  <p:cNvPr id="234" name="Graphic 1">
                    <a:extLst>
                      <a:ext uri="{FF2B5EF4-FFF2-40B4-BE49-F238E27FC236}">
                        <a16:creationId xmlns:a16="http://schemas.microsoft.com/office/drawing/2014/main" id="{50EF91F8-51F4-684F-B958-EAD689558879}"/>
                      </a:ext>
                    </a:extLst>
                  </p:cNvPr>
                  <p:cNvGrpSpPr/>
                  <p:nvPr/>
                </p:nvGrpSpPr>
                <p:grpSpPr>
                  <a:xfrm>
                    <a:off x="9643793" y="2892699"/>
                    <a:ext cx="113479" cy="384965"/>
                    <a:chOff x="9643793" y="2892699"/>
                    <a:chExt cx="113479" cy="384965"/>
                  </a:xfrm>
                  <a:solidFill>
                    <a:schemeClr val="accent1"/>
                  </a:solidFill>
                </p:grpSpPr>
                <p:sp>
                  <p:nvSpPr>
                    <p:cNvPr id="235" name="Freeform: Shape 100">
                      <a:extLst>
                        <a:ext uri="{FF2B5EF4-FFF2-40B4-BE49-F238E27FC236}">
                          <a16:creationId xmlns:a16="http://schemas.microsoft.com/office/drawing/2014/main" id="{9F2F79C2-FB2D-D847-849D-7B222F572AB4}"/>
                        </a:ext>
                      </a:extLst>
                    </p:cNvPr>
                    <p:cNvSpPr/>
                    <p:nvPr/>
                  </p:nvSpPr>
                  <p:spPr>
                    <a:xfrm>
                      <a:off x="9694124" y="3222476"/>
                      <a:ext cx="54243" cy="55187"/>
                    </a:xfrm>
                    <a:custGeom>
                      <a:avLst/>
                      <a:gdLst>
                        <a:gd name="connsiteX0" fmla="*/ 32384 w 54243"/>
                        <a:gd name="connsiteY0" fmla="*/ 0 h 55187"/>
                        <a:gd name="connsiteX1" fmla="*/ 22534 w 54243"/>
                        <a:gd name="connsiteY1" fmla="*/ 3104 h 55187"/>
                        <a:gd name="connsiteX2" fmla="*/ 2699 w 54243"/>
                        <a:gd name="connsiteY2" fmla="*/ 22264 h 55187"/>
                        <a:gd name="connsiteX3" fmla="*/ 0 w 54243"/>
                        <a:gd name="connsiteY3" fmla="*/ 51275 h 55187"/>
                        <a:gd name="connsiteX4" fmla="*/ 43314 w 54243"/>
                        <a:gd name="connsiteY4" fmla="*/ 55188 h 55187"/>
                        <a:gd name="connsiteX5" fmla="*/ 54243 w 54243"/>
                        <a:gd name="connsiteY5" fmla="*/ 20780 h 55187"/>
                        <a:gd name="connsiteX6" fmla="*/ 52894 w 54243"/>
                        <a:gd name="connsiteY6" fmla="*/ 4048 h 55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43" h="55187">
                          <a:moveTo>
                            <a:pt x="32384" y="0"/>
                          </a:moveTo>
                          <a:lnTo>
                            <a:pt x="22534" y="3104"/>
                          </a:lnTo>
                          <a:lnTo>
                            <a:pt x="2699" y="22264"/>
                          </a:lnTo>
                          <a:lnTo>
                            <a:pt x="0" y="51275"/>
                          </a:lnTo>
                          <a:lnTo>
                            <a:pt x="43314" y="55188"/>
                          </a:lnTo>
                          <a:lnTo>
                            <a:pt x="54243" y="20780"/>
                          </a:lnTo>
                          <a:lnTo>
                            <a:pt x="52894" y="4048"/>
                          </a:lnTo>
                          <a:close/>
                        </a:path>
                      </a:pathLst>
                    </a:custGeom>
                    <a:solidFill>
                      <a:srgbClr val="FFAB84"/>
                    </a:solidFill>
                    <a:ln w="1349" cap="flat">
                      <a:noFill/>
                      <a:prstDash val="solid"/>
                      <a:miter/>
                    </a:ln>
                  </p:spPr>
                  <p:txBody>
                    <a:bodyPr rtlCol="0" anchor="ctr"/>
                    <a:lstStyle/>
                    <a:p>
                      <a:endParaRPr lang="en-IN">
                        <a:latin typeface="+mn-lt"/>
                      </a:endParaRPr>
                    </a:p>
                  </p:txBody>
                </p:sp>
                <p:sp>
                  <p:nvSpPr>
                    <p:cNvPr id="236" name="Freeform: Shape 101">
                      <a:extLst>
                        <a:ext uri="{FF2B5EF4-FFF2-40B4-BE49-F238E27FC236}">
                          <a16:creationId xmlns:a16="http://schemas.microsoft.com/office/drawing/2014/main" id="{258E11B0-5C12-954D-92D9-8C0872B18DDA}"/>
                        </a:ext>
                      </a:extLst>
                    </p:cNvPr>
                    <p:cNvSpPr/>
                    <p:nvPr/>
                  </p:nvSpPr>
                  <p:spPr>
                    <a:xfrm>
                      <a:off x="9708966" y="3214110"/>
                      <a:ext cx="43853" cy="17136"/>
                    </a:xfrm>
                    <a:custGeom>
                      <a:avLst/>
                      <a:gdLst>
                        <a:gd name="connsiteX0" fmla="*/ 43853 w 43853"/>
                        <a:gd name="connsiteY0" fmla="*/ 5802 h 17136"/>
                        <a:gd name="connsiteX1" fmla="*/ 43853 w 43853"/>
                        <a:gd name="connsiteY1" fmla="*/ 17136 h 17136"/>
                        <a:gd name="connsiteX2" fmla="*/ 0 w 43853"/>
                        <a:gd name="connsiteY2" fmla="*/ 11064 h 17136"/>
                        <a:gd name="connsiteX3" fmla="*/ 1349 w 43853"/>
                        <a:gd name="connsiteY3" fmla="*/ 0 h 17136"/>
                      </a:gdLst>
                      <a:ahLst/>
                      <a:cxnLst>
                        <a:cxn ang="0">
                          <a:pos x="connsiteX0" y="connsiteY0"/>
                        </a:cxn>
                        <a:cxn ang="0">
                          <a:pos x="connsiteX1" y="connsiteY1"/>
                        </a:cxn>
                        <a:cxn ang="0">
                          <a:pos x="connsiteX2" y="connsiteY2"/>
                        </a:cxn>
                        <a:cxn ang="0">
                          <a:pos x="connsiteX3" y="connsiteY3"/>
                        </a:cxn>
                      </a:cxnLst>
                      <a:rect l="l" t="t" r="r" b="b"/>
                      <a:pathLst>
                        <a:path w="43853" h="17136">
                          <a:moveTo>
                            <a:pt x="43853" y="5802"/>
                          </a:moveTo>
                          <a:lnTo>
                            <a:pt x="43853" y="17136"/>
                          </a:lnTo>
                          <a:lnTo>
                            <a:pt x="0" y="11064"/>
                          </a:lnTo>
                          <a:lnTo>
                            <a:pt x="1349" y="0"/>
                          </a:lnTo>
                          <a:close/>
                        </a:path>
                      </a:pathLst>
                    </a:custGeom>
                    <a:solidFill>
                      <a:srgbClr val="FFFFFF"/>
                    </a:solidFill>
                    <a:ln w="1349" cap="flat">
                      <a:noFill/>
                      <a:prstDash val="solid"/>
                      <a:miter/>
                    </a:ln>
                  </p:spPr>
                  <p:txBody>
                    <a:bodyPr rtlCol="0" anchor="ctr"/>
                    <a:lstStyle/>
                    <a:p>
                      <a:endParaRPr lang="en-IN">
                        <a:latin typeface="+mn-lt"/>
                      </a:endParaRPr>
                    </a:p>
                  </p:txBody>
                </p:sp>
                <p:sp>
                  <p:nvSpPr>
                    <p:cNvPr id="237" name="Freeform: Shape 102">
                      <a:extLst>
                        <a:ext uri="{FF2B5EF4-FFF2-40B4-BE49-F238E27FC236}">
                          <a16:creationId xmlns:a16="http://schemas.microsoft.com/office/drawing/2014/main" id="{923E5EC0-6CCA-904E-B494-70BAA1EB5F70}"/>
                        </a:ext>
                      </a:extLst>
                    </p:cNvPr>
                    <p:cNvSpPr/>
                    <p:nvPr/>
                  </p:nvSpPr>
                  <p:spPr>
                    <a:xfrm>
                      <a:off x="9643793" y="2892699"/>
                      <a:ext cx="113479" cy="330992"/>
                    </a:xfrm>
                    <a:custGeom>
                      <a:avLst/>
                      <a:gdLst>
                        <a:gd name="connsiteX0" fmla="*/ 44528 w 113479"/>
                        <a:gd name="connsiteY0" fmla="*/ 6342 h 330992"/>
                        <a:gd name="connsiteX1" fmla="*/ 113479 w 113479"/>
                        <a:gd name="connsiteY1" fmla="*/ 167048 h 330992"/>
                        <a:gd name="connsiteX2" fmla="*/ 112805 w 113479"/>
                        <a:gd name="connsiteY2" fmla="*/ 330992 h 330992"/>
                        <a:gd name="connsiteX3" fmla="*/ 65308 w 113479"/>
                        <a:gd name="connsiteY3" fmla="*/ 323571 h 330992"/>
                        <a:gd name="connsiteX4" fmla="*/ 60316 w 113479"/>
                        <a:gd name="connsiteY4" fmla="*/ 186883 h 330992"/>
                        <a:gd name="connsiteX5" fmla="*/ 14303 w 113479"/>
                        <a:gd name="connsiteY5" fmla="*/ 88247 h 330992"/>
                        <a:gd name="connsiteX6" fmla="*/ 0 w 113479"/>
                        <a:gd name="connsiteY6" fmla="*/ 35353 h 330992"/>
                        <a:gd name="connsiteX7" fmla="*/ 19970 w 113479"/>
                        <a:gd name="connsiteY7" fmla="*/ 0 h 33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479" h="330992">
                          <a:moveTo>
                            <a:pt x="44528" y="6342"/>
                          </a:moveTo>
                          <a:lnTo>
                            <a:pt x="113479" y="167048"/>
                          </a:lnTo>
                          <a:lnTo>
                            <a:pt x="112805" y="330992"/>
                          </a:lnTo>
                          <a:lnTo>
                            <a:pt x="65308" y="323571"/>
                          </a:lnTo>
                          <a:lnTo>
                            <a:pt x="60316" y="186883"/>
                          </a:lnTo>
                          <a:lnTo>
                            <a:pt x="14303" y="88247"/>
                          </a:lnTo>
                          <a:lnTo>
                            <a:pt x="0" y="35353"/>
                          </a:lnTo>
                          <a:lnTo>
                            <a:pt x="19970" y="0"/>
                          </a:lnTo>
                          <a:close/>
                        </a:path>
                      </a:pathLst>
                    </a:custGeom>
                    <a:solidFill>
                      <a:srgbClr val="2891C7"/>
                    </a:solidFill>
                    <a:ln w="1349" cap="flat">
                      <a:noFill/>
                      <a:prstDash val="solid"/>
                      <a:miter/>
                    </a:ln>
                  </p:spPr>
                  <p:txBody>
                    <a:bodyPr rtlCol="0" anchor="ctr"/>
                    <a:lstStyle/>
                    <a:p>
                      <a:endParaRPr lang="en-IN">
                        <a:latin typeface="+mn-lt"/>
                      </a:endParaRPr>
                    </a:p>
                  </p:txBody>
                </p:sp>
              </p:grpSp>
            </p:grpSp>
            <p:sp>
              <p:nvSpPr>
                <p:cNvPr id="151" name="Freeform: Shape 17">
                  <a:extLst>
                    <a:ext uri="{FF2B5EF4-FFF2-40B4-BE49-F238E27FC236}">
                      <a16:creationId xmlns:a16="http://schemas.microsoft.com/office/drawing/2014/main" id="{23A88379-4915-2645-8448-F810F6C57643}"/>
                    </a:ext>
                  </a:extLst>
                </p:cNvPr>
                <p:cNvSpPr/>
                <p:nvPr/>
              </p:nvSpPr>
              <p:spPr>
                <a:xfrm flipH="1">
                  <a:off x="-461482" y="4689682"/>
                  <a:ext cx="31867" cy="12883"/>
                </a:xfrm>
                <a:custGeom>
                  <a:avLst/>
                  <a:gdLst>
                    <a:gd name="connsiteX0" fmla="*/ 11907 w 27060"/>
                    <a:gd name="connsiteY0" fmla="*/ 0 h 10940"/>
                    <a:gd name="connsiteX1" fmla="*/ 26750 w 27060"/>
                    <a:gd name="connsiteY1" fmla="*/ 2024 h 10940"/>
                    <a:gd name="connsiteX2" fmla="*/ 5970 w 27060"/>
                    <a:gd name="connsiteY2" fmla="*/ 10795 h 10940"/>
                    <a:gd name="connsiteX3" fmla="*/ 2461 w 27060"/>
                    <a:gd name="connsiteY3" fmla="*/ 2024 h 10940"/>
                    <a:gd name="connsiteX4" fmla="*/ 11907 w 27060"/>
                    <a:gd name="connsiteY4" fmla="*/ 0 h 10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60" h="10940">
                      <a:moveTo>
                        <a:pt x="11907" y="0"/>
                      </a:moveTo>
                      <a:cubicBezTo>
                        <a:pt x="13391" y="0"/>
                        <a:pt x="24321" y="3913"/>
                        <a:pt x="26750" y="2024"/>
                      </a:cubicBezTo>
                      <a:cubicBezTo>
                        <a:pt x="29178" y="0"/>
                        <a:pt x="16900" y="12414"/>
                        <a:pt x="5970" y="10795"/>
                      </a:cubicBezTo>
                      <a:cubicBezTo>
                        <a:pt x="-4960" y="9175"/>
                        <a:pt x="2461" y="2024"/>
                        <a:pt x="2461" y="2024"/>
                      </a:cubicBezTo>
                      <a:lnTo>
                        <a:pt x="11907" y="0"/>
                      </a:lnTo>
                      <a:close/>
                    </a:path>
                  </a:pathLst>
                </a:custGeom>
                <a:solidFill>
                  <a:srgbClr val="FFBC95"/>
                </a:solidFill>
                <a:ln w="1349" cap="flat">
                  <a:noFill/>
                  <a:prstDash val="solid"/>
                  <a:miter/>
                </a:ln>
              </p:spPr>
              <p:txBody>
                <a:bodyPr rtlCol="0" anchor="ctr"/>
                <a:lstStyle/>
                <a:p>
                  <a:endParaRPr lang="en-IN">
                    <a:latin typeface="+mn-lt"/>
                  </a:endParaRPr>
                </a:p>
              </p:txBody>
            </p:sp>
            <p:grpSp>
              <p:nvGrpSpPr>
                <p:cNvPr id="152" name="Graphic 1">
                  <a:extLst>
                    <a:ext uri="{FF2B5EF4-FFF2-40B4-BE49-F238E27FC236}">
                      <a16:creationId xmlns:a16="http://schemas.microsoft.com/office/drawing/2014/main" id="{D8395411-B6D1-FF45-8A37-04E447F154AC}"/>
                    </a:ext>
                  </a:extLst>
                </p:cNvPr>
                <p:cNvGrpSpPr/>
                <p:nvPr/>
              </p:nvGrpSpPr>
              <p:grpSpPr>
                <a:xfrm flipH="1">
                  <a:off x="882878" y="4516001"/>
                  <a:ext cx="679465" cy="1255644"/>
                  <a:chOff x="8327651" y="2630927"/>
                  <a:chExt cx="576976" cy="1066245"/>
                </a:xfrm>
                <a:solidFill>
                  <a:schemeClr val="accent1"/>
                </a:solidFill>
              </p:grpSpPr>
              <p:sp>
                <p:nvSpPr>
                  <p:cNvPr id="218" name="Freeform: Shape 83">
                    <a:extLst>
                      <a:ext uri="{FF2B5EF4-FFF2-40B4-BE49-F238E27FC236}">
                        <a16:creationId xmlns:a16="http://schemas.microsoft.com/office/drawing/2014/main" id="{67FCB548-0644-3247-BED2-551CDD3C67EA}"/>
                      </a:ext>
                    </a:extLst>
                  </p:cNvPr>
                  <p:cNvSpPr/>
                  <p:nvPr/>
                </p:nvSpPr>
                <p:spPr>
                  <a:xfrm>
                    <a:off x="8430201" y="2630927"/>
                    <a:ext cx="73538" cy="147752"/>
                  </a:xfrm>
                  <a:custGeom>
                    <a:avLst/>
                    <a:gdLst>
                      <a:gd name="connsiteX0" fmla="*/ 13628 w 73538"/>
                      <a:gd name="connsiteY0" fmla="*/ 0 h 147752"/>
                      <a:gd name="connsiteX1" fmla="*/ 41694 w 73538"/>
                      <a:gd name="connsiteY1" fmla="*/ 54513 h 147752"/>
                      <a:gd name="connsiteX2" fmla="*/ 37916 w 73538"/>
                      <a:gd name="connsiteY2" fmla="*/ 74618 h 147752"/>
                      <a:gd name="connsiteX3" fmla="*/ 66117 w 73538"/>
                      <a:gd name="connsiteY3" fmla="*/ 111455 h 147752"/>
                      <a:gd name="connsiteX4" fmla="*/ 73539 w 73538"/>
                      <a:gd name="connsiteY4" fmla="*/ 147752 h 147752"/>
                      <a:gd name="connsiteX5" fmla="*/ 9310 w 73538"/>
                      <a:gd name="connsiteY5" fmla="*/ 94858 h 147752"/>
                      <a:gd name="connsiteX6" fmla="*/ 0 w 73538"/>
                      <a:gd name="connsiteY6" fmla="*/ 64633 h 147752"/>
                      <a:gd name="connsiteX7" fmla="*/ 5397 w 73538"/>
                      <a:gd name="connsiteY7" fmla="*/ 19700 h 147752"/>
                      <a:gd name="connsiteX8" fmla="*/ 7826 w 73538"/>
                      <a:gd name="connsiteY8" fmla="*/ 2024 h 147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538" h="147752">
                        <a:moveTo>
                          <a:pt x="13628" y="0"/>
                        </a:moveTo>
                        <a:lnTo>
                          <a:pt x="41694" y="54513"/>
                        </a:lnTo>
                        <a:lnTo>
                          <a:pt x="37916" y="74618"/>
                        </a:lnTo>
                        <a:lnTo>
                          <a:pt x="66117" y="111455"/>
                        </a:lnTo>
                        <a:lnTo>
                          <a:pt x="73539" y="147752"/>
                        </a:lnTo>
                        <a:lnTo>
                          <a:pt x="9310" y="94858"/>
                        </a:lnTo>
                        <a:lnTo>
                          <a:pt x="0" y="64633"/>
                        </a:lnTo>
                        <a:lnTo>
                          <a:pt x="5397" y="19700"/>
                        </a:lnTo>
                        <a:lnTo>
                          <a:pt x="7826" y="2024"/>
                        </a:lnTo>
                        <a:close/>
                      </a:path>
                    </a:pathLst>
                  </a:custGeom>
                  <a:solidFill>
                    <a:srgbClr val="BD7351"/>
                  </a:solidFill>
                  <a:ln w="1349" cap="flat">
                    <a:noFill/>
                    <a:prstDash val="solid"/>
                    <a:miter/>
                  </a:ln>
                </p:spPr>
                <p:txBody>
                  <a:bodyPr rtlCol="0" anchor="ctr"/>
                  <a:lstStyle/>
                  <a:p>
                    <a:endParaRPr lang="en-IN">
                      <a:latin typeface="+mn-lt"/>
                    </a:endParaRPr>
                  </a:p>
                </p:txBody>
              </p:sp>
              <p:sp>
                <p:nvSpPr>
                  <p:cNvPr id="219" name="Freeform: Shape 84">
                    <a:extLst>
                      <a:ext uri="{FF2B5EF4-FFF2-40B4-BE49-F238E27FC236}">
                        <a16:creationId xmlns:a16="http://schemas.microsoft.com/office/drawing/2014/main" id="{F5E67A30-E488-6842-B728-BA361424CAD3}"/>
                      </a:ext>
                    </a:extLst>
                  </p:cNvPr>
                  <p:cNvSpPr/>
                  <p:nvPr/>
                </p:nvSpPr>
                <p:spPr>
                  <a:xfrm>
                    <a:off x="8858210" y="3179567"/>
                    <a:ext cx="41289" cy="54243"/>
                  </a:xfrm>
                  <a:custGeom>
                    <a:avLst/>
                    <a:gdLst>
                      <a:gd name="connsiteX0" fmla="*/ 14168 w 41289"/>
                      <a:gd name="connsiteY0" fmla="*/ 2294 h 54243"/>
                      <a:gd name="connsiteX1" fmla="*/ 36432 w 41289"/>
                      <a:gd name="connsiteY1" fmla="*/ 0 h 54243"/>
                      <a:gd name="connsiteX2" fmla="*/ 41290 w 41289"/>
                      <a:gd name="connsiteY2" fmla="*/ 19835 h 54243"/>
                      <a:gd name="connsiteX3" fmla="*/ 36297 w 41289"/>
                      <a:gd name="connsiteY3" fmla="*/ 50870 h 54243"/>
                      <a:gd name="connsiteX4" fmla="*/ 1754 w 41289"/>
                      <a:gd name="connsiteY4" fmla="*/ 54243 h 54243"/>
                      <a:gd name="connsiteX5" fmla="*/ 0 w 41289"/>
                      <a:gd name="connsiteY5" fmla="*/ 23344 h 5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89" h="54243">
                        <a:moveTo>
                          <a:pt x="14168" y="2294"/>
                        </a:moveTo>
                        <a:lnTo>
                          <a:pt x="36432" y="0"/>
                        </a:lnTo>
                        <a:lnTo>
                          <a:pt x="41290" y="19835"/>
                        </a:lnTo>
                        <a:lnTo>
                          <a:pt x="36297" y="50870"/>
                        </a:lnTo>
                        <a:lnTo>
                          <a:pt x="1754" y="54243"/>
                        </a:lnTo>
                        <a:lnTo>
                          <a:pt x="0" y="23344"/>
                        </a:lnTo>
                        <a:close/>
                      </a:path>
                    </a:pathLst>
                  </a:custGeom>
                  <a:solidFill>
                    <a:srgbClr val="BD7351"/>
                  </a:solidFill>
                  <a:ln w="1349" cap="flat">
                    <a:noFill/>
                    <a:prstDash val="solid"/>
                    <a:miter/>
                  </a:ln>
                </p:spPr>
                <p:txBody>
                  <a:bodyPr rtlCol="0" anchor="ctr"/>
                  <a:lstStyle/>
                  <a:p>
                    <a:endParaRPr lang="en-IN">
                      <a:latin typeface="+mn-lt"/>
                    </a:endParaRPr>
                  </a:p>
                </p:txBody>
              </p:sp>
              <p:sp>
                <p:nvSpPr>
                  <p:cNvPr id="220" name="Freeform: Shape 85">
                    <a:extLst>
                      <a:ext uri="{FF2B5EF4-FFF2-40B4-BE49-F238E27FC236}">
                        <a16:creationId xmlns:a16="http://schemas.microsoft.com/office/drawing/2014/main" id="{93D13E03-8823-0F49-9FB0-84AF1BBD4D0C}"/>
                      </a:ext>
                    </a:extLst>
                  </p:cNvPr>
                  <p:cNvSpPr/>
                  <p:nvPr/>
                </p:nvSpPr>
                <p:spPr>
                  <a:xfrm>
                    <a:off x="8866441" y="3172956"/>
                    <a:ext cx="34677" cy="9984"/>
                  </a:xfrm>
                  <a:custGeom>
                    <a:avLst/>
                    <a:gdLst>
                      <a:gd name="connsiteX0" fmla="*/ 34678 w 34677"/>
                      <a:gd name="connsiteY0" fmla="*/ 0 h 9984"/>
                      <a:gd name="connsiteX1" fmla="*/ 32789 w 34677"/>
                      <a:gd name="connsiteY1" fmla="*/ 9040 h 9984"/>
                      <a:gd name="connsiteX2" fmla="*/ 405 w 34677"/>
                      <a:gd name="connsiteY2" fmla="*/ 9985 h 9984"/>
                      <a:gd name="connsiteX3" fmla="*/ 0 w 34677"/>
                      <a:gd name="connsiteY3" fmla="*/ 1889 h 9984"/>
                    </a:gdLst>
                    <a:ahLst/>
                    <a:cxnLst>
                      <a:cxn ang="0">
                        <a:pos x="connsiteX0" y="connsiteY0"/>
                      </a:cxn>
                      <a:cxn ang="0">
                        <a:pos x="connsiteX1" y="connsiteY1"/>
                      </a:cxn>
                      <a:cxn ang="0">
                        <a:pos x="connsiteX2" y="connsiteY2"/>
                      </a:cxn>
                      <a:cxn ang="0">
                        <a:pos x="connsiteX3" y="connsiteY3"/>
                      </a:cxn>
                    </a:cxnLst>
                    <a:rect l="l" t="t" r="r" b="b"/>
                    <a:pathLst>
                      <a:path w="34677" h="9984">
                        <a:moveTo>
                          <a:pt x="34678" y="0"/>
                        </a:moveTo>
                        <a:lnTo>
                          <a:pt x="32789" y="9040"/>
                        </a:lnTo>
                        <a:lnTo>
                          <a:pt x="405" y="9985"/>
                        </a:lnTo>
                        <a:lnTo>
                          <a:pt x="0" y="1889"/>
                        </a:lnTo>
                        <a:close/>
                      </a:path>
                    </a:pathLst>
                  </a:custGeom>
                  <a:solidFill>
                    <a:srgbClr val="FFFFFF"/>
                  </a:solidFill>
                  <a:ln w="1349" cap="flat">
                    <a:noFill/>
                    <a:prstDash val="solid"/>
                    <a:miter/>
                  </a:ln>
                </p:spPr>
                <p:txBody>
                  <a:bodyPr rtlCol="0" anchor="ctr"/>
                  <a:lstStyle/>
                  <a:p>
                    <a:endParaRPr lang="en-IN">
                      <a:latin typeface="+mn-lt"/>
                    </a:endParaRPr>
                  </a:p>
                </p:txBody>
              </p:sp>
              <p:sp>
                <p:nvSpPr>
                  <p:cNvPr id="221" name="Freeform: Shape 86">
                    <a:extLst>
                      <a:ext uri="{FF2B5EF4-FFF2-40B4-BE49-F238E27FC236}">
                        <a16:creationId xmlns:a16="http://schemas.microsoft.com/office/drawing/2014/main" id="{E85A4A61-17CF-DD41-8C7D-4DDCEA09EEE5}"/>
                      </a:ext>
                    </a:extLst>
                  </p:cNvPr>
                  <p:cNvSpPr/>
                  <p:nvPr/>
                </p:nvSpPr>
                <p:spPr>
                  <a:xfrm>
                    <a:off x="8461910" y="2711078"/>
                    <a:ext cx="208607" cy="246388"/>
                  </a:xfrm>
                  <a:custGeom>
                    <a:avLst/>
                    <a:gdLst>
                      <a:gd name="connsiteX0" fmla="*/ 205909 w 208607"/>
                      <a:gd name="connsiteY0" fmla="*/ 190121 h 246388"/>
                      <a:gd name="connsiteX1" fmla="*/ 208607 w 208607"/>
                      <a:gd name="connsiteY1" fmla="*/ 177573 h 246388"/>
                      <a:gd name="connsiteX2" fmla="*/ 117392 w 208607"/>
                      <a:gd name="connsiteY2" fmla="*/ 116313 h 246388"/>
                      <a:gd name="connsiteX3" fmla="*/ 19700 w 208607"/>
                      <a:gd name="connsiteY3" fmla="*/ 0 h 246388"/>
                      <a:gd name="connsiteX4" fmla="*/ 0 w 208607"/>
                      <a:gd name="connsiteY4" fmla="*/ 38456 h 246388"/>
                      <a:gd name="connsiteX5" fmla="*/ 76102 w 208607"/>
                      <a:gd name="connsiteY5" fmla="*/ 142085 h 246388"/>
                      <a:gd name="connsiteX6" fmla="*/ 183915 w 208607"/>
                      <a:gd name="connsiteY6" fmla="*/ 246389 h 24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07" h="246388">
                        <a:moveTo>
                          <a:pt x="205909" y="190121"/>
                        </a:moveTo>
                        <a:lnTo>
                          <a:pt x="208607" y="177573"/>
                        </a:lnTo>
                        <a:lnTo>
                          <a:pt x="117392" y="116313"/>
                        </a:lnTo>
                        <a:lnTo>
                          <a:pt x="19700" y="0"/>
                        </a:lnTo>
                        <a:lnTo>
                          <a:pt x="0" y="38456"/>
                        </a:lnTo>
                        <a:lnTo>
                          <a:pt x="76102" y="142085"/>
                        </a:lnTo>
                        <a:lnTo>
                          <a:pt x="183915" y="246389"/>
                        </a:lnTo>
                        <a:close/>
                      </a:path>
                    </a:pathLst>
                  </a:custGeom>
                  <a:solidFill>
                    <a:srgbClr val="105785"/>
                  </a:solidFill>
                  <a:ln w="1349" cap="flat">
                    <a:noFill/>
                    <a:prstDash val="solid"/>
                    <a:miter/>
                  </a:ln>
                </p:spPr>
                <p:txBody>
                  <a:bodyPr rtlCol="0" anchor="ctr"/>
                  <a:lstStyle/>
                  <a:p>
                    <a:endParaRPr lang="en-IN">
                      <a:latin typeface="+mn-lt"/>
                    </a:endParaRPr>
                  </a:p>
                </p:txBody>
              </p:sp>
              <p:sp>
                <p:nvSpPr>
                  <p:cNvPr id="222" name="Freeform: Shape 87">
                    <a:extLst>
                      <a:ext uri="{FF2B5EF4-FFF2-40B4-BE49-F238E27FC236}">
                        <a16:creationId xmlns:a16="http://schemas.microsoft.com/office/drawing/2014/main" id="{A07AB2A3-443F-C940-B96B-6E12D32F9F60}"/>
                      </a:ext>
                    </a:extLst>
                  </p:cNvPr>
                  <p:cNvSpPr/>
                  <p:nvPr/>
                </p:nvSpPr>
                <p:spPr>
                  <a:xfrm>
                    <a:off x="8327651" y="2830629"/>
                    <a:ext cx="208607" cy="246388"/>
                  </a:xfrm>
                  <a:custGeom>
                    <a:avLst/>
                    <a:gdLst>
                      <a:gd name="connsiteX0" fmla="*/ 205909 w 208607"/>
                      <a:gd name="connsiteY0" fmla="*/ 190121 h 246388"/>
                      <a:gd name="connsiteX1" fmla="*/ 208607 w 208607"/>
                      <a:gd name="connsiteY1" fmla="*/ 177708 h 246388"/>
                      <a:gd name="connsiteX2" fmla="*/ 117392 w 208607"/>
                      <a:gd name="connsiteY2" fmla="*/ 116313 h 246388"/>
                      <a:gd name="connsiteX3" fmla="*/ 19565 w 208607"/>
                      <a:gd name="connsiteY3" fmla="*/ 0 h 246388"/>
                      <a:gd name="connsiteX4" fmla="*/ 0 w 208607"/>
                      <a:gd name="connsiteY4" fmla="*/ 38456 h 246388"/>
                      <a:gd name="connsiteX5" fmla="*/ 75968 w 208607"/>
                      <a:gd name="connsiteY5" fmla="*/ 142085 h 246388"/>
                      <a:gd name="connsiteX6" fmla="*/ 183915 w 208607"/>
                      <a:gd name="connsiteY6" fmla="*/ 246389 h 24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07" h="246388">
                        <a:moveTo>
                          <a:pt x="205909" y="190121"/>
                        </a:moveTo>
                        <a:lnTo>
                          <a:pt x="208607" y="177708"/>
                        </a:lnTo>
                        <a:lnTo>
                          <a:pt x="117392" y="116313"/>
                        </a:lnTo>
                        <a:lnTo>
                          <a:pt x="19565" y="0"/>
                        </a:lnTo>
                        <a:lnTo>
                          <a:pt x="0" y="38456"/>
                        </a:lnTo>
                        <a:lnTo>
                          <a:pt x="75968" y="142085"/>
                        </a:lnTo>
                        <a:lnTo>
                          <a:pt x="183915" y="246389"/>
                        </a:lnTo>
                        <a:close/>
                      </a:path>
                    </a:pathLst>
                  </a:custGeom>
                  <a:solidFill>
                    <a:srgbClr val="105785"/>
                  </a:solidFill>
                  <a:ln w="1349" cap="flat">
                    <a:noFill/>
                    <a:prstDash val="solid"/>
                    <a:miter/>
                  </a:ln>
                </p:spPr>
                <p:txBody>
                  <a:bodyPr rtlCol="0" anchor="ctr"/>
                  <a:lstStyle/>
                  <a:p>
                    <a:endParaRPr lang="en-IN">
                      <a:latin typeface="+mn-lt"/>
                    </a:endParaRPr>
                  </a:p>
                </p:txBody>
              </p:sp>
              <p:sp>
                <p:nvSpPr>
                  <p:cNvPr id="223" name="Freeform: Shape 88">
                    <a:extLst>
                      <a:ext uri="{FF2B5EF4-FFF2-40B4-BE49-F238E27FC236}">
                        <a16:creationId xmlns:a16="http://schemas.microsoft.com/office/drawing/2014/main" id="{8C8EE849-A04D-AB49-8024-0D3F379A960A}"/>
                      </a:ext>
                    </a:extLst>
                  </p:cNvPr>
                  <p:cNvSpPr/>
                  <p:nvPr/>
                </p:nvSpPr>
                <p:spPr>
                  <a:xfrm>
                    <a:off x="8611282" y="3648597"/>
                    <a:ext cx="84468" cy="48441"/>
                  </a:xfrm>
                  <a:custGeom>
                    <a:avLst/>
                    <a:gdLst>
                      <a:gd name="connsiteX0" fmla="*/ 59371 w 84468"/>
                      <a:gd name="connsiteY0" fmla="*/ 0 h 48441"/>
                      <a:gd name="connsiteX1" fmla="*/ 83254 w 84468"/>
                      <a:gd name="connsiteY1" fmla="*/ 12414 h 48441"/>
                      <a:gd name="connsiteX2" fmla="*/ 84469 w 84468"/>
                      <a:gd name="connsiteY2" fmla="*/ 48441 h 48441"/>
                      <a:gd name="connsiteX3" fmla="*/ 3373 w 84468"/>
                      <a:gd name="connsiteY3" fmla="*/ 43583 h 48441"/>
                      <a:gd name="connsiteX4" fmla="*/ 0 w 84468"/>
                      <a:gd name="connsiteY4" fmla="*/ 30495 h 48441"/>
                      <a:gd name="connsiteX5" fmla="*/ 56807 w 84468"/>
                      <a:gd name="connsiteY5" fmla="*/ 11469 h 4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8" h="48441">
                        <a:moveTo>
                          <a:pt x="59371" y="0"/>
                        </a:moveTo>
                        <a:lnTo>
                          <a:pt x="83254" y="12414"/>
                        </a:lnTo>
                        <a:lnTo>
                          <a:pt x="84469" y="48441"/>
                        </a:lnTo>
                        <a:lnTo>
                          <a:pt x="3373" y="43583"/>
                        </a:lnTo>
                        <a:lnTo>
                          <a:pt x="0" y="30495"/>
                        </a:lnTo>
                        <a:lnTo>
                          <a:pt x="56807" y="11469"/>
                        </a:lnTo>
                        <a:close/>
                      </a:path>
                    </a:pathLst>
                  </a:custGeom>
                  <a:solidFill>
                    <a:srgbClr val="002B69"/>
                  </a:solidFill>
                  <a:ln w="1349" cap="flat">
                    <a:noFill/>
                    <a:prstDash val="solid"/>
                    <a:miter/>
                  </a:ln>
                </p:spPr>
                <p:txBody>
                  <a:bodyPr rtlCol="0" anchor="ctr"/>
                  <a:lstStyle/>
                  <a:p>
                    <a:endParaRPr lang="en-IN">
                      <a:latin typeface="+mn-lt"/>
                    </a:endParaRPr>
                  </a:p>
                </p:txBody>
              </p:sp>
              <p:sp>
                <p:nvSpPr>
                  <p:cNvPr id="224" name="Freeform: Shape 89">
                    <a:extLst>
                      <a:ext uri="{FF2B5EF4-FFF2-40B4-BE49-F238E27FC236}">
                        <a16:creationId xmlns:a16="http://schemas.microsoft.com/office/drawing/2014/main" id="{5EA72F70-4233-DA49-90A9-59A3C2916EC3}"/>
                      </a:ext>
                    </a:extLst>
                  </p:cNvPr>
                  <p:cNvSpPr/>
                  <p:nvPr/>
                </p:nvSpPr>
                <p:spPr>
                  <a:xfrm>
                    <a:off x="8757280" y="3652780"/>
                    <a:ext cx="89056" cy="44393"/>
                  </a:xfrm>
                  <a:custGeom>
                    <a:avLst/>
                    <a:gdLst>
                      <a:gd name="connsiteX0" fmla="*/ 47092 w 89056"/>
                      <a:gd name="connsiteY0" fmla="*/ 5397 h 44393"/>
                      <a:gd name="connsiteX1" fmla="*/ 74753 w 89056"/>
                      <a:gd name="connsiteY1" fmla="*/ 0 h 44393"/>
                      <a:gd name="connsiteX2" fmla="*/ 89056 w 89056"/>
                      <a:gd name="connsiteY2" fmla="*/ 38726 h 44393"/>
                      <a:gd name="connsiteX3" fmla="*/ 44258 w 89056"/>
                      <a:gd name="connsiteY3" fmla="*/ 44393 h 44393"/>
                      <a:gd name="connsiteX4" fmla="*/ 1484 w 89056"/>
                      <a:gd name="connsiteY4" fmla="*/ 42369 h 44393"/>
                      <a:gd name="connsiteX5" fmla="*/ 0 w 89056"/>
                      <a:gd name="connsiteY5" fmla="*/ 29415 h 44393"/>
                      <a:gd name="connsiteX6" fmla="*/ 46417 w 89056"/>
                      <a:gd name="connsiteY6" fmla="*/ 14303 h 4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056" h="44393">
                        <a:moveTo>
                          <a:pt x="47092" y="5397"/>
                        </a:moveTo>
                        <a:lnTo>
                          <a:pt x="74753" y="0"/>
                        </a:lnTo>
                        <a:lnTo>
                          <a:pt x="89056" y="38726"/>
                        </a:lnTo>
                        <a:lnTo>
                          <a:pt x="44258" y="44393"/>
                        </a:lnTo>
                        <a:lnTo>
                          <a:pt x="1484" y="42369"/>
                        </a:lnTo>
                        <a:lnTo>
                          <a:pt x="0" y="29415"/>
                        </a:lnTo>
                        <a:lnTo>
                          <a:pt x="46417" y="14303"/>
                        </a:lnTo>
                        <a:close/>
                      </a:path>
                    </a:pathLst>
                  </a:custGeom>
                  <a:solidFill>
                    <a:srgbClr val="002B69"/>
                  </a:solidFill>
                  <a:ln w="1349" cap="flat">
                    <a:noFill/>
                    <a:prstDash val="solid"/>
                    <a:miter/>
                  </a:ln>
                </p:spPr>
                <p:txBody>
                  <a:bodyPr rtlCol="0" anchor="ctr"/>
                  <a:lstStyle/>
                  <a:p>
                    <a:endParaRPr lang="en-IN">
                      <a:latin typeface="+mn-lt"/>
                    </a:endParaRPr>
                  </a:p>
                </p:txBody>
              </p:sp>
              <p:sp>
                <p:nvSpPr>
                  <p:cNvPr id="225" name="Freeform: Shape 90">
                    <a:extLst>
                      <a:ext uri="{FF2B5EF4-FFF2-40B4-BE49-F238E27FC236}">
                        <a16:creationId xmlns:a16="http://schemas.microsoft.com/office/drawing/2014/main" id="{4BE1A745-750A-5242-9D7A-43E962B57977}"/>
                      </a:ext>
                    </a:extLst>
                  </p:cNvPr>
                  <p:cNvSpPr/>
                  <p:nvPr/>
                </p:nvSpPr>
                <p:spPr>
                  <a:xfrm>
                    <a:off x="8627069" y="3161756"/>
                    <a:ext cx="204964" cy="496420"/>
                  </a:xfrm>
                  <a:custGeom>
                    <a:avLst/>
                    <a:gdLst>
                      <a:gd name="connsiteX0" fmla="*/ 163540 w 204964"/>
                      <a:gd name="connsiteY0" fmla="*/ 9176 h 496420"/>
                      <a:gd name="connsiteX1" fmla="*/ 169747 w 204964"/>
                      <a:gd name="connsiteY1" fmla="*/ 144784 h 496420"/>
                      <a:gd name="connsiteX2" fmla="*/ 167858 w 204964"/>
                      <a:gd name="connsiteY2" fmla="*/ 298743 h 496420"/>
                      <a:gd name="connsiteX3" fmla="*/ 204964 w 204964"/>
                      <a:gd name="connsiteY3" fmla="*/ 491023 h 496420"/>
                      <a:gd name="connsiteX4" fmla="*/ 177303 w 204964"/>
                      <a:gd name="connsiteY4" fmla="*/ 496421 h 496420"/>
                      <a:gd name="connsiteX5" fmla="*/ 103899 w 204964"/>
                      <a:gd name="connsiteY5" fmla="*/ 290782 h 496420"/>
                      <a:gd name="connsiteX6" fmla="*/ 85008 w 204964"/>
                      <a:gd name="connsiteY6" fmla="*/ 123194 h 496420"/>
                      <a:gd name="connsiteX7" fmla="*/ 62205 w 204964"/>
                      <a:gd name="connsiteY7" fmla="*/ 284710 h 496420"/>
                      <a:gd name="connsiteX8" fmla="*/ 65848 w 204964"/>
                      <a:gd name="connsiteY8" fmla="*/ 492373 h 496420"/>
                      <a:gd name="connsiteX9" fmla="*/ 39940 w 204964"/>
                      <a:gd name="connsiteY9" fmla="*/ 493047 h 496420"/>
                      <a:gd name="connsiteX10" fmla="*/ 0 w 204964"/>
                      <a:gd name="connsiteY10" fmla="*/ 292941 h 496420"/>
                      <a:gd name="connsiteX11" fmla="*/ 31980 w 204964"/>
                      <a:gd name="connsiteY11" fmla="*/ 0 h 496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964" h="496420">
                        <a:moveTo>
                          <a:pt x="163540" y="9176"/>
                        </a:moveTo>
                        <a:lnTo>
                          <a:pt x="169747" y="144784"/>
                        </a:lnTo>
                        <a:lnTo>
                          <a:pt x="167858" y="298743"/>
                        </a:lnTo>
                        <a:lnTo>
                          <a:pt x="204964" y="491023"/>
                        </a:lnTo>
                        <a:lnTo>
                          <a:pt x="177303" y="496421"/>
                        </a:lnTo>
                        <a:lnTo>
                          <a:pt x="103899" y="290782"/>
                        </a:lnTo>
                        <a:lnTo>
                          <a:pt x="85008" y="123194"/>
                        </a:lnTo>
                        <a:lnTo>
                          <a:pt x="62205" y="284710"/>
                        </a:lnTo>
                        <a:lnTo>
                          <a:pt x="65848" y="492373"/>
                        </a:lnTo>
                        <a:lnTo>
                          <a:pt x="39940" y="493047"/>
                        </a:lnTo>
                        <a:lnTo>
                          <a:pt x="0" y="292941"/>
                        </a:lnTo>
                        <a:lnTo>
                          <a:pt x="31980" y="0"/>
                        </a:lnTo>
                        <a:close/>
                      </a:path>
                    </a:pathLst>
                  </a:custGeom>
                  <a:solidFill>
                    <a:srgbClr val="BD7351"/>
                  </a:solidFill>
                  <a:ln w="1349" cap="flat">
                    <a:noFill/>
                    <a:prstDash val="solid"/>
                    <a:miter/>
                  </a:ln>
                </p:spPr>
                <p:txBody>
                  <a:bodyPr rtlCol="0" anchor="ctr"/>
                  <a:lstStyle/>
                  <a:p>
                    <a:endParaRPr lang="en-IN">
                      <a:latin typeface="+mn-lt"/>
                    </a:endParaRPr>
                  </a:p>
                </p:txBody>
              </p:sp>
              <p:sp>
                <p:nvSpPr>
                  <p:cNvPr id="226" name="Freeform: Shape 91">
                    <a:extLst>
                      <a:ext uri="{FF2B5EF4-FFF2-40B4-BE49-F238E27FC236}">
                        <a16:creationId xmlns:a16="http://schemas.microsoft.com/office/drawing/2014/main" id="{099EDDF1-33A1-1649-8BAE-4E33DA0F8597}"/>
                      </a:ext>
                    </a:extLst>
                  </p:cNvPr>
                  <p:cNvSpPr/>
                  <p:nvPr/>
                </p:nvSpPr>
                <p:spPr>
                  <a:xfrm>
                    <a:off x="8618298" y="2864633"/>
                    <a:ext cx="286329" cy="568070"/>
                  </a:xfrm>
                  <a:custGeom>
                    <a:avLst/>
                    <a:gdLst>
                      <a:gd name="connsiteX0" fmla="*/ 35218 w 286329"/>
                      <a:gd name="connsiteY0" fmla="*/ 61665 h 568070"/>
                      <a:gd name="connsiteX1" fmla="*/ 39401 w 286329"/>
                      <a:gd name="connsiteY1" fmla="*/ 28876 h 568070"/>
                      <a:gd name="connsiteX2" fmla="*/ 60990 w 286329"/>
                      <a:gd name="connsiteY2" fmla="*/ 15247 h 568070"/>
                      <a:gd name="connsiteX3" fmla="*/ 135474 w 286329"/>
                      <a:gd name="connsiteY3" fmla="*/ 0 h 568070"/>
                      <a:gd name="connsiteX4" fmla="*/ 152745 w 286329"/>
                      <a:gd name="connsiteY4" fmla="*/ 9310 h 568070"/>
                      <a:gd name="connsiteX5" fmla="*/ 205234 w 286329"/>
                      <a:gd name="connsiteY5" fmla="*/ 28741 h 568070"/>
                      <a:gd name="connsiteX6" fmla="*/ 213735 w 286329"/>
                      <a:gd name="connsiteY6" fmla="*/ 42369 h 568070"/>
                      <a:gd name="connsiteX7" fmla="*/ 280662 w 286329"/>
                      <a:gd name="connsiteY7" fmla="*/ 181081 h 568070"/>
                      <a:gd name="connsiteX8" fmla="*/ 286329 w 286329"/>
                      <a:gd name="connsiteY8" fmla="*/ 309403 h 568070"/>
                      <a:gd name="connsiteX9" fmla="*/ 246254 w 286329"/>
                      <a:gd name="connsiteY9" fmla="*/ 311831 h 568070"/>
                      <a:gd name="connsiteX10" fmla="*/ 240856 w 286329"/>
                      <a:gd name="connsiteY10" fmla="*/ 194304 h 568070"/>
                      <a:gd name="connsiteX11" fmla="*/ 183105 w 286329"/>
                      <a:gd name="connsiteY11" fmla="*/ 124274 h 568070"/>
                      <a:gd name="connsiteX12" fmla="*/ 181891 w 286329"/>
                      <a:gd name="connsiteY12" fmla="*/ 189717 h 568070"/>
                      <a:gd name="connsiteX13" fmla="*/ 183780 w 286329"/>
                      <a:gd name="connsiteY13" fmla="*/ 282281 h 568070"/>
                      <a:gd name="connsiteX14" fmla="*/ 219402 w 286329"/>
                      <a:gd name="connsiteY14" fmla="*/ 565102 h 568070"/>
                      <a:gd name="connsiteX15" fmla="*/ 0 w 286329"/>
                      <a:gd name="connsiteY15" fmla="*/ 568070 h 568070"/>
                      <a:gd name="connsiteX16" fmla="*/ 37916 w 286329"/>
                      <a:gd name="connsiteY16" fmla="*/ 292131 h 568070"/>
                      <a:gd name="connsiteX17" fmla="*/ 32519 w 286329"/>
                      <a:gd name="connsiteY17" fmla="*/ 169342 h 568070"/>
                      <a:gd name="connsiteX18" fmla="*/ 15113 w 286329"/>
                      <a:gd name="connsiteY18" fmla="*/ 141950 h 568070"/>
                      <a:gd name="connsiteX19" fmla="*/ 16057 w 286329"/>
                      <a:gd name="connsiteY19" fmla="*/ 117392 h 56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6329" h="568070">
                        <a:moveTo>
                          <a:pt x="35218" y="61665"/>
                        </a:moveTo>
                        <a:lnTo>
                          <a:pt x="39401" y="28876"/>
                        </a:lnTo>
                        <a:lnTo>
                          <a:pt x="60990" y="15247"/>
                        </a:lnTo>
                        <a:lnTo>
                          <a:pt x="135474" y="0"/>
                        </a:lnTo>
                        <a:lnTo>
                          <a:pt x="152745" y="9310"/>
                        </a:lnTo>
                        <a:lnTo>
                          <a:pt x="205234" y="28741"/>
                        </a:lnTo>
                        <a:lnTo>
                          <a:pt x="213735" y="42369"/>
                        </a:lnTo>
                        <a:lnTo>
                          <a:pt x="280662" y="181081"/>
                        </a:lnTo>
                        <a:lnTo>
                          <a:pt x="286329" y="309403"/>
                        </a:lnTo>
                        <a:lnTo>
                          <a:pt x="246254" y="311831"/>
                        </a:lnTo>
                        <a:lnTo>
                          <a:pt x="240856" y="194304"/>
                        </a:lnTo>
                        <a:lnTo>
                          <a:pt x="183105" y="124274"/>
                        </a:lnTo>
                        <a:lnTo>
                          <a:pt x="181891" y="189717"/>
                        </a:lnTo>
                        <a:lnTo>
                          <a:pt x="183780" y="282281"/>
                        </a:lnTo>
                        <a:lnTo>
                          <a:pt x="219402" y="565102"/>
                        </a:lnTo>
                        <a:lnTo>
                          <a:pt x="0" y="568070"/>
                        </a:lnTo>
                        <a:lnTo>
                          <a:pt x="37916" y="292131"/>
                        </a:lnTo>
                        <a:lnTo>
                          <a:pt x="32519" y="169342"/>
                        </a:lnTo>
                        <a:lnTo>
                          <a:pt x="15113" y="141950"/>
                        </a:lnTo>
                        <a:lnTo>
                          <a:pt x="16057" y="117392"/>
                        </a:lnTo>
                        <a:close/>
                      </a:path>
                    </a:pathLst>
                  </a:custGeom>
                  <a:solidFill>
                    <a:srgbClr val="15749C"/>
                  </a:solidFill>
                  <a:ln w="1349" cap="flat">
                    <a:noFill/>
                    <a:prstDash val="solid"/>
                    <a:miter/>
                  </a:ln>
                </p:spPr>
                <p:txBody>
                  <a:bodyPr rtlCol="0" anchor="ctr"/>
                  <a:lstStyle/>
                  <a:p>
                    <a:endParaRPr lang="en-IN">
                      <a:latin typeface="+mn-lt"/>
                    </a:endParaRPr>
                  </a:p>
                </p:txBody>
              </p:sp>
              <p:sp>
                <p:nvSpPr>
                  <p:cNvPr id="227" name="Freeform: Shape 92">
                    <a:extLst>
                      <a:ext uri="{FF2B5EF4-FFF2-40B4-BE49-F238E27FC236}">
                        <a16:creationId xmlns:a16="http://schemas.microsoft.com/office/drawing/2014/main" id="{72176DF3-568E-6741-978E-1C96CDCC3202}"/>
                      </a:ext>
                    </a:extLst>
                  </p:cNvPr>
                  <p:cNvSpPr/>
                  <p:nvPr/>
                </p:nvSpPr>
                <p:spPr>
                  <a:xfrm>
                    <a:off x="8688734" y="2824017"/>
                    <a:ext cx="72594" cy="145728"/>
                  </a:xfrm>
                  <a:custGeom>
                    <a:avLst/>
                    <a:gdLst>
                      <a:gd name="connsiteX0" fmla="*/ 72594 w 72594"/>
                      <a:gd name="connsiteY0" fmla="*/ 57212 h 145728"/>
                      <a:gd name="connsiteX1" fmla="*/ 17541 w 72594"/>
                      <a:gd name="connsiteY1" fmla="*/ 145728 h 145728"/>
                      <a:gd name="connsiteX2" fmla="*/ 0 w 72594"/>
                      <a:gd name="connsiteY2" fmla="*/ 64363 h 145728"/>
                      <a:gd name="connsiteX3" fmla="*/ 3643 w 72594"/>
                      <a:gd name="connsiteY3" fmla="*/ 54513 h 145728"/>
                      <a:gd name="connsiteX4" fmla="*/ 12279 w 72594"/>
                      <a:gd name="connsiteY4" fmla="*/ 43044 h 145728"/>
                      <a:gd name="connsiteX5" fmla="*/ 17406 w 72594"/>
                      <a:gd name="connsiteY5" fmla="*/ 4993 h 145728"/>
                      <a:gd name="connsiteX6" fmla="*/ 58831 w 72594"/>
                      <a:gd name="connsiteY6" fmla="*/ 0 h 145728"/>
                      <a:gd name="connsiteX7" fmla="*/ 61125 w 72594"/>
                      <a:gd name="connsiteY7" fmla="*/ 38186 h 14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594" h="145728">
                        <a:moveTo>
                          <a:pt x="72594" y="57212"/>
                        </a:moveTo>
                        <a:lnTo>
                          <a:pt x="17541" y="145728"/>
                        </a:lnTo>
                        <a:lnTo>
                          <a:pt x="0" y="64363"/>
                        </a:lnTo>
                        <a:lnTo>
                          <a:pt x="3643" y="54513"/>
                        </a:lnTo>
                        <a:lnTo>
                          <a:pt x="12279" y="43044"/>
                        </a:lnTo>
                        <a:lnTo>
                          <a:pt x="17406" y="4993"/>
                        </a:lnTo>
                        <a:lnTo>
                          <a:pt x="58831" y="0"/>
                        </a:lnTo>
                        <a:lnTo>
                          <a:pt x="61125" y="38186"/>
                        </a:lnTo>
                        <a:close/>
                      </a:path>
                    </a:pathLst>
                  </a:custGeom>
                  <a:solidFill>
                    <a:srgbClr val="A3593C"/>
                  </a:solidFill>
                  <a:ln w="1349" cap="flat">
                    <a:noFill/>
                    <a:prstDash val="solid"/>
                    <a:miter/>
                  </a:ln>
                </p:spPr>
                <p:txBody>
                  <a:bodyPr rtlCol="0" anchor="ctr"/>
                  <a:lstStyle/>
                  <a:p>
                    <a:endParaRPr lang="en-IN">
                      <a:latin typeface="+mn-lt"/>
                    </a:endParaRPr>
                  </a:p>
                </p:txBody>
              </p:sp>
              <p:sp>
                <p:nvSpPr>
                  <p:cNvPr id="228" name="Freeform: Shape 93">
                    <a:extLst>
                      <a:ext uri="{FF2B5EF4-FFF2-40B4-BE49-F238E27FC236}">
                        <a16:creationId xmlns:a16="http://schemas.microsoft.com/office/drawing/2014/main" id="{11F37564-8600-9E41-8A4D-B6FB07833BE4}"/>
                      </a:ext>
                    </a:extLst>
                  </p:cNvPr>
                  <p:cNvSpPr/>
                  <p:nvPr/>
                </p:nvSpPr>
                <p:spPr>
                  <a:xfrm>
                    <a:off x="8677176" y="2738605"/>
                    <a:ext cx="109987" cy="123734"/>
                  </a:xfrm>
                  <a:custGeom>
                    <a:avLst/>
                    <a:gdLst>
                      <a:gd name="connsiteX0" fmla="*/ 29504 w 109987"/>
                      <a:gd name="connsiteY0" fmla="*/ 0 h 123734"/>
                      <a:gd name="connsiteX1" fmla="*/ 77135 w 109987"/>
                      <a:gd name="connsiteY1" fmla="*/ 9445 h 123734"/>
                      <a:gd name="connsiteX2" fmla="*/ 104257 w 109987"/>
                      <a:gd name="connsiteY2" fmla="*/ 80016 h 123734"/>
                      <a:gd name="connsiteX3" fmla="*/ 61213 w 109987"/>
                      <a:gd name="connsiteY3" fmla="*/ 106463 h 123734"/>
                      <a:gd name="connsiteX4" fmla="*/ 53522 w 109987"/>
                      <a:gd name="connsiteY4" fmla="*/ 119821 h 123734"/>
                      <a:gd name="connsiteX5" fmla="*/ 10748 w 109987"/>
                      <a:gd name="connsiteY5" fmla="*/ 123734 h 123734"/>
                      <a:gd name="connsiteX6" fmla="*/ 88 w 109987"/>
                      <a:gd name="connsiteY6" fmla="*/ 113344 h 123734"/>
                      <a:gd name="connsiteX7" fmla="*/ 223 w 109987"/>
                      <a:gd name="connsiteY7" fmla="*/ 57617 h 123734"/>
                      <a:gd name="connsiteX8" fmla="*/ 14526 w 109987"/>
                      <a:gd name="connsiteY8" fmla="*/ 15382 h 123734"/>
                      <a:gd name="connsiteX9" fmla="*/ 29504 w 109987"/>
                      <a:gd name="connsiteY9" fmla="*/ 0 h 123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987" h="123734">
                        <a:moveTo>
                          <a:pt x="29504" y="0"/>
                        </a:moveTo>
                        <a:cubicBezTo>
                          <a:pt x="29504" y="0"/>
                          <a:pt x="66340" y="6072"/>
                          <a:pt x="77135" y="9445"/>
                        </a:cubicBezTo>
                        <a:cubicBezTo>
                          <a:pt x="109789" y="19835"/>
                          <a:pt x="116536" y="41155"/>
                          <a:pt x="104257" y="80016"/>
                        </a:cubicBezTo>
                        <a:cubicBezTo>
                          <a:pt x="96701" y="103899"/>
                          <a:pt x="61213" y="106463"/>
                          <a:pt x="61213" y="106463"/>
                        </a:cubicBezTo>
                        <a:lnTo>
                          <a:pt x="53522" y="119821"/>
                        </a:lnTo>
                        <a:cubicBezTo>
                          <a:pt x="45831" y="121170"/>
                          <a:pt x="10748" y="123734"/>
                          <a:pt x="10748" y="123734"/>
                        </a:cubicBezTo>
                        <a:lnTo>
                          <a:pt x="88" y="113344"/>
                        </a:lnTo>
                        <a:cubicBezTo>
                          <a:pt x="88" y="113344"/>
                          <a:pt x="-182" y="60585"/>
                          <a:pt x="223" y="57617"/>
                        </a:cubicBezTo>
                        <a:cubicBezTo>
                          <a:pt x="1707" y="45607"/>
                          <a:pt x="7375" y="26582"/>
                          <a:pt x="14526" y="15382"/>
                        </a:cubicBezTo>
                        <a:cubicBezTo>
                          <a:pt x="20328" y="6477"/>
                          <a:pt x="29504" y="0"/>
                          <a:pt x="29504" y="0"/>
                        </a:cubicBezTo>
                        <a:close/>
                      </a:path>
                    </a:pathLst>
                  </a:custGeom>
                  <a:solidFill>
                    <a:srgbClr val="BD7351"/>
                  </a:solidFill>
                  <a:ln w="1349" cap="flat">
                    <a:noFill/>
                    <a:prstDash val="solid"/>
                    <a:miter/>
                  </a:ln>
                </p:spPr>
                <p:txBody>
                  <a:bodyPr rtlCol="0" anchor="ctr"/>
                  <a:lstStyle/>
                  <a:p>
                    <a:endParaRPr lang="en-IN">
                      <a:latin typeface="+mn-lt"/>
                    </a:endParaRPr>
                  </a:p>
                </p:txBody>
              </p:sp>
              <p:sp>
                <p:nvSpPr>
                  <p:cNvPr id="229" name="Freeform: Shape 94">
                    <a:extLst>
                      <a:ext uri="{FF2B5EF4-FFF2-40B4-BE49-F238E27FC236}">
                        <a16:creationId xmlns:a16="http://schemas.microsoft.com/office/drawing/2014/main" id="{4783F4DB-6BE7-C54A-AA63-C073A9E03B40}"/>
                      </a:ext>
                    </a:extLst>
                  </p:cNvPr>
                  <p:cNvSpPr/>
                  <p:nvPr/>
                </p:nvSpPr>
                <p:spPr>
                  <a:xfrm>
                    <a:off x="8663231" y="2701093"/>
                    <a:ext cx="154706" cy="156661"/>
                  </a:xfrm>
                  <a:custGeom>
                    <a:avLst/>
                    <a:gdLst>
                      <a:gd name="connsiteX0" fmla="*/ 36162 w 154706"/>
                      <a:gd name="connsiteY0" fmla="*/ 1349 h 156661"/>
                      <a:gd name="connsiteX1" fmla="*/ 65578 w 154706"/>
                      <a:gd name="connsiteY1" fmla="*/ 0 h 156661"/>
                      <a:gd name="connsiteX2" fmla="*/ 140736 w 154706"/>
                      <a:gd name="connsiteY2" fmla="*/ 34543 h 156661"/>
                      <a:gd name="connsiteX3" fmla="*/ 141546 w 154706"/>
                      <a:gd name="connsiteY3" fmla="*/ 124139 h 156661"/>
                      <a:gd name="connsiteX4" fmla="*/ 124274 w 154706"/>
                      <a:gd name="connsiteY4" fmla="*/ 142895 h 156661"/>
                      <a:gd name="connsiteX5" fmla="*/ 86762 w 154706"/>
                      <a:gd name="connsiteY5" fmla="*/ 155309 h 156661"/>
                      <a:gd name="connsiteX6" fmla="*/ 83389 w 154706"/>
                      <a:gd name="connsiteY6" fmla="*/ 153824 h 156661"/>
                      <a:gd name="connsiteX7" fmla="*/ 80690 w 154706"/>
                      <a:gd name="connsiteY7" fmla="*/ 126703 h 156661"/>
                      <a:gd name="connsiteX8" fmla="*/ 66522 w 154706"/>
                      <a:gd name="connsiteY8" fmla="*/ 111455 h 156661"/>
                      <a:gd name="connsiteX9" fmla="*/ 62744 w 154706"/>
                      <a:gd name="connsiteY9" fmla="*/ 86762 h 156661"/>
                      <a:gd name="connsiteX10" fmla="*/ 53029 w 154706"/>
                      <a:gd name="connsiteY10" fmla="*/ 72324 h 156661"/>
                      <a:gd name="connsiteX11" fmla="*/ 36972 w 154706"/>
                      <a:gd name="connsiteY11" fmla="*/ 60450 h 156661"/>
                      <a:gd name="connsiteX12" fmla="*/ 26447 w 154706"/>
                      <a:gd name="connsiteY12" fmla="*/ 56132 h 156661"/>
                      <a:gd name="connsiteX13" fmla="*/ 15383 w 154706"/>
                      <a:gd name="connsiteY13" fmla="*/ 87437 h 156661"/>
                      <a:gd name="connsiteX14" fmla="*/ 0 w 154706"/>
                      <a:gd name="connsiteY14" fmla="*/ 58696 h 156661"/>
                      <a:gd name="connsiteX15" fmla="*/ 13898 w 154706"/>
                      <a:gd name="connsiteY15" fmla="*/ 16597 h 156661"/>
                      <a:gd name="connsiteX16" fmla="*/ 36162 w 154706"/>
                      <a:gd name="connsiteY16" fmla="*/ 1349 h 15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706" h="156661">
                        <a:moveTo>
                          <a:pt x="36162" y="1349"/>
                        </a:moveTo>
                        <a:lnTo>
                          <a:pt x="65578" y="0"/>
                        </a:lnTo>
                        <a:cubicBezTo>
                          <a:pt x="65578" y="0"/>
                          <a:pt x="124679" y="1349"/>
                          <a:pt x="140736" y="34543"/>
                        </a:cubicBezTo>
                        <a:cubicBezTo>
                          <a:pt x="149102" y="51949"/>
                          <a:pt x="167048" y="81365"/>
                          <a:pt x="141546" y="124139"/>
                        </a:cubicBezTo>
                        <a:lnTo>
                          <a:pt x="124274" y="142895"/>
                        </a:lnTo>
                        <a:cubicBezTo>
                          <a:pt x="116313" y="150991"/>
                          <a:pt x="97692" y="160166"/>
                          <a:pt x="86762" y="155309"/>
                        </a:cubicBezTo>
                        <a:lnTo>
                          <a:pt x="83389" y="153824"/>
                        </a:lnTo>
                        <a:lnTo>
                          <a:pt x="80690" y="126703"/>
                        </a:lnTo>
                        <a:cubicBezTo>
                          <a:pt x="75968" y="124274"/>
                          <a:pt x="66522" y="111455"/>
                          <a:pt x="66522" y="111455"/>
                        </a:cubicBezTo>
                        <a:lnTo>
                          <a:pt x="62744" y="86762"/>
                        </a:lnTo>
                        <a:lnTo>
                          <a:pt x="53029" y="72324"/>
                        </a:lnTo>
                        <a:lnTo>
                          <a:pt x="36972" y="60450"/>
                        </a:lnTo>
                        <a:lnTo>
                          <a:pt x="26447" y="56132"/>
                        </a:lnTo>
                        <a:lnTo>
                          <a:pt x="15383" y="87437"/>
                        </a:lnTo>
                        <a:lnTo>
                          <a:pt x="0" y="58696"/>
                        </a:lnTo>
                        <a:lnTo>
                          <a:pt x="13898" y="16597"/>
                        </a:lnTo>
                        <a:lnTo>
                          <a:pt x="36162" y="1349"/>
                        </a:lnTo>
                        <a:close/>
                      </a:path>
                    </a:pathLst>
                  </a:custGeom>
                  <a:solidFill>
                    <a:srgbClr val="002B69"/>
                  </a:solidFill>
                  <a:ln w="1349" cap="flat">
                    <a:noFill/>
                    <a:prstDash val="solid"/>
                    <a:miter/>
                  </a:ln>
                </p:spPr>
                <p:txBody>
                  <a:bodyPr rtlCol="0" anchor="ctr"/>
                  <a:lstStyle/>
                  <a:p>
                    <a:endParaRPr lang="en-IN">
                      <a:latin typeface="+mn-lt"/>
                    </a:endParaRPr>
                  </a:p>
                </p:txBody>
              </p:sp>
              <p:sp>
                <p:nvSpPr>
                  <p:cNvPr id="230" name="Freeform: Shape 95">
                    <a:extLst>
                      <a:ext uri="{FF2B5EF4-FFF2-40B4-BE49-F238E27FC236}">
                        <a16:creationId xmlns:a16="http://schemas.microsoft.com/office/drawing/2014/main" id="{D112EDB9-80C0-BC4C-BF85-38A287A7C779}"/>
                      </a:ext>
                    </a:extLst>
                  </p:cNvPr>
                  <p:cNvSpPr/>
                  <p:nvPr/>
                </p:nvSpPr>
                <p:spPr>
                  <a:xfrm>
                    <a:off x="8733312" y="2817257"/>
                    <a:ext cx="27884" cy="30806"/>
                  </a:xfrm>
                  <a:custGeom>
                    <a:avLst/>
                    <a:gdLst>
                      <a:gd name="connsiteX0" fmla="*/ 3728 w 27884"/>
                      <a:gd name="connsiteY0" fmla="*/ 13642 h 30806"/>
                      <a:gd name="connsiteX1" fmla="*/ 5482 w 27884"/>
                      <a:gd name="connsiteY1" fmla="*/ 29969 h 30806"/>
                      <a:gd name="connsiteX2" fmla="*/ 23563 w 27884"/>
                      <a:gd name="connsiteY2" fmla="*/ 22548 h 30806"/>
                      <a:gd name="connsiteX3" fmla="*/ 21674 w 27884"/>
                      <a:gd name="connsiteY3" fmla="*/ 959 h 30806"/>
                      <a:gd name="connsiteX4" fmla="*/ 3728 w 27884"/>
                      <a:gd name="connsiteY4" fmla="*/ 13642 h 30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84" h="30806">
                        <a:moveTo>
                          <a:pt x="3728" y="13642"/>
                        </a:moveTo>
                        <a:cubicBezTo>
                          <a:pt x="-590" y="22683"/>
                          <a:pt x="-2479" y="27810"/>
                          <a:pt x="5482" y="29969"/>
                        </a:cubicBezTo>
                        <a:cubicBezTo>
                          <a:pt x="9665" y="31049"/>
                          <a:pt x="14927" y="32803"/>
                          <a:pt x="23563" y="22548"/>
                        </a:cubicBezTo>
                        <a:cubicBezTo>
                          <a:pt x="30040" y="14857"/>
                          <a:pt x="29095" y="4467"/>
                          <a:pt x="21674" y="959"/>
                        </a:cubicBezTo>
                        <a:cubicBezTo>
                          <a:pt x="14118" y="-2685"/>
                          <a:pt x="7911" y="4602"/>
                          <a:pt x="3728" y="13642"/>
                        </a:cubicBezTo>
                        <a:close/>
                      </a:path>
                    </a:pathLst>
                  </a:custGeom>
                  <a:solidFill>
                    <a:srgbClr val="BD7351"/>
                  </a:solidFill>
                  <a:ln w="1349" cap="flat">
                    <a:noFill/>
                    <a:prstDash val="solid"/>
                    <a:miter/>
                  </a:ln>
                </p:spPr>
                <p:txBody>
                  <a:bodyPr rtlCol="0" anchor="ctr"/>
                  <a:lstStyle/>
                  <a:p>
                    <a:endParaRPr lang="en-IN">
                      <a:latin typeface="+mn-lt"/>
                    </a:endParaRPr>
                  </a:p>
                </p:txBody>
              </p:sp>
              <p:sp>
                <p:nvSpPr>
                  <p:cNvPr id="231" name="Freeform: Shape 96">
                    <a:extLst>
                      <a:ext uri="{FF2B5EF4-FFF2-40B4-BE49-F238E27FC236}">
                        <a16:creationId xmlns:a16="http://schemas.microsoft.com/office/drawing/2014/main" id="{D7E2BA16-77D2-6241-956B-7DBEA39E5346}"/>
                      </a:ext>
                    </a:extLst>
                  </p:cNvPr>
                  <p:cNvSpPr/>
                  <p:nvPr/>
                </p:nvSpPr>
                <p:spPr>
                  <a:xfrm>
                    <a:off x="8663231" y="2875697"/>
                    <a:ext cx="104303" cy="330992"/>
                  </a:xfrm>
                  <a:custGeom>
                    <a:avLst/>
                    <a:gdLst>
                      <a:gd name="connsiteX0" fmla="*/ 25637 w 104303"/>
                      <a:gd name="connsiteY0" fmla="*/ 6477 h 330992"/>
                      <a:gd name="connsiteX1" fmla="*/ 29146 w 104303"/>
                      <a:gd name="connsiteY1" fmla="*/ 2834 h 330992"/>
                      <a:gd name="connsiteX2" fmla="*/ 27931 w 104303"/>
                      <a:gd name="connsiteY2" fmla="*/ 10120 h 330992"/>
                      <a:gd name="connsiteX3" fmla="*/ 27931 w 104303"/>
                      <a:gd name="connsiteY3" fmla="*/ 10120 h 330992"/>
                      <a:gd name="connsiteX4" fmla="*/ 72864 w 104303"/>
                      <a:gd name="connsiteY4" fmla="*/ 17002 h 330992"/>
                      <a:gd name="connsiteX5" fmla="*/ 95938 w 104303"/>
                      <a:gd name="connsiteY5" fmla="*/ 0 h 330992"/>
                      <a:gd name="connsiteX6" fmla="*/ 104304 w 104303"/>
                      <a:gd name="connsiteY6" fmla="*/ 10660 h 330992"/>
                      <a:gd name="connsiteX7" fmla="*/ 83929 w 104303"/>
                      <a:gd name="connsiteY7" fmla="*/ 42909 h 330992"/>
                      <a:gd name="connsiteX8" fmla="*/ 56807 w 104303"/>
                      <a:gd name="connsiteY8" fmla="*/ 117797 h 330992"/>
                      <a:gd name="connsiteX9" fmla="*/ 47901 w 104303"/>
                      <a:gd name="connsiteY9" fmla="*/ 330992 h 330992"/>
                      <a:gd name="connsiteX10" fmla="*/ 15383 w 104303"/>
                      <a:gd name="connsiteY10" fmla="*/ 329373 h 330992"/>
                      <a:gd name="connsiteX11" fmla="*/ 8636 w 104303"/>
                      <a:gd name="connsiteY11" fmla="*/ 189447 h 330992"/>
                      <a:gd name="connsiteX12" fmla="*/ 0 w 104303"/>
                      <a:gd name="connsiteY12" fmla="*/ 115638 h 330992"/>
                      <a:gd name="connsiteX13" fmla="*/ 18081 w 104303"/>
                      <a:gd name="connsiteY13" fmla="*/ 61935 h 330992"/>
                      <a:gd name="connsiteX14" fmla="*/ 25637 w 104303"/>
                      <a:gd name="connsiteY14" fmla="*/ 6477 h 33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303" h="330992">
                        <a:moveTo>
                          <a:pt x="25637" y="6477"/>
                        </a:moveTo>
                        <a:lnTo>
                          <a:pt x="29146" y="2834"/>
                        </a:lnTo>
                        <a:lnTo>
                          <a:pt x="27931" y="10120"/>
                        </a:lnTo>
                        <a:lnTo>
                          <a:pt x="27931" y="10120"/>
                        </a:lnTo>
                        <a:cubicBezTo>
                          <a:pt x="29955" y="28066"/>
                          <a:pt x="53029" y="25907"/>
                          <a:pt x="72864" y="17002"/>
                        </a:cubicBezTo>
                        <a:lnTo>
                          <a:pt x="95938" y="0"/>
                        </a:lnTo>
                        <a:lnTo>
                          <a:pt x="104304" y="10660"/>
                        </a:lnTo>
                        <a:lnTo>
                          <a:pt x="83929" y="42909"/>
                        </a:lnTo>
                        <a:lnTo>
                          <a:pt x="56807" y="117797"/>
                        </a:lnTo>
                        <a:lnTo>
                          <a:pt x="47901" y="330992"/>
                        </a:lnTo>
                        <a:lnTo>
                          <a:pt x="15383" y="329373"/>
                        </a:lnTo>
                        <a:lnTo>
                          <a:pt x="8636" y="189447"/>
                        </a:lnTo>
                        <a:lnTo>
                          <a:pt x="0" y="115638"/>
                        </a:lnTo>
                        <a:lnTo>
                          <a:pt x="18081" y="61935"/>
                        </a:lnTo>
                        <a:lnTo>
                          <a:pt x="25637" y="6477"/>
                        </a:lnTo>
                        <a:close/>
                      </a:path>
                    </a:pathLst>
                  </a:custGeom>
                  <a:solidFill>
                    <a:srgbClr val="FFFFFF"/>
                  </a:solidFill>
                  <a:ln w="1349" cap="flat">
                    <a:noFill/>
                    <a:prstDash val="solid"/>
                    <a:miter/>
                  </a:ln>
                </p:spPr>
                <p:txBody>
                  <a:bodyPr rtlCol="0" anchor="ctr"/>
                  <a:lstStyle/>
                  <a:p>
                    <a:endParaRPr lang="en-IN">
                      <a:latin typeface="+mn-lt"/>
                    </a:endParaRPr>
                  </a:p>
                </p:txBody>
              </p:sp>
              <p:sp>
                <p:nvSpPr>
                  <p:cNvPr id="232" name="Freeform: Shape 97">
                    <a:extLst>
                      <a:ext uri="{FF2B5EF4-FFF2-40B4-BE49-F238E27FC236}">
                        <a16:creationId xmlns:a16="http://schemas.microsoft.com/office/drawing/2014/main" id="{B61C0A10-20D7-A448-A2E3-49CFF02A1803}"/>
                      </a:ext>
                    </a:extLst>
                  </p:cNvPr>
                  <p:cNvSpPr/>
                  <p:nvPr/>
                </p:nvSpPr>
                <p:spPr>
                  <a:xfrm>
                    <a:off x="8621132" y="3167828"/>
                    <a:ext cx="193090" cy="327753"/>
                  </a:xfrm>
                  <a:custGeom>
                    <a:avLst/>
                    <a:gdLst>
                      <a:gd name="connsiteX0" fmla="*/ 92025 w 193090"/>
                      <a:gd name="connsiteY0" fmla="*/ 0 h 327753"/>
                      <a:gd name="connsiteX1" fmla="*/ 55728 w 193090"/>
                      <a:gd name="connsiteY1" fmla="*/ 0 h 327753"/>
                      <a:gd name="connsiteX2" fmla="*/ 37781 w 193090"/>
                      <a:gd name="connsiteY2" fmla="*/ 264335 h 327753"/>
                      <a:gd name="connsiteX3" fmla="*/ 6612 w 193090"/>
                      <a:gd name="connsiteY3" fmla="*/ 265414 h 327753"/>
                      <a:gd name="connsiteX4" fmla="*/ 0 w 193090"/>
                      <a:gd name="connsiteY4" fmla="*/ 327754 h 327753"/>
                      <a:gd name="connsiteX5" fmla="*/ 193090 w 193090"/>
                      <a:gd name="connsiteY5" fmla="*/ 326000 h 327753"/>
                      <a:gd name="connsiteX6" fmla="*/ 184724 w 193090"/>
                      <a:gd name="connsiteY6" fmla="*/ 262311 h 327753"/>
                      <a:gd name="connsiteX7" fmla="*/ 85278 w 193090"/>
                      <a:gd name="connsiteY7" fmla="*/ 263660 h 327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090" h="327753">
                        <a:moveTo>
                          <a:pt x="92025" y="0"/>
                        </a:moveTo>
                        <a:lnTo>
                          <a:pt x="55728" y="0"/>
                        </a:lnTo>
                        <a:lnTo>
                          <a:pt x="37781" y="264335"/>
                        </a:lnTo>
                        <a:lnTo>
                          <a:pt x="6612" y="265414"/>
                        </a:lnTo>
                        <a:lnTo>
                          <a:pt x="0" y="327754"/>
                        </a:lnTo>
                        <a:lnTo>
                          <a:pt x="193090" y="326000"/>
                        </a:lnTo>
                        <a:lnTo>
                          <a:pt x="184724" y="262311"/>
                        </a:lnTo>
                        <a:lnTo>
                          <a:pt x="85278" y="263660"/>
                        </a:lnTo>
                        <a:close/>
                      </a:path>
                    </a:pathLst>
                  </a:custGeom>
                  <a:solidFill>
                    <a:srgbClr val="002B69"/>
                  </a:solidFill>
                  <a:ln w="1349" cap="flat">
                    <a:noFill/>
                    <a:prstDash val="solid"/>
                    <a:miter/>
                  </a:ln>
                </p:spPr>
                <p:txBody>
                  <a:bodyPr rtlCol="0" anchor="ctr"/>
                  <a:lstStyle/>
                  <a:p>
                    <a:endParaRPr lang="en-IN">
                      <a:latin typeface="+mn-lt"/>
                    </a:endParaRPr>
                  </a:p>
                </p:txBody>
              </p:sp>
            </p:grpSp>
            <p:grpSp>
              <p:nvGrpSpPr>
                <p:cNvPr id="153" name="Graphic 1">
                  <a:extLst>
                    <a:ext uri="{FF2B5EF4-FFF2-40B4-BE49-F238E27FC236}">
                      <a16:creationId xmlns:a16="http://schemas.microsoft.com/office/drawing/2014/main" id="{AF0A2EAF-4D32-8149-A305-9AB5DB35CD50}"/>
                    </a:ext>
                  </a:extLst>
                </p:cNvPr>
                <p:cNvGrpSpPr/>
                <p:nvPr/>
              </p:nvGrpSpPr>
              <p:grpSpPr>
                <a:xfrm flipH="1">
                  <a:off x="246158" y="4609278"/>
                  <a:ext cx="430941" cy="1182230"/>
                  <a:chOff x="9079366" y="2710134"/>
                  <a:chExt cx="365939" cy="1003905"/>
                </a:xfrm>
                <a:solidFill>
                  <a:schemeClr val="accent1"/>
                </a:solidFill>
              </p:grpSpPr>
              <p:grpSp>
                <p:nvGrpSpPr>
                  <p:cNvPr id="182" name="Graphic 1">
                    <a:extLst>
                      <a:ext uri="{FF2B5EF4-FFF2-40B4-BE49-F238E27FC236}">
                        <a16:creationId xmlns:a16="http://schemas.microsoft.com/office/drawing/2014/main" id="{930CF161-9AEC-5644-9DCF-DCF6AEA7FD22}"/>
                      </a:ext>
                    </a:extLst>
                  </p:cNvPr>
                  <p:cNvGrpSpPr/>
                  <p:nvPr/>
                </p:nvGrpSpPr>
                <p:grpSpPr>
                  <a:xfrm>
                    <a:off x="9114989" y="3266762"/>
                    <a:ext cx="199836" cy="177278"/>
                    <a:chOff x="9114989" y="3266762"/>
                    <a:chExt cx="199836" cy="177278"/>
                  </a:xfrm>
                  <a:solidFill>
                    <a:schemeClr val="accent1"/>
                  </a:solidFill>
                </p:grpSpPr>
                <p:sp>
                  <p:nvSpPr>
                    <p:cNvPr id="210" name="Freeform: Shape 75">
                      <a:extLst>
                        <a:ext uri="{FF2B5EF4-FFF2-40B4-BE49-F238E27FC236}">
                          <a16:creationId xmlns:a16="http://schemas.microsoft.com/office/drawing/2014/main" id="{DD955038-AE55-294D-93BC-365C9C67FD0F}"/>
                        </a:ext>
                      </a:extLst>
                    </p:cNvPr>
                    <p:cNvSpPr/>
                    <p:nvPr/>
                  </p:nvSpPr>
                  <p:spPr>
                    <a:xfrm>
                      <a:off x="9115394" y="3267976"/>
                      <a:ext cx="199328" cy="176064"/>
                    </a:xfrm>
                    <a:custGeom>
                      <a:avLst/>
                      <a:gdLst>
                        <a:gd name="connsiteX0" fmla="*/ 193360 w 199328"/>
                        <a:gd name="connsiteY0" fmla="*/ 135311 h 176064"/>
                        <a:gd name="connsiteX1" fmla="*/ 38996 w 199328"/>
                        <a:gd name="connsiteY1" fmla="*/ 176061 h 176064"/>
                        <a:gd name="connsiteX2" fmla="*/ 944 w 199328"/>
                        <a:gd name="connsiteY2" fmla="*/ 150694 h 176064"/>
                        <a:gd name="connsiteX3" fmla="*/ 0 w 199328"/>
                        <a:gd name="connsiteY3" fmla="*/ 25206 h 176064"/>
                        <a:gd name="connsiteX4" fmla="*/ 159356 w 199328"/>
                        <a:gd name="connsiteY4" fmla="*/ 108 h 176064"/>
                        <a:gd name="connsiteX5" fmla="*/ 199297 w 199328"/>
                        <a:gd name="connsiteY5" fmla="*/ 21023 h 176064"/>
                        <a:gd name="connsiteX6" fmla="*/ 193360 w 199328"/>
                        <a:gd name="connsiteY6" fmla="*/ 135311 h 17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328" h="176064">
                          <a:moveTo>
                            <a:pt x="193360" y="135311"/>
                          </a:moveTo>
                          <a:cubicBezTo>
                            <a:pt x="193360" y="135311"/>
                            <a:pt x="42234" y="176466"/>
                            <a:pt x="38996" y="176061"/>
                          </a:cubicBezTo>
                          <a:cubicBezTo>
                            <a:pt x="35892" y="175791"/>
                            <a:pt x="944" y="150694"/>
                            <a:pt x="944" y="150694"/>
                          </a:cubicBezTo>
                          <a:lnTo>
                            <a:pt x="0" y="25206"/>
                          </a:lnTo>
                          <a:cubicBezTo>
                            <a:pt x="0" y="25206"/>
                            <a:pt x="156793" y="-1916"/>
                            <a:pt x="159356" y="108"/>
                          </a:cubicBezTo>
                          <a:cubicBezTo>
                            <a:pt x="162055" y="1997"/>
                            <a:pt x="199162" y="20213"/>
                            <a:pt x="199297" y="21023"/>
                          </a:cubicBezTo>
                          <a:cubicBezTo>
                            <a:pt x="199836" y="24666"/>
                            <a:pt x="193360" y="135311"/>
                            <a:pt x="193360" y="135311"/>
                          </a:cubicBezTo>
                          <a:close/>
                        </a:path>
                      </a:pathLst>
                    </a:custGeom>
                    <a:solidFill>
                      <a:srgbClr val="20668A"/>
                    </a:solidFill>
                    <a:ln w="1349" cap="flat">
                      <a:noFill/>
                      <a:prstDash val="solid"/>
                      <a:miter/>
                    </a:ln>
                  </p:spPr>
                  <p:txBody>
                    <a:bodyPr rtlCol="0" anchor="ctr"/>
                    <a:lstStyle/>
                    <a:p>
                      <a:endParaRPr lang="en-IN">
                        <a:latin typeface="+mn-lt"/>
                      </a:endParaRPr>
                    </a:p>
                  </p:txBody>
                </p:sp>
                <p:sp>
                  <p:nvSpPr>
                    <p:cNvPr id="211" name="Freeform: Shape 76">
                      <a:extLst>
                        <a:ext uri="{FF2B5EF4-FFF2-40B4-BE49-F238E27FC236}">
                          <a16:creationId xmlns:a16="http://schemas.microsoft.com/office/drawing/2014/main" id="{B19BD61C-A523-F545-A6ED-C0326B9CFDE8}"/>
                        </a:ext>
                      </a:extLst>
                    </p:cNvPr>
                    <p:cNvSpPr/>
                    <p:nvPr/>
                  </p:nvSpPr>
                  <p:spPr>
                    <a:xfrm>
                      <a:off x="9115394" y="3292237"/>
                      <a:ext cx="38321" cy="151800"/>
                    </a:xfrm>
                    <a:custGeom>
                      <a:avLst/>
                      <a:gdLst>
                        <a:gd name="connsiteX0" fmla="*/ 944 w 38321"/>
                        <a:gd name="connsiteY0" fmla="*/ 126568 h 151800"/>
                        <a:gd name="connsiteX1" fmla="*/ 0 w 38321"/>
                        <a:gd name="connsiteY1" fmla="*/ 1080 h 151800"/>
                        <a:gd name="connsiteX2" fmla="*/ 6072 w 38321"/>
                        <a:gd name="connsiteY2" fmla="*/ 0 h 151800"/>
                        <a:gd name="connsiteX3" fmla="*/ 32519 w 38321"/>
                        <a:gd name="connsiteY3" fmla="*/ 20375 h 151800"/>
                        <a:gd name="connsiteX4" fmla="*/ 38321 w 38321"/>
                        <a:gd name="connsiteY4" fmla="*/ 151800 h 151800"/>
                        <a:gd name="connsiteX5" fmla="*/ 944 w 38321"/>
                        <a:gd name="connsiteY5" fmla="*/ 126568 h 15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21" h="151800">
                          <a:moveTo>
                            <a:pt x="944" y="126568"/>
                          </a:moveTo>
                          <a:lnTo>
                            <a:pt x="0" y="1080"/>
                          </a:lnTo>
                          <a:cubicBezTo>
                            <a:pt x="0" y="1080"/>
                            <a:pt x="2159" y="675"/>
                            <a:pt x="6072" y="0"/>
                          </a:cubicBezTo>
                          <a:cubicBezTo>
                            <a:pt x="15922" y="7152"/>
                            <a:pt x="32924" y="19970"/>
                            <a:pt x="32519" y="20375"/>
                          </a:cubicBezTo>
                          <a:cubicBezTo>
                            <a:pt x="31979" y="20915"/>
                            <a:pt x="37512" y="134394"/>
                            <a:pt x="38321" y="151800"/>
                          </a:cubicBezTo>
                          <a:cubicBezTo>
                            <a:pt x="32924" y="149506"/>
                            <a:pt x="944" y="126568"/>
                            <a:pt x="944" y="126568"/>
                          </a:cubicBezTo>
                          <a:close/>
                        </a:path>
                      </a:pathLst>
                    </a:custGeom>
                    <a:solidFill>
                      <a:srgbClr val="174B72"/>
                    </a:solidFill>
                    <a:ln w="1349" cap="flat">
                      <a:noFill/>
                      <a:prstDash val="solid"/>
                      <a:miter/>
                    </a:ln>
                  </p:spPr>
                  <p:txBody>
                    <a:bodyPr rtlCol="0" anchor="ctr"/>
                    <a:lstStyle/>
                    <a:p>
                      <a:endParaRPr lang="en-IN">
                        <a:latin typeface="+mn-lt"/>
                      </a:endParaRPr>
                    </a:p>
                  </p:txBody>
                </p:sp>
                <p:sp>
                  <p:nvSpPr>
                    <p:cNvPr id="212" name="Freeform: Shape 77">
                      <a:extLst>
                        <a:ext uri="{FF2B5EF4-FFF2-40B4-BE49-F238E27FC236}">
                          <a16:creationId xmlns:a16="http://schemas.microsoft.com/office/drawing/2014/main" id="{49A45019-77CB-1941-B633-B038B7AA197F}"/>
                        </a:ext>
                      </a:extLst>
                    </p:cNvPr>
                    <p:cNvSpPr/>
                    <p:nvPr/>
                  </p:nvSpPr>
                  <p:spPr>
                    <a:xfrm>
                      <a:off x="9114989" y="3270384"/>
                      <a:ext cx="197947" cy="106860"/>
                    </a:xfrm>
                    <a:custGeom>
                      <a:avLst/>
                      <a:gdLst>
                        <a:gd name="connsiteX0" fmla="*/ 136148 w 197947"/>
                        <a:gd name="connsiteY0" fmla="*/ 106861 h 106860"/>
                        <a:gd name="connsiteX1" fmla="*/ 31440 w 197947"/>
                        <a:gd name="connsiteY1" fmla="*/ 48030 h 106860"/>
                        <a:gd name="connsiteX2" fmla="*/ 0 w 197947"/>
                        <a:gd name="connsiteY2" fmla="*/ 21583 h 106860"/>
                        <a:gd name="connsiteX3" fmla="*/ 158412 w 197947"/>
                        <a:gd name="connsiteY3" fmla="*/ 129 h 106860"/>
                        <a:gd name="connsiteX4" fmla="*/ 197948 w 197947"/>
                        <a:gd name="connsiteY4" fmla="*/ 19154 h 106860"/>
                        <a:gd name="connsiteX5" fmla="*/ 136148 w 197947"/>
                        <a:gd name="connsiteY5" fmla="*/ 106861 h 10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947" h="106860">
                          <a:moveTo>
                            <a:pt x="136148" y="106861"/>
                          </a:moveTo>
                          <a:lnTo>
                            <a:pt x="31440" y="48030"/>
                          </a:lnTo>
                          <a:lnTo>
                            <a:pt x="0" y="21583"/>
                          </a:lnTo>
                          <a:cubicBezTo>
                            <a:pt x="5397" y="20639"/>
                            <a:pt x="155848" y="-1895"/>
                            <a:pt x="158412" y="129"/>
                          </a:cubicBezTo>
                          <a:cubicBezTo>
                            <a:pt x="160841" y="1883"/>
                            <a:pt x="192415" y="14162"/>
                            <a:pt x="197948" y="19154"/>
                          </a:cubicBezTo>
                          <a:lnTo>
                            <a:pt x="136148" y="106861"/>
                          </a:lnTo>
                          <a:close/>
                        </a:path>
                      </a:pathLst>
                    </a:custGeom>
                    <a:solidFill>
                      <a:srgbClr val="002047"/>
                    </a:solidFill>
                    <a:ln w="1349" cap="flat">
                      <a:noFill/>
                      <a:prstDash val="solid"/>
                      <a:miter/>
                    </a:ln>
                  </p:spPr>
                  <p:txBody>
                    <a:bodyPr rtlCol="0" anchor="ctr"/>
                    <a:lstStyle/>
                    <a:p>
                      <a:endParaRPr lang="en-IN">
                        <a:latin typeface="+mn-lt"/>
                      </a:endParaRPr>
                    </a:p>
                  </p:txBody>
                </p:sp>
                <p:sp>
                  <p:nvSpPr>
                    <p:cNvPr id="213" name="Freeform: Shape 78">
                      <a:extLst>
                        <a:ext uri="{FF2B5EF4-FFF2-40B4-BE49-F238E27FC236}">
                          <a16:creationId xmlns:a16="http://schemas.microsoft.com/office/drawing/2014/main" id="{CCC290E2-A46D-C04A-B649-CC13FE907EBF}"/>
                        </a:ext>
                      </a:extLst>
                    </p:cNvPr>
                    <p:cNvSpPr/>
                    <p:nvPr/>
                  </p:nvSpPr>
                  <p:spPr>
                    <a:xfrm>
                      <a:off x="9223205" y="3354711"/>
                      <a:ext cx="40480" cy="31034"/>
                    </a:xfrm>
                    <a:custGeom>
                      <a:avLst/>
                      <a:gdLst>
                        <a:gd name="connsiteX0" fmla="*/ 37242 w 40480"/>
                        <a:gd name="connsiteY0" fmla="*/ 0 h 31034"/>
                        <a:gd name="connsiteX1" fmla="*/ 40480 w 40480"/>
                        <a:gd name="connsiteY1" fmla="*/ 4183 h 31034"/>
                        <a:gd name="connsiteX2" fmla="*/ 37647 w 40480"/>
                        <a:gd name="connsiteY2" fmla="*/ 24963 h 31034"/>
                        <a:gd name="connsiteX3" fmla="*/ 6612 w 40480"/>
                        <a:gd name="connsiteY3" fmla="*/ 31035 h 31034"/>
                        <a:gd name="connsiteX4" fmla="*/ 2159 w 40480"/>
                        <a:gd name="connsiteY4" fmla="*/ 26447 h 31034"/>
                        <a:gd name="connsiteX5" fmla="*/ 0 w 40480"/>
                        <a:gd name="connsiteY5" fmla="*/ 4858 h 31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80" h="31034">
                          <a:moveTo>
                            <a:pt x="37242" y="0"/>
                          </a:moveTo>
                          <a:lnTo>
                            <a:pt x="40480" y="4183"/>
                          </a:lnTo>
                          <a:lnTo>
                            <a:pt x="37647" y="24963"/>
                          </a:lnTo>
                          <a:lnTo>
                            <a:pt x="6612" y="31035"/>
                          </a:lnTo>
                          <a:lnTo>
                            <a:pt x="2159" y="26447"/>
                          </a:lnTo>
                          <a:lnTo>
                            <a:pt x="0" y="4858"/>
                          </a:lnTo>
                          <a:close/>
                        </a:path>
                      </a:pathLst>
                    </a:custGeom>
                    <a:solidFill>
                      <a:srgbClr val="002047"/>
                    </a:solidFill>
                    <a:ln w="1349" cap="flat">
                      <a:noFill/>
                      <a:prstDash val="solid"/>
                      <a:miter/>
                    </a:ln>
                  </p:spPr>
                  <p:txBody>
                    <a:bodyPr rtlCol="0" anchor="ctr"/>
                    <a:lstStyle/>
                    <a:p>
                      <a:endParaRPr lang="en-IN">
                        <a:latin typeface="+mn-lt"/>
                      </a:endParaRPr>
                    </a:p>
                  </p:txBody>
                </p:sp>
                <p:sp>
                  <p:nvSpPr>
                    <p:cNvPr id="214" name="Freeform: Shape 79">
                      <a:extLst>
                        <a:ext uri="{FF2B5EF4-FFF2-40B4-BE49-F238E27FC236}">
                          <a16:creationId xmlns:a16="http://schemas.microsoft.com/office/drawing/2014/main" id="{A8111D56-CCF7-124C-BF18-8FD7F92A6038}"/>
                        </a:ext>
                      </a:extLst>
                    </p:cNvPr>
                    <p:cNvSpPr/>
                    <p:nvPr/>
                  </p:nvSpPr>
                  <p:spPr>
                    <a:xfrm>
                      <a:off x="9115259" y="3266772"/>
                      <a:ext cx="196733" cy="106830"/>
                    </a:xfrm>
                    <a:custGeom>
                      <a:avLst/>
                      <a:gdLst>
                        <a:gd name="connsiteX0" fmla="*/ 136958 w 196733"/>
                        <a:gd name="connsiteY0" fmla="*/ 106830 h 106830"/>
                        <a:gd name="connsiteX1" fmla="*/ 28201 w 196733"/>
                        <a:gd name="connsiteY1" fmla="*/ 48944 h 106830"/>
                        <a:gd name="connsiteX2" fmla="*/ 0 w 196733"/>
                        <a:gd name="connsiteY2" fmla="*/ 25196 h 106830"/>
                        <a:gd name="connsiteX3" fmla="*/ 159222 w 196733"/>
                        <a:gd name="connsiteY3" fmla="*/ 98 h 106830"/>
                        <a:gd name="connsiteX4" fmla="*/ 196733 w 196733"/>
                        <a:gd name="connsiteY4" fmla="*/ 21417 h 106830"/>
                        <a:gd name="connsiteX5" fmla="*/ 136958 w 196733"/>
                        <a:gd name="connsiteY5" fmla="*/ 106830 h 106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733" h="106830">
                          <a:moveTo>
                            <a:pt x="136958" y="106830"/>
                          </a:moveTo>
                          <a:lnTo>
                            <a:pt x="28201" y="48944"/>
                          </a:lnTo>
                          <a:lnTo>
                            <a:pt x="0" y="25196"/>
                          </a:lnTo>
                          <a:cubicBezTo>
                            <a:pt x="5397" y="24251"/>
                            <a:pt x="156658" y="-1791"/>
                            <a:pt x="159222" y="98"/>
                          </a:cubicBezTo>
                          <a:cubicBezTo>
                            <a:pt x="161651" y="1852"/>
                            <a:pt x="191201" y="16425"/>
                            <a:pt x="196733" y="21417"/>
                          </a:cubicBezTo>
                          <a:lnTo>
                            <a:pt x="136958" y="106830"/>
                          </a:lnTo>
                          <a:close/>
                        </a:path>
                      </a:pathLst>
                    </a:custGeom>
                    <a:solidFill>
                      <a:srgbClr val="2F7299"/>
                    </a:solidFill>
                    <a:ln w="1349" cap="flat">
                      <a:noFill/>
                      <a:prstDash val="solid"/>
                      <a:miter/>
                    </a:ln>
                  </p:spPr>
                  <p:txBody>
                    <a:bodyPr rtlCol="0" anchor="ctr"/>
                    <a:lstStyle/>
                    <a:p>
                      <a:endParaRPr lang="en-IN">
                        <a:latin typeface="+mn-lt"/>
                      </a:endParaRPr>
                    </a:p>
                  </p:txBody>
                </p:sp>
                <p:sp>
                  <p:nvSpPr>
                    <p:cNvPr id="215" name="Freeform: Shape 80">
                      <a:extLst>
                        <a:ext uri="{FF2B5EF4-FFF2-40B4-BE49-F238E27FC236}">
                          <a16:creationId xmlns:a16="http://schemas.microsoft.com/office/drawing/2014/main" id="{ABDFD7A5-ED79-2B49-9A25-C07A6BA9298C}"/>
                        </a:ext>
                      </a:extLst>
                    </p:cNvPr>
                    <p:cNvSpPr/>
                    <p:nvPr/>
                  </p:nvSpPr>
                  <p:spPr>
                    <a:xfrm>
                      <a:off x="9114989" y="3266762"/>
                      <a:ext cx="199836" cy="51922"/>
                    </a:xfrm>
                    <a:custGeom>
                      <a:avLst/>
                      <a:gdLst>
                        <a:gd name="connsiteX0" fmla="*/ 199837 w 199836"/>
                        <a:gd name="connsiteY0" fmla="*/ 22642 h 51922"/>
                        <a:gd name="connsiteX1" fmla="*/ 31979 w 199836"/>
                        <a:gd name="connsiteY1" fmla="*/ 51922 h 51922"/>
                        <a:gd name="connsiteX2" fmla="*/ 3643 w 199836"/>
                        <a:gd name="connsiteY2" fmla="*/ 28309 h 51922"/>
                        <a:gd name="connsiteX3" fmla="*/ 0 w 199836"/>
                        <a:gd name="connsiteY3" fmla="*/ 25206 h 51922"/>
                        <a:gd name="connsiteX4" fmla="*/ 159357 w 199836"/>
                        <a:gd name="connsiteY4" fmla="*/ 108 h 51922"/>
                        <a:gd name="connsiteX5" fmla="*/ 169747 w 199836"/>
                        <a:gd name="connsiteY5" fmla="*/ 4831 h 51922"/>
                        <a:gd name="connsiteX6" fmla="*/ 199837 w 199836"/>
                        <a:gd name="connsiteY6" fmla="*/ 22237 h 51922"/>
                        <a:gd name="connsiteX7" fmla="*/ 199837 w 199836"/>
                        <a:gd name="connsiteY7" fmla="*/ 22642 h 5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836" h="51922">
                          <a:moveTo>
                            <a:pt x="199837" y="22642"/>
                          </a:moveTo>
                          <a:cubicBezTo>
                            <a:pt x="188232" y="24801"/>
                            <a:pt x="31979" y="51922"/>
                            <a:pt x="31979" y="51922"/>
                          </a:cubicBezTo>
                          <a:lnTo>
                            <a:pt x="3643" y="28309"/>
                          </a:lnTo>
                          <a:lnTo>
                            <a:pt x="0" y="25206"/>
                          </a:lnTo>
                          <a:cubicBezTo>
                            <a:pt x="0" y="25206"/>
                            <a:pt x="156793" y="-1916"/>
                            <a:pt x="159357" y="108"/>
                          </a:cubicBezTo>
                          <a:cubicBezTo>
                            <a:pt x="160166" y="648"/>
                            <a:pt x="164349" y="2537"/>
                            <a:pt x="169747" y="4831"/>
                          </a:cubicBezTo>
                          <a:lnTo>
                            <a:pt x="199837" y="22237"/>
                          </a:lnTo>
                          <a:cubicBezTo>
                            <a:pt x="199837" y="22237"/>
                            <a:pt x="199837" y="22507"/>
                            <a:pt x="199837" y="22642"/>
                          </a:cubicBezTo>
                          <a:close/>
                        </a:path>
                      </a:pathLst>
                    </a:custGeom>
                    <a:solidFill>
                      <a:srgbClr val="448FB5"/>
                    </a:solidFill>
                    <a:ln w="1349" cap="flat">
                      <a:noFill/>
                      <a:prstDash val="solid"/>
                      <a:miter/>
                    </a:ln>
                  </p:spPr>
                  <p:txBody>
                    <a:bodyPr rtlCol="0" anchor="ctr"/>
                    <a:lstStyle/>
                    <a:p>
                      <a:endParaRPr lang="en-IN">
                        <a:latin typeface="+mn-lt"/>
                      </a:endParaRPr>
                    </a:p>
                  </p:txBody>
                </p:sp>
                <p:sp>
                  <p:nvSpPr>
                    <p:cNvPr id="216" name="Freeform: Shape 81">
                      <a:extLst>
                        <a:ext uri="{FF2B5EF4-FFF2-40B4-BE49-F238E27FC236}">
                          <a16:creationId xmlns:a16="http://schemas.microsoft.com/office/drawing/2014/main" id="{C732E43A-4711-DE4F-A73C-8651C7DF72B4}"/>
                        </a:ext>
                      </a:extLst>
                    </p:cNvPr>
                    <p:cNvSpPr/>
                    <p:nvPr/>
                  </p:nvSpPr>
                  <p:spPr>
                    <a:xfrm>
                      <a:off x="9227119" y="3355926"/>
                      <a:ext cx="40614" cy="31034"/>
                    </a:xfrm>
                    <a:custGeom>
                      <a:avLst/>
                      <a:gdLst>
                        <a:gd name="connsiteX0" fmla="*/ 37377 w 40614"/>
                        <a:gd name="connsiteY0" fmla="*/ 0 h 31034"/>
                        <a:gd name="connsiteX1" fmla="*/ 40615 w 40614"/>
                        <a:gd name="connsiteY1" fmla="*/ 4183 h 31034"/>
                        <a:gd name="connsiteX2" fmla="*/ 37781 w 40614"/>
                        <a:gd name="connsiteY2" fmla="*/ 24963 h 31034"/>
                        <a:gd name="connsiteX3" fmla="*/ 6612 w 40614"/>
                        <a:gd name="connsiteY3" fmla="*/ 31035 h 31034"/>
                        <a:gd name="connsiteX4" fmla="*/ 2294 w 40614"/>
                        <a:gd name="connsiteY4" fmla="*/ 26447 h 31034"/>
                        <a:gd name="connsiteX5" fmla="*/ 0 w 40614"/>
                        <a:gd name="connsiteY5" fmla="*/ 4858 h 31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14" h="31034">
                          <a:moveTo>
                            <a:pt x="37377" y="0"/>
                          </a:moveTo>
                          <a:lnTo>
                            <a:pt x="40615" y="4183"/>
                          </a:lnTo>
                          <a:lnTo>
                            <a:pt x="37781" y="24963"/>
                          </a:lnTo>
                          <a:lnTo>
                            <a:pt x="6612" y="31035"/>
                          </a:lnTo>
                          <a:lnTo>
                            <a:pt x="2294" y="26447"/>
                          </a:lnTo>
                          <a:lnTo>
                            <a:pt x="0" y="4858"/>
                          </a:lnTo>
                          <a:close/>
                        </a:path>
                      </a:pathLst>
                    </a:custGeom>
                    <a:solidFill>
                      <a:srgbClr val="FFFFFF"/>
                    </a:solidFill>
                    <a:ln w="1349" cap="flat">
                      <a:noFill/>
                      <a:prstDash val="solid"/>
                      <a:miter/>
                    </a:ln>
                  </p:spPr>
                  <p:txBody>
                    <a:bodyPr rtlCol="0" anchor="ctr"/>
                    <a:lstStyle/>
                    <a:p>
                      <a:endParaRPr lang="en-IN">
                        <a:latin typeface="+mn-lt"/>
                      </a:endParaRPr>
                    </a:p>
                  </p:txBody>
                </p:sp>
                <p:sp>
                  <p:nvSpPr>
                    <p:cNvPr id="217" name="Freeform: Shape 82">
                      <a:extLst>
                        <a:ext uri="{FF2B5EF4-FFF2-40B4-BE49-F238E27FC236}">
                          <a16:creationId xmlns:a16="http://schemas.microsoft.com/office/drawing/2014/main" id="{5B42FD80-B789-DE45-A1EC-3E7DF03E9D0A}"/>
                        </a:ext>
                      </a:extLst>
                    </p:cNvPr>
                    <p:cNvSpPr/>
                    <p:nvPr/>
                  </p:nvSpPr>
                  <p:spPr>
                    <a:xfrm>
                      <a:off x="9233730" y="3360648"/>
                      <a:ext cx="32384" cy="26312"/>
                    </a:xfrm>
                    <a:custGeom>
                      <a:avLst/>
                      <a:gdLst>
                        <a:gd name="connsiteX0" fmla="*/ 1754 w 32384"/>
                        <a:gd name="connsiteY0" fmla="*/ 5262 h 26312"/>
                        <a:gd name="connsiteX1" fmla="*/ 32384 w 32384"/>
                        <a:gd name="connsiteY1" fmla="*/ 0 h 26312"/>
                        <a:gd name="connsiteX2" fmla="*/ 31305 w 32384"/>
                        <a:gd name="connsiteY2" fmla="*/ 20240 h 26312"/>
                        <a:gd name="connsiteX3" fmla="*/ 135 w 32384"/>
                        <a:gd name="connsiteY3" fmla="*/ 26312 h 26312"/>
                        <a:gd name="connsiteX4" fmla="*/ 0 w 32384"/>
                        <a:gd name="connsiteY4" fmla="*/ 26177 h 26312"/>
                        <a:gd name="connsiteX5" fmla="*/ 1754 w 32384"/>
                        <a:gd name="connsiteY5" fmla="*/ 5262 h 2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84" h="26312">
                          <a:moveTo>
                            <a:pt x="1754" y="5262"/>
                          </a:moveTo>
                          <a:cubicBezTo>
                            <a:pt x="1754" y="5262"/>
                            <a:pt x="23613" y="944"/>
                            <a:pt x="32384" y="0"/>
                          </a:cubicBezTo>
                          <a:lnTo>
                            <a:pt x="31305" y="20240"/>
                          </a:lnTo>
                          <a:lnTo>
                            <a:pt x="135" y="26312"/>
                          </a:lnTo>
                          <a:lnTo>
                            <a:pt x="0" y="26177"/>
                          </a:lnTo>
                          <a:lnTo>
                            <a:pt x="1754" y="5262"/>
                          </a:lnTo>
                          <a:close/>
                        </a:path>
                      </a:pathLst>
                    </a:custGeom>
                    <a:solidFill>
                      <a:srgbClr val="A2EDF5">
                        <a:alpha val="88000"/>
                      </a:srgbClr>
                    </a:solidFill>
                    <a:ln w="1349" cap="flat">
                      <a:noFill/>
                      <a:prstDash val="solid"/>
                      <a:miter/>
                    </a:ln>
                  </p:spPr>
                  <p:txBody>
                    <a:bodyPr rtlCol="0" anchor="ctr"/>
                    <a:lstStyle/>
                    <a:p>
                      <a:endParaRPr lang="en-IN">
                        <a:latin typeface="+mn-lt"/>
                      </a:endParaRPr>
                    </a:p>
                  </p:txBody>
                </p:sp>
              </p:grpSp>
              <p:grpSp>
                <p:nvGrpSpPr>
                  <p:cNvPr id="183" name="Graphic 1">
                    <a:extLst>
                      <a:ext uri="{FF2B5EF4-FFF2-40B4-BE49-F238E27FC236}">
                        <a16:creationId xmlns:a16="http://schemas.microsoft.com/office/drawing/2014/main" id="{A5EB49B2-5827-924F-BF83-0CEAA7001601}"/>
                      </a:ext>
                    </a:extLst>
                  </p:cNvPr>
                  <p:cNvGrpSpPr/>
                  <p:nvPr/>
                </p:nvGrpSpPr>
                <p:grpSpPr>
                  <a:xfrm>
                    <a:off x="9163430" y="2710134"/>
                    <a:ext cx="281876" cy="1003905"/>
                    <a:chOff x="9163430" y="2710134"/>
                    <a:chExt cx="281876" cy="1003905"/>
                  </a:xfrm>
                  <a:solidFill>
                    <a:schemeClr val="accent1"/>
                  </a:solidFill>
                </p:grpSpPr>
                <p:sp>
                  <p:nvSpPr>
                    <p:cNvPr id="188" name="Freeform: Shape 54">
                      <a:extLst>
                        <a:ext uri="{FF2B5EF4-FFF2-40B4-BE49-F238E27FC236}">
                          <a16:creationId xmlns:a16="http://schemas.microsoft.com/office/drawing/2014/main" id="{6A2D64C1-1DB9-524D-A077-9899A30363F6}"/>
                        </a:ext>
                      </a:extLst>
                    </p:cNvPr>
                    <p:cNvSpPr/>
                    <p:nvPr/>
                  </p:nvSpPr>
                  <p:spPr>
                    <a:xfrm>
                      <a:off x="9187853" y="3207229"/>
                      <a:ext cx="44258" cy="80555"/>
                    </a:xfrm>
                    <a:custGeom>
                      <a:avLst/>
                      <a:gdLst>
                        <a:gd name="connsiteX0" fmla="*/ 44258 w 44258"/>
                        <a:gd name="connsiteY0" fmla="*/ 31440 h 80555"/>
                        <a:gd name="connsiteX1" fmla="*/ 17946 w 44258"/>
                        <a:gd name="connsiteY1" fmla="*/ 0 h 80555"/>
                        <a:gd name="connsiteX2" fmla="*/ 4048 w 44258"/>
                        <a:gd name="connsiteY2" fmla="*/ 25772 h 80555"/>
                        <a:gd name="connsiteX3" fmla="*/ 0 w 44258"/>
                        <a:gd name="connsiteY3" fmla="*/ 61665 h 80555"/>
                        <a:gd name="connsiteX4" fmla="*/ 21185 w 44258"/>
                        <a:gd name="connsiteY4" fmla="*/ 80555 h 80555"/>
                        <a:gd name="connsiteX5" fmla="*/ 27661 w 44258"/>
                        <a:gd name="connsiteY5" fmla="*/ 75698 h 80555"/>
                        <a:gd name="connsiteX6" fmla="*/ 30900 w 44258"/>
                        <a:gd name="connsiteY6" fmla="*/ 37242 h 8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258" h="80555">
                          <a:moveTo>
                            <a:pt x="44258" y="31440"/>
                          </a:moveTo>
                          <a:lnTo>
                            <a:pt x="17946" y="0"/>
                          </a:lnTo>
                          <a:lnTo>
                            <a:pt x="4048" y="25772"/>
                          </a:lnTo>
                          <a:lnTo>
                            <a:pt x="0" y="61665"/>
                          </a:lnTo>
                          <a:lnTo>
                            <a:pt x="21185" y="80555"/>
                          </a:lnTo>
                          <a:lnTo>
                            <a:pt x="27661" y="75698"/>
                          </a:lnTo>
                          <a:lnTo>
                            <a:pt x="30900" y="37242"/>
                          </a:lnTo>
                          <a:close/>
                        </a:path>
                      </a:pathLst>
                    </a:custGeom>
                    <a:solidFill>
                      <a:srgbClr val="FFAB84"/>
                    </a:solidFill>
                    <a:ln w="1349" cap="flat">
                      <a:noFill/>
                      <a:prstDash val="solid"/>
                      <a:miter/>
                    </a:ln>
                  </p:spPr>
                  <p:txBody>
                    <a:bodyPr rtlCol="0" anchor="ctr"/>
                    <a:lstStyle/>
                    <a:p>
                      <a:endParaRPr lang="en-IN">
                        <a:latin typeface="+mn-lt"/>
                      </a:endParaRPr>
                    </a:p>
                  </p:txBody>
                </p:sp>
                <p:grpSp>
                  <p:nvGrpSpPr>
                    <p:cNvPr id="189" name="Graphic 1">
                      <a:extLst>
                        <a:ext uri="{FF2B5EF4-FFF2-40B4-BE49-F238E27FC236}">
                          <a16:creationId xmlns:a16="http://schemas.microsoft.com/office/drawing/2014/main" id="{5A3DFB25-8092-FE42-8529-720C90F3DAC3}"/>
                        </a:ext>
                      </a:extLst>
                    </p:cNvPr>
                    <p:cNvGrpSpPr/>
                    <p:nvPr/>
                  </p:nvGrpSpPr>
                  <p:grpSpPr>
                    <a:xfrm>
                      <a:off x="9178833" y="3254959"/>
                      <a:ext cx="72168" cy="40087"/>
                      <a:chOff x="9178833" y="3254959"/>
                      <a:chExt cx="72168" cy="40087"/>
                    </a:xfrm>
                    <a:solidFill>
                      <a:schemeClr val="accent1"/>
                    </a:solidFill>
                  </p:grpSpPr>
                  <p:grpSp>
                    <p:nvGrpSpPr>
                      <p:cNvPr id="203" name="Graphic 1">
                        <a:extLst>
                          <a:ext uri="{FF2B5EF4-FFF2-40B4-BE49-F238E27FC236}">
                            <a16:creationId xmlns:a16="http://schemas.microsoft.com/office/drawing/2014/main" id="{B98B466B-D90D-DE43-9152-0A820D4ED144}"/>
                          </a:ext>
                        </a:extLst>
                      </p:cNvPr>
                      <p:cNvGrpSpPr/>
                      <p:nvPr/>
                    </p:nvGrpSpPr>
                    <p:grpSpPr>
                      <a:xfrm>
                        <a:off x="9212410" y="3254959"/>
                        <a:ext cx="38591" cy="31205"/>
                        <a:chOff x="9212410" y="3254959"/>
                        <a:chExt cx="38591" cy="31205"/>
                      </a:xfrm>
                      <a:solidFill>
                        <a:schemeClr val="accent1"/>
                      </a:solidFill>
                    </p:grpSpPr>
                    <p:sp>
                      <p:nvSpPr>
                        <p:cNvPr id="207" name="Freeform: Shape 72">
                          <a:extLst>
                            <a:ext uri="{FF2B5EF4-FFF2-40B4-BE49-F238E27FC236}">
                              <a16:creationId xmlns:a16="http://schemas.microsoft.com/office/drawing/2014/main" id="{0810AA5B-4E7C-E346-938C-40A04142F281}"/>
                            </a:ext>
                          </a:extLst>
                        </p:cNvPr>
                        <p:cNvSpPr/>
                        <p:nvPr/>
                      </p:nvSpPr>
                      <p:spPr>
                        <a:xfrm>
                          <a:off x="9236429" y="3267409"/>
                          <a:ext cx="8391" cy="18755"/>
                        </a:xfrm>
                        <a:custGeom>
                          <a:avLst/>
                          <a:gdLst>
                            <a:gd name="connsiteX0" fmla="*/ 1349 w 8391"/>
                            <a:gd name="connsiteY0" fmla="*/ 1214 h 18755"/>
                            <a:gd name="connsiteX1" fmla="*/ 4183 w 8391"/>
                            <a:gd name="connsiteY1" fmla="*/ 0 h 18755"/>
                            <a:gd name="connsiteX2" fmla="*/ 7421 w 8391"/>
                            <a:gd name="connsiteY2" fmla="*/ 2294 h 18755"/>
                            <a:gd name="connsiteX3" fmla="*/ 8366 w 8391"/>
                            <a:gd name="connsiteY3" fmla="*/ 18756 h 18755"/>
                            <a:gd name="connsiteX4" fmla="*/ 1214 w 8391"/>
                            <a:gd name="connsiteY4" fmla="*/ 13223 h 18755"/>
                            <a:gd name="connsiteX5" fmla="*/ 0 w 8391"/>
                            <a:gd name="connsiteY5" fmla="*/ 135 h 18755"/>
                            <a:gd name="connsiteX6" fmla="*/ 1349 w 8391"/>
                            <a:gd name="connsiteY6" fmla="*/ 1214 h 1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91" h="18755">
                              <a:moveTo>
                                <a:pt x="1349" y="1214"/>
                              </a:moveTo>
                              <a:lnTo>
                                <a:pt x="4183" y="0"/>
                              </a:lnTo>
                              <a:cubicBezTo>
                                <a:pt x="4183" y="0"/>
                                <a:pt x="6207" y="810"/>
                                <a:pt x="7421" y="2294"/>
                              </a:cubicBezTo>
                              <a:cubicBezTo>
                                <a:pt x="8636" y="3778"/>
                                <a:pt x="8366" y="18756"/>
                                <a:pt x="8366" y="18756"/>
                              </a:cubicBezTo>
                              <a:lnTo>
                                <a:pt x="1214" y="13223"/>
                              </a:lnTo>
                              <a:lnTo>
                                <a:pt x="0" y="135"/>
                              </a:lnTo>
                              <a:lnTo>
                                <a:pt x="1349" y="1214"/>
                              </a:lnTo>
                              <a:close/>
                            </a:path>
                          </a:pathLst>
                        </a:custGeom>
                        <a:solidFill>
                          <a:srgbClr val="174B72"/>
                        </a:solidFill>
                        <a:ln w="1349" cap="flat">
                          <a:noFill/>
                          <a:prstDash val="solid"/>
                          <a:miter/>
                        </a:ln>
                      </p:spPr>
                      <p:txBody>
                        <a:bodyPr rtlCol="0" anchor="ctr"/>
                        <a:lstStyle/>
                        <a:p>
                          <a:endParaRPr lang="en-IN">
                            <a:latin typeface="+mn-lt"/>
                          </a:endParaRPr>
                        </a:p>
                      </p:txBody>
                    </p:sp>
                    <p:sp>
                      <p:nvSpPr>
                        <p:cNvPr id="208" name="Freeform: Shape 73">
                          <a:extLst>
                            <a:ext uri="{FF2B5EF4-FFF2-40B4-BE49-F238E27FC236}">
                              <a16:creationId xmlns:a16="http://schemas.microsoft.com/office/drawing/2014/main" id="{3EC69397-4F3C-2246-B957-F19452EFFE0D}"/>
                            </a:ext>
                          </a:extLst>
                        </p:cNvPr>
                        <p:cNvSpPr/>
                        <p:nvPr/>
                      </p:nvSpPr>
                      <p:spPr>
                        <a:xfrm>
                          <a:off x="9212410" y="3255082"/>
                          <a:ext cx="38591" cy="31082"/>
                        </a:xfrm>
                        <a:custGeom>
                          <a:avLst/>
                          <a:gdLst>
                            <a:gd name="connsiteX0" fmla="*/ 28472 w 38591"/>
                            <a:gd name="connsiteY0" fmla="*/ 48 h 31082"/>
                            <a:gd name="connsiteX1" fmla="*/ 37917 w 38591"/>
                            <a:gd name="connsiteY1" fmla="*/ 12597 h 31082"/>
                            <a:gd name="connsiteX2" fmla="*/ 38592 w 38591"/>
                            <a:gd name="connsiteY2" fmla="*/ 28924 h 31082"/>
                            <a:gd name="connsiteX3" fmla="*/ 32520 w 38591"/>
                            <a:gd name="connsiteY3" fmla="*/ 31083 h 31082"/>
                            <a:gd name="connsiteX4" fmla="*/ 31575 w 38591"/>
                            <a:gd name="connsiteY4" fmla="*/ 14621 h 31082"/>
                            <a:gd name="connsiteX5" fmla="*/ 28337 w 38591"/>
                            <a:gd name="connsiteY5" fmla="*/ 12327 h 31082"/>
                            <a:gd name="connsiteX6" fmla="*/ 25503 w 38591"/>
                            <a:gd name="connsiteY6" fmla="*/ 13541 h 31082"/>
                            <a:gd name="connsiteX7" fmla="*/ 24154 w 38591"/>
                            <a:gd name="connsiteY7" fmla="*/ 12597 h 31082"/>
                            <a:gd name="connsiteX8" fmla="*/ 1 w 38591"/>
                            <a:gd name="connsiteY8" fmla="*/ 2072 h 31082"/>
                            <a:gd name="connsiteX9" fmla="*/ 28472 w 38591"/>
                            <a:gd name="connsiteY9" fmla="*/ 48 h 3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91" h="31082">
                              <a:moveTo>
                                <a:pt x="28472" y="48"/>
                              </a:moveTo>
                              <a:cubicBezTo>
                                <a:pt x="36163" y="858"/>
                                <a:pt x="37917" y="12597"/>
                                <a:pt x="37917" y="12597"/>
                              </a:cubicBezTo>
                              <a:lnTo>
                                <a:pt x="38592" y="28924"/>
                              </a:lnTo>
                              <a:lnTo>
                                <a:pt x="32520" y="31083"/>
                              </a:lnTo>
                              <a:cubicBezTo>
                                <a:pt x="32520" y="31083"/>
                                <a:pt x="32789" y="16240"/>
                                <a:pt x="31575" y="14621"/>
                              </a:cubicBezTo>
                              <a:cubicBezTo>
                                <a:pt x="30361" y="13136"/>
                                <a:pt x="28337" y="12327"/>
                                <a:pt x="28337" y="12327"/>
                              </a:cubicBezTo>
                              <a:lnTo>
                                <a:pt x="25503" y="13541"/>
                              </a:lnTo>
                              <a:lnTo>
                                <a:pt x="24154" y="12597"/>
                              </a:lnTo>
                              <a:lnTo>
                                <a:pt x="1" y="2072"/>
                              </a:lnTo>
                              <a:cubicBezTo>
                                <a:pt x="-134" y="1937"/>
                                <a:pt x="25098" y="-357"/>
                                <a:pt x="28472" y="48"/>
                              </a:cubicBezTo>
                              <a:close/>
                            </a:path>
                          </a:pathLst>
                        </a:custGeom>
                        <a:solidFill>
                          <a:srgbClr val="2F7299"/>
                        </a:solidFill>
                        <a:ln w="1349" cap="flat">
                          <a:noFill/>
                          <a:prstDash val="solid"/>
                          <a:miter/>
                        </a:ln>
                      </p:spPr>
                      <p:txBody>
                        <a:bodyPr rtlCol="0" anchor="ctr"/>
                        <a:lstStyle/>
                        <a:p>
                          <a:endParaRPr lang="en-IN">
                            <a:latin typeface="+mn-lt"/>
                          </a:endParaRPr>
                        </a:p>
                      </p:txBody>
                    </p:sp>
                    <p:sp>
                      <p:nvSpPr>
                        <p:cNvPr id="209" name="Freeform: Shape 74">
                          <a:extLst>
                            <a:ext uri="{FF2B5EF4-FFF2-40B4-BE49-F238E27FC236}">
                              <a16:creationId xmlns:a16="http://schemas.microsoft.com/office/drawing/2014/main" id="{64C3AFA2-2B5D-0A4B-BA5E-B77DE0F5B2CD}"/>
                            </a:ext>
                          </a:extLst>
                        </p:cNvPr>
                        <p:cNvSpPr/>
                        <p:nvPr/>
                      </p:nvSpPr>
                      <p:spPr>
                        <a:xfrm>
                          <a:off x="9223745" y="3254959"/>
                          <a:ext cx="22803" cy="7457"/>
                        </a:xfrm>
                        <a:custGeom>
                          <a:avLst/>
                          <a:gdLst>
                            <a:gd name="connsiteX0" fmla="*/ 944 w 22803"/>
                            <a:gd name="connsiteY0" fmla="*/ 7457 h 7457"/>
                            <a:gd name="connsiteX1" fmla="*/ 0 w 22803"/>
                            <a:gd name="connsiteY1" fmla="*/ 7053 h 7457"/>
                            <a:gd name="connsiteX2" fmla="*/ 7556 w 22803"/>
                            <a:gd name="connsiteY2" fmla="*/ 441 h 7457"/>
                            <a:gd name="connsiteX3" fmla="*/ 17137 w 22803"/>
                            <a:gd name="connsiteY3" fmla="*/ 36 h 7457"/>
                            <a:gd name="connsiteX4" fmla="*/ 22804 w 22803"/>
                            <a:gd name="connsiteY4" fmla="*/ 3409 h 7457"/>
                            <a:gd name="connsiteX5" fmla="*/ 944 w 22803"/>
                            <a:gd name="connsiteY5" fmla="*/ 7457 h 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03" h="7457">
                              <a:moveTo>
                                <a:pt x="944" y="7457"/>
                              </a:moveTo>
                              <a:lnTo>
                                <a:pt x="0" y="7053"/>
                              </a:lnTo>
                              <a:lnTo>
                                <a:pt x="7556" y="441"/>
                              </a:lnTo>
                              <a:cubicBezTo>
                                <a:pt x="12009" y="171"/>
                                <a:pt x="15922" y="-99"/>
                                <a:pt x="17137" y="36"/>
                              </a:cubicBezTo>
                              <a:cubicBezTo>
                                <a:pt x="19565" y="306"/>
                                <a:pt x="21454" y="1655"/>
                                <a:pt x="22804" y="3409"/>
                              </a:cubicBezTo>
                              <a:cubicBezTo>
                                <a:pt x="18621" y="4084"/>
                                <a:pt x="5532" y="6513"/>
                                <a:pt x="944" y="7457"/>
                              </a:cubicBezTo>
                              <a:close/>
                            </a:path>
                          </a:pathLst>
                        </a:custGeom>
                        <a:solidFill>
                          <a:srgbClr val="174B72"/>
                        </a:solidFill>
                        <a:ln w="1349" cap="flat">
                          <a:noFill/>
                          <a:prstDash val="solid"/>
                          <a:miter/>
                        </a:ln>
                      </p:spPr>
                      <p:txBody>
                        <a:bodyPr rtlCol="0" anchor="ctr"/>
                        <a:lstStyle/>
                        <a:p>
                          <a:endParaRPr lang="en-IN">
                            <a:latin typeface="+mn-lt"/>
                          </a:endParaRPr>
                        </a:p>
                      </p:txBody>
                    </p:sp>
                  </p:grpSp>
                  <p:sp>
                    <p:nvSpPr>
                      <p:cNvPr id="204" name="Freeform: Shape 70">
                        <a:extLst>
                          <a:ext uri="{FF2B5EF4-FFF2-40B4-BE49-F238E27FC236}">
                            <a16:creationId xmlns:a16="http://schemas.microsoft.com/office/drawing/2014/main" id="{E1CD62E7-B98C-6343-8880-0518C6350CB7}"/>
                          </a:ext>
                        </a:extLst>
                      </p:cNvPr>
                      <p:cNvSpPr/>
                      <p:nvPr/>
                    </p:nvSpPr>
                    <p:spPr>
                      <a:xfrm>
                        <a:off x="9178833" y="3256075"/>
                        <a:ext cx="48015" cy="38972"/>
                      </a:xfrm>
                      <a:custGeom>
                        <a:avLst/>
                        <a:gdLst>
                          <a:gd name="connsiteX0" fmla="*/ 48016 w 48015"/>
                          <a:gd name="connsiteY0" fmla="*/ 5262 h 38972"/>
                          <a:gd name="connsiteX1" fmla="*/ 26831 w 48015"/>
                          <a:gd name="connsiteY1" fmla="*/ 18351 h 38972"/>
                          <a:gd name="connsiteX2" fmla="*/ 17521 w 48015"/>
                          <a:gd name="connsiteY2" fmla="*/ 19970 h 38972"/>
                          <a:gd name="connsiteX3" fmla="*/ 15362 w 48015"/>
                          <a:gd name="connsiteY3" fmla="*/ 35892 h 38972"/>
                          <a:gd name="connsiteX4" fmla="*/ 5916 w 48015"/>
                          <a:gd name="connsiteY4" fmla="*/ 38726 h 38972"/>
                          <a:gd name="connsiteX5" fmla="*/ 384 w 48015"/>
                          <a:gd name="connsiteY5" fmla="*/ 30090 h 38972"/>
                          <a:gd name="connsiteX6" fmla="*/ 1059 w 48015"/>
                          <a:gd name="connsiteY6" fmla="*/ 8096 h 38972"/>
                          <a:gd name="connsiteX7" fmla="*/ 40460 w 48015"/>
                          <a:gd name="connsiteY7" fmla="*/ 0 h 38972"/>
                          <a:gd name="connsiteX8" fmla="*/ 45452 w 48015"/>
                          <a:gd name="connsiteY8" fmla="*/ 2834 h 38972"/>
                          <a:gd name="connsiteX9" fmla="*/ 48016 w 48015"/>
                          <a:gd name="connsiteY9" fmla="*/ 5262 h 3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15" h="38972">
                            <a:moveTo>
                              <a:pt x="48016" y="5262"/>
                            </a:moveTo>
                            <a:lnTo>
                              <a:pt x="26831" y="18351"/>
                            </a:lnTo>
                            <a:cubicBezTo>
                              <a:pt x="26831" y="18351"/>
                              <a:pt x="19815" y="19430"/>
                              <a:pt x="17521" y="19970"/>
                            </a:cubicBezTo>
                            <a:cubicBezTo>
                              <a:pt x="15362" y="20510"/>
                              <a:pt x="14687" y="31574"/>
                              <a:pt x="15362" y="35892"/>
                            </a:cubicBezTo>
                            <a:cubicBezTo>
                              <a:pt x="16036" y="40210"/>
                              <a:pt x="5916" y="38726"/>
                              <a:pt x="5916" y="38726"/>
                            </a:cubicBezTo>
                            <a:lnTo>
                              <a:pt x="384" y="30090"/>
                            </a:lnTo>
                            <a:cubicBezTo>
                              <a:pt x="384" y="30090"/>
                              <a:pt x="-830" y="11199"/>
                              <a:pt x="1059" y="8096"/>
                            </a:cubicBezTo>
                            <a:cubicBezTo>
                              <a:pt x="2948" y="4992"/>
                              <a:pt x="40460" y="0"/>
                              <a:pt x="40460" y="0"/>
                            </a:cubicBezTo>
                            <a:lnTo>
                              <a:pt x="45452" y="2834"/>
                            </a:lnTo>
                            <a:lnTo>
                              <a:pt x="48016" y="5262"/>
                            </a:lnTo>
                            <a:close/>
                          </a:path>
                        </a:pathLst>
                      </a:custGeom>
                      <a:solidFill>
                        <a:srgbClr val="174B72"/>
                      </a:solidFill>
                      <a:ln w="1349" cap="flat">
                        <a:noFill/>
                        <a:prstDash val="solid"/>
                        <a:miter/>
                      </a:ln>
                    </p:spPr>
                    <p:txBody>
                      <a:bodyPr rtlCol="0" anchor="ctr"/>
                      <a:lstStyle/>
                      <a:p>
                        <a:endParaRPr lang="en-IN">
                          <a:latin typeface="+mn-lt"/>
                        </a:endParaRPr>
                      </a:p>
                    </p:txBody>
                  </p:sp>
                  <p:sp>
                    <p:nvSpPr>
                      <p:cNvPr id="206" name="Freeform: Shape 71">
                        <a:extLst>
                          <a:ext uri="{FF2B5EF4-FFF2-40B4-BE49-F238E27FC236}">
                            <a16:creationId xmlns:a16="http://schemas.microsoft.com/office/drawing/2014/main" id="{ED794AF2-3A1B-6543-AEA2-B14D8D57AEB4}"/>
                          </a:ext>
                        </a:extLst>
                      </p:cNvPr>
                      <p:cNvSpPr/>
                      <p:nvPr/>
                    </p:nvSpPr>
                    <p:spPr>
                      <a:xfrm>
                        <a:off x="9185019" y="3262417"/>
                        <a:ext cx="33463" cy="32580"/>
                      </a:xfrm>
                      <a:custGeom>
                        <a:avLst/>
                        <a:gdLst>
                          <a:gd name="connsiteX0" fmla="*/ 3373 w 33463"/>
                          <a:gd name="connsiteY0" fmla="*/ 5937 h 32580"/>
                          <a:gd name="connsiteX1" fmla="*/ 30090 w 33463"/>
                          <a:gd name="connsiteY1" fmla="*/ 0 h 32580"/>
                          <a:gd name="connsiteX2" fmla="*/ 33464 w 33463"/>
                          <a:gd name="connsiteY2" fmla="*/ 10390 h 32580"/>
                          <a:gd name="connsiteX3" fmla="*/ 11335 w 33463"/>
                          <a:gd name="connsiteY3" fmla="*/ 13628 h 32580"/>
                          <a:gd name="connsiteX4" fmla="*/ 9176 w 33463"/>
                          <a:gd name="connsiteY4" fmla="*/ 29550 h 32580"/>
                          <a:gd name="connsiteX5" fmla="*/ 0 w 33463"/>
                          <a:gd name="connsiteY5" fmla="*/ 32384 h 32580"/>
                          <a:gd name="connsiteX6" fmla="*/ 3373 w 33463"/>
                          <a:gd name="connsiteY6" fmla="*/ 5937 h 3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63" h="32580">
                            <a:moveTo>
                              <a:pt x="3373" y="5937"/>
                            </a:moveTo>
                            <a:cubicBezTo>
                              <a:pt x="4993" y="2969"/>
                              <a:pt x="24288" y="0"/>
                              <a:pt x="30090" y="0"/>
                            </a:cubicBezTo>
                            <a:lnTo>
                              <a:pt x="33464" y="10390"/>
                            </a:lnTo>
                            <a:cubicBezTo>
                              <a:pt x="33464" y="10390"/>
                              <a:pt x="13493" y="13089"/>
                              <a:pt x="11335" y="13628"/>
                            </a:cubicBezTo>
                            <a:cubicBezTo>
                              <a:pt x="9176" y="14168"/>
                              <a:pt x="8501" y="25233"/>
                              <a:pt x="9176" y="29550"/>
                            </a:cubicBezTo>
                            <a:cubicBezTo>
                              <a:pt x="9715" y="33464"/>
                              <a:pt x="1349" y="32519"/>
                              <a:pt x="0" y="32384"/>
                            </a:cubicBezTo>
                            <a:cubicBezTo>
                              <a:pt x="270" y="27392"/>
                              <a:pt x="1349" y="9715"/>
                              <a:pt x="3373" y="5937"/>
                            </a:cubicBezTo>
                            <a:close/>
                          </a:path>
                        </a:pathLst>
                      </a:custGeom>
                      <a:solidFill>
                        <a:srgbClr val="2F7299"/>
                      </a:solidFill>
                      <a:ln w="1349" cap="flat">
                        <a:noFill/>
                        <a:prstDash val="solid"/>
                        <a:miter/>
                      </a:ln>
                    </p:spPr>
                    <p:txBody>
                      <a:bodyPr rtlCol="0" anchor="ctr"/>
                      <a:lstStyle/>
                      <a:p>
                        <a:endParaRPr lang="en-IN">
                          <a:latin typeface="+mn-lt"/>
                        </a:endParaRPr>
                      </a:p>
                    </p:txBody>
                  </p:sp>
                </p:grpSp>
                <p:sp>
                  <p:nvSpPr>
                    <p:cNvPr id="190" name="Freeform: Shape 56">
                      <a:extLst>
                        <a:ext uri="{FF2B5EF4-FFF2-40B4-BE49-F238E27FC236}">
                          <a16:creationId xmlns:a16="http://schemas.microsoft.com/office/drawing/2014/main" id="{9E58C35C-D7DC-1642-9C67-091558A55A92}"/>
                        </a:ext>
                      </a:extLst>
                    </p:cNvPr>
                    <p:cNvSpPr/>
                    <p:nvPr/>
                  </p:nvSpPr>
                  <p:spPr>
                    <a:xfrm>
                      <a:off x="9205259" y="2875427"/>
                      <a:ext cx="240047" cy="788686"/>
                    </a:xfrm>
                    <a:custGeom>
                      <a:avLst/>
                      <a:gdLst>
                        <a:gd name="connsiteX0" fmla="*/ 41560 w 240047"/>
                        <a:gd name="connsiteY0" fmla="*/ 12684 h 788686"/>
                        <a:gd name="connsiteX1" fmla="*/ 101470 w 240047"/>
                        <a:gd name="connsiteY1" fmla="*/ 0 h 788686"/>
                        <a:gd name="connsiteX2" fmla="*/ 127378 w 240047"/>
                        <a:gd name="connsiteY2" fmla="*/ 1214 h 788686"/>
                        <a:gd name="connsiteX3" fmla="*/ 161651 w 240047"/>
                        <a:gd name="connsiteY3" fmla="*/ 10525 h 788686"/>
                        <a:gd name="connsiteX4" fmla="*/ 192955 w 240047"/>
                        <a:gd name="connsiteY4" fmla="*/ 33463 h 788686"/>
                        <a:gd name="connsiteX5" fmla="*/ 195924 w 240047"/>
                        <a:gd name="connsiteY5" fmla="*/ 97827 h 788686"/>
                        <a:gd name="connsiteX6" fmla="*/ 197543 w 240047"/>
                        <a:gd name="connsiteY6" fmla="*/ 122924 h 788686"/>
                        <a:gd name="connsiteX7" fmla="*/ 189312 w 240047"/>
                        <a:gd name="connsiteY7" fmla="*/ 217648 h 788686"/>
                        <a:gd name="connsiteX8" fmla="*/ 194304 w 240047"/>
                        <a:gd name="connsiteY8" fmla="*/ 282011 h 788686"/>
                        <a:gd name="connsiteX9" fmla="*/ 214679 w 240047"/>
                        <a:gd name="connsiteY9" fmla="*/ 368638 h 788686"/>
                        <a:gd name="connsiteX10" fmla="*/ 189717 w 240047"/>
                        <a:gd name="connsiteY10" fmla="*/ 396975 h 788686"/>
                        <a:gd name="connsiteX11" fmla="*/ 206988 w 240047"/>
                        <a:gd name="connsiteY11" fmla="*/ 566046 h 788686"/>
                        <a:gd name="connsiteX12" fmla="*/ 240047 w 240047"/>
                        <a:gd name="connsiteY12" fmla="*/ 784909 h 788686"/>
                        <a:gd name="connsiteX13" fmla="*/ 166373 w 240047"/>
                        <a:gd name="connsiteY13" fmla="*/ 788687 h 788686"/>
                        <a:gd name="connsiteX14" fmla="*/ 126433 w 240047"/>
                        <a:gd name="connsiteY14" fmla="*/ 576976 h 788686"/>
                        <a:gd name="connsiteX15" fmla="*/ 97827 w 240047"/>
                        <a:gd name="connsiteY15" fmla="*/ 406825 h 788686"/>
                        <a:gd name="connsiteX16" fmla="*/ 96478 w 240047"/>
                        <a:gd name="connsiteY16" fmla="*/ 407095 h 788686"/>
                        <a:gd name="connsiteX17" fmla="*/ 68007 w 240047"/>
                        <a:gd name="connsiteY17" fmla="*/ 578325 h 788686"/>
                        <a:gd name="connsiteX18" fmla="*/ 65578 w 240047"/>
                        <a:gd name="connsiteY18" fmla="*/ 777217 h 788686"/>
                        <a:gd name="connsiteX19" fmla="*/ 135 w 240047"/>
                        <a:gd name="connsiteY19" fmla="*/ 778432 h 788686"/>
                        <a:gd name="connsiteX20" fmla="*/ 0 w 240047"/>
                        <a:gd name="connsiteY20" fmla="*/ 577111 h 788686"/>
                        <a:gd name="connsiteX21" fmla="*/ 8366 w 240047"/>
                        <a:gd name="connsiteY21" fmla="*/ 381322 h 788686"/>
                        <a:gd name="connsiteX22" fmla="*/ 1619 w 240047"/>
                        <a:gd name="connsiteY22" fmla="*/ 367829 h 788686"/>
                        <a:gd name="connsiteX23" fmla="*/ 8366 w 240047"/>
                        <a:gd name="connsiteY23" fmla="*/ 247333 h 788686"/>
                        <a:gd name="connsiteX24" fmla="*/ 10660 w 240047"/>
                        <a:gd name="connsiteY24" fmla="*/ 90406 h 788686"/>
                        <a:gd name="connsiteX25" fmla="*/ 10930 w 240047"/>
                        <a:gd name="connsiteY25" fmla="*/ 30360 h 788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0047" h="788686">
                          <a:moveTo>
                            <a:pt x="41560" y="12684"/>
                          </a:moveTo>
                          <a:lnTo>
                            <a:pt x="101470" y="0"/>
                          </a:lnTo>
                          <a:lnTo>
                            <a:pt x="127378" y="1214"/>
                          </a:lnTo>
                          <a:lnTo>
                            <a:pt x="161651" y="10525"/>
                          </a:lnTo>
                          <a:lnTo>
                            <a:pt x="192955" y="33463"/>
                          </a:lnTo>
                          <a:lnTo>
                            <a:pt x="195924" y="97827"/>
                          </a:lnTo>
                          <a:lnTo>
                            <a:pt x="197543" y="122924"/>
                          </a:lnTo>
                          <a:lnTo>
                            <a:pt x="189312" y="217648"/>
                          </a:lnTo>
                          <a:lnTo>
                            <a:pt x="194304" y="282011"/>
                          </a:lnTo>
                          <a:lnTo>
                            <a:pt x="214679" y="368638"/>
                          </a:lnTo>
                          <a:lnTo>
                            <a:pt x="189717" y="396975"/>
                          </a:lnTo>
                          <a:lnTo>
                            <a:pt x="206988" y="566046"/>
                          </a:lnTo>
                          <a:lnTo>
                            <a:pt x="240047" y="784909"/>
                          </a:lnTo>
                          <a:lnTo>
                            <a:pt x="166373" y="788687"/>
                          </a:lnTo>
                          <a:lnTo>
                            <a:pt x="126433" y="576976"/>
                          </a:lnTo>
                          <a:lnTo>
                            <a:pt x="97827" y="406825"/>
                          </a:lnTo>
                          <a:lnTo>
                            <a:pt x="96478" y="407095"/>
                          </a:lnTo>
                          <a:lnTo>
                            <a:pt x="68007" y="578325"/>
                          </a:lnTo>
                          <a:lnTo>
                            <a:pt x="65578" y="777217"/>
                          </a:lnTo>
                          <a:lnTo>
                            <a:pt x="135" y="778432"/>
                          </a:lnTo>
                          <a:lnTo>
                            <a:pt x="0" y="577111"/>
                          </a:lnTo>
                          <a:lnTo>
                            <a:pt x="8366" y="381322"/>
                          </a:lnTo>
                          <a:lnTo>
                            <a:pt x="1619" y="367829"/>
                          </a:lnTo>
                          <a:lnTo>
                            <a:pt x="8366" y="247333"/>
                          </a:lnTo>
                          <a:lnTo>
                            <a:pt x="10660" y="90406"/>
                          </a:lnTo>
                          <a:lnTo>
                            <a:pt x="10930" y="30360"/>
                          </a:lnTo>
                          <a:close/>
                        </a:path>
                      </a:pathLst>
                    </a:custGeom>
                    <a:solidFill>
                      <a:srgbClr val="002B69"/>
                    </a:solidFill>
                    <a:ln w="1349" cap="flat">
                      <a:noFill/>
                      <a:prstDash val="solid"/>
                      <a:miter/>
                    </a:ln>
                  </p:spPr>
                  <p:txBody>
                    <a:bodyPr rtlCol="0" anchor="ctr"/>
                    <a:lstStyle/>
                    <a:p>
                      <a:endParaRPr lang="en-IN">
                        <a:latin typeface="+mn-lt"/>
                      </a:endParaRPr>
                    </a:p>
                  </p:txBody>
                </p:sp>
                <p:sp>
                  <p:nvSpPr>
                    <p:cNvPr id="191" name="Freeform: Shape 57">
                      <a:extLst>
                        <a:ext uri="{FF2B5EF4-FFF2-40B4-BE49-F238E27FC236}">
                          <a16:creationId xmlns:a16="http://schemas.microsoft.com/office/drawing/2014/main" id="{31603FCA-2461-9144-9741-EFD552020036}"/>
                        </a:ext>
                      </a:extLst>
                    </p:cNvPr>
                    <p:cNvSpPr/>
                    <p:nvPr/>
                  </p:nvSpPr>
                  <p:spPr>
                    <a:xfrm>
                      <a:off x="9187853" y="2905787"/>
                      <a:ext cx="50195" cy="319252"/>
                    </a:xfrm>
                    <a:custGeom>
                      <a:avLst/>
                      <a:gdLst>
                        <a:gd name="connsiteX0" fmla="*/ 36837 w 50195"/>
                        <a:gd name="connsiteY0" fmla="*/ 675 h 319252"/>
                        <a:gd name="connsiteX1" fmla="*/ 28336 w 50195"/>
                        <a:gd name="connsiteY1" fmla="*/ 0 h 319252"/>
                        <a:gd name="connsiteX2" fmla="*/ 0 w 50195"/>
                        <a:gd name="connsiteY2" fmla="*/ 159626 h 319252"/>
                        <a:gd name="connsiteX3" fmla="*/ 0 w 50195"/>
                        <a:gd name="connsiteY3" fmla="*/ 303465 h 319252"/>
                        <a:gd name="connsiteX4" fmla="*/ 20510 w 50195"/>
                        <a:gd name="connsiteY4" fmla="*/ 319253 h 319252"/>
                        <a:gd name="connsiteX5" fmla="*/ 40750 w 50195"/>
                        <a:gd name="connsiteY5" fmla="*/ 193765 h 319252"/>
                        <a:gd name="connsiteX6" fmla="*/ 50195 w 50195"/>
                        <a:gd name="connsiteY6" fmla="*/ 63284 h 31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195" h="319252">
                          <a:moveTo>
                            <a:pt x="36837" y="675"/>
                          </a:moveTo>
                          <a:lnTo>
                            <a:pt x="28336" y="0"/>
                          </a:lnTo>
                          <a:lnTo>
                            <a:pt x="0" y="159626"/>
                          </a:lnTo>
                          <a:lnTo>
                            <a:pt x="0" y="303465"/>
                          </a:lnTo>
                          <a:lnTo>
                            <a:pt x="20510" y="319253"/>
                          </a:lnTo>
                          <a:lnTo>
                            <a:pt x="40750" y="193765"/>
                          </a:lnTo>
                          <a:lnTo>
                            <a:pt x="50195" y="63284"/>
                          </a:lnTo>
                          <a:close/>
                        </a:path>
                      </a:pathLst>
                    </a:custGeom>
                    <a:solidFill>
                      <a:srgbClr val="002356"/>
                    </a:solidFill>
                    <a:ln w="1349" cap="flat">
                      <a:noFill/>
                      <a:prstDash val="solid"/>
                      <a:miter/>
                    </a:ln>
                  </p:spPr>
                  <p:txBody>
                    <a:bodyPr rtlCol="0" anchor="ctr"/>
                    <a:lstStyle/>
                    <a:p>
                      <a:endParaRPr lang="en-IN">
                        <a:latin typeface="+mn-lt"/>
                      </a:endParaRPr>
                    </a:p>
                  </p:txBody>
                </p:sp>
                <p:sp>
                  <p:nvSpPr>
                    <p:cNvPr id="192" name="Freeform: Shape 58">
                      <a:extLst>
                        <a:ext uri="{FF2B5EF4-FFF2-40B4-BE49-F238E27FC236}">
                          <a16:creationId xmlns:a16="http://schemas.microsoft.com/office/drawing/2014/main" id="{63C428AD-905B-AA46-8D1F-951397CBE7D5}"/>
                        </a:ext>
                      </a:extLst>
                    </p:cNvPr>
                    <p:cNvSpPr/>
                    <p:nvPr/>
                  </p:nvSpPr>
                  <p:spPr>
                    <a:xfrm>
                      <a:off x="9187853" y="3211277"/>
                      <a:ext cx="26851" cy="23748"/>
                    </a:xfrm>
                    <a:custGeom>
                      <a:avLst/>
                      <a:gdLst>
                        <a:gd name="connsiteX0" fmla="*/ 0 w 26851"/>
                        <a:gd name="connsiteY0" fmla="*/ 9176 h 23748"/>
                        <a:gd name="connsiteX1" fmla="*/ 2699 w 26851"/>
                        <a:gd name="connsiteY1" fmla="*/ 0 h 23748"/>
                        <a:gd name="connsiteX2" fmla="*/ 26852 w 26851"/>
                        <a:gd name="connsiteY2" fmla="*/ 15787 h 23748"/>
                        <a:gd name="connsiteX3" fmla="*/ 22399 w 26851"/>
                        <a:gd name="connsiteY3" fmla="*/ 23748 h 23748"/>
                      </a:gdLst>
                      <a:ahLst/>
                      <a:cxnLst>
                        <a:cxn ang="0">
                          <a:pos x="connsiteX0" y="connsiteY0"/>
                        </a:cxn>
                        <a:cxn ang="0">
                          <a:pos x="connsiteX1" y="connsiteY1"/>
                        </a:cxn>
                        <a:cxn ang="0">
                          <a:pos x="connsiteX2" y="connsiteY2"/>
                        </a:cxn>
                        <a:cxn ang="0">
                          <a:pos x="connsiteX3" y="connsiteY3"/>
                        </a:cxn>
                      </a:cxnLst>
                      <a:rect l="l" t="t" r="r" b="b"/>
                      <a:pathLst>
                        <a:path w="26851" h="23748">
                          <a:moveTo>
                            <a:pt x="0" y="9176"/>
                          </a:moveTo>
                          <a:lnTo>
                            <a:pt x="2699" y="0"/>
                          </a:lnTo>
                          <a:lnTo>
                            <a:pt x="26852" y="15787"/>
                          </a:lnTo>
                          <a:lnTo>
                            <a:pt x="22399" y="23748"/>
                          </a:lnTo>
                          <a:close/>
                        </a:path>
                      </a:pathLst>
                    </a:custGeom>
                    <a:solidFill>
                      <a:srgbClr val="FFFFFF"/>
                    </a:solidFill>
                    <a:ln w="1349" cap="flat">
                      <a:noFill/>
                      <a:prstDash val="solid"/>
                      <a:miter/>
                    </a:ln>
                  </p:spPr>
                  <p:txBody>
                    <a:bodyPr rtlCol="0" anchor="ctr"/>
                    <a:lstStyle/>
                    <a:p>
                      <a:endParaRPr lang="en-IN">
                        <a:latin typeface="+mn-lt"/>
                      </a:endParaRPr>
                    </a:p>
                  </p:txBody>
                </p:sp>
                <p:sp>
                  <p:nvSpPr>
                    <p:cNvPr id="193" name="Freeform: Shape 59">
                      <a:extLst>
                        <a:ext uri="{FF2B5EF4-FFF2-40B4-BE49-F238E27FC236}">
                          <a16:creationId xmlns:a16="http://schemas.microsoft.com/office/drawing/2014/main" id="{D6129E77-4B67-6B4C-A63E-278844053FB4}"/>
                        </a:ext>
                      </a:extLst>
                    </p:cNvPr>
                    <p:cNvSpPr/>
                    <p:nvPr/>
                  </p:nvSpPr>
                  <p:spPr>
                    <a:xfrm>
                      <a:off x="9205799" y="2875427"/>
                      <a:ext cx="214139" cy="413436"/>
                    </a:xfrm>
                    <a:custGeom>
                      <a:avLst/>
                      <a:gdLst>
                        <a:gd name="connsiteX0" fmla="*/ 41020 w 214139"/>
                        <a:gd name="connsiteY0" fmla="*/ 12684 h 413436"/>
                        <a:gd name="connsiteX1" fmla="*/ 100930 w 214139"/>
                        <a:gd name="connsiteY1" fmla="*/ 0 h 413436"/>
                        <a:gd name="connsiteX2" fmla="*/ 126838 w 214139"/>
                        <a:gd name="connsiteY2" fmla="*/ 1214 h 413436"/>
                        <a:gd name="connsiteX3" fmla="*/ 161111 w 214139"/>
                        <a:gd name="connsiteY3" fmla="*/ 10525 h 413436"/>
                        <a:gd name="connsiteX4" fmla="*/ 206583 w 214139"/>
                        <a:gd name="connsiteY4" fmla="*/ 30360 h 413436"/>
                        <a:gd name="connsiteX5" fmla="*/ 214140 w 214139"/>
                        <a:gd name="connsiteY5" fmla="*/ 59641 h 413436"/>
                        <a:gd name="connsiteX6" fmla="*/ 210361 w 214139"/>
                        <a:gd name="connsiteY6" fmla="*/ 139251 h 413436"/>
                        <a:gd name="connsiteX7" fmla="*/ 195654 w 214139"/>
                        <a:gd name="connsiteY7" fmla="*/ 217513 h 413436"/>
                        <a:gd name="connsiteX8" fmla="*/ 200646 w 214139"/>
                        <a:gd name="connsiteY8" fmla="*/ 281876 h 413436"/>
                        <a:gd name="connsiteX9" fmla="*/ 214140 w 214139"/>
                        <a:gd name="connsiteY9" fmla="*/ 368638 h 413436"/>
                        <a:gd name="connsiteX10" fmla="*/ 189177 w 214139"/>
                        <a:gd name="connsiteY10" fmla="*/ 396975 h 413436"/>
                        <a:gd name="connsiteX11" fmla="*/ 155848 w 214139"/>
                        <a:gd name="connsiteY11" fmla="*/ 413436 h 413436"/>
                        <a:gd name="connsiteX12" fmla="*/ 135608 w 214139"/>
                        <a:gd name="connsiteY12" fmla="*/ 352986 h 413436"/>
                        <a:gd name="connsiteX13" fmla="*/ 41560 w 214139"/>
                        <a:gd name="connsiteY13" fmla="*/ 349748 h 413436"/>
                        <a:gd name="connsiteX14" fmla="*/ 32249 w 214139"/>
                        <a:gd name="connsiteY14" fmla="*/ 383481 h 413436"/>
                        <a:gd name="connsiteX15" fmla="*/ 7826 w 214139"/>
                        <a:gd name="connsiteY15" fmla="*/ 381322 h 413436"/>
                        <a:gd name="connsiteX16" fmla="*/ 1080 w 214139"/>
                        <a:gd name="connsiteY16" fmla="*/ 367829 h 413436"/>
                        <a:gd name="connsiteX17" fmla="*/ 0 w 214139"/>
                        <a:gd name="connsiteY17" fmla="*/ 247333 h 413436"/>
                        <a:gd name="connsiteX18" fmla="*/ 0 w 214139"/>
                        <a:gd name="connsiteY18" fmla="*/ 136958 h 413436"/>
                        <a:gd name="connsiteX19" fmla="*/ 10390 w 214139"/>
                        <a:gd name="connsiteY19" fmla="*/ 30360 h 41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4139" h="413436">
                          <a:moveTo>
                            <a:pt x="41020" y="12684"/>
                          </a:moveTo>
                          <a:lnTo>
                            <a:pt x="100930" y="0"/>
                          </a:lnTo>
                          <a:lnTo>
                            <a:pt x="126838" y="1214"/>
                          </a:lnTo>
                          <a:lnTo>
                            <a:pt x="161111" y="10525"/>
                          </a:lnTo>
                          <a:lnTo>
                            <a:pt x="206583" y="30360"/>
                          </a:lnTo>
                          <a:lnTo>
                            <a:pt x="214140" y="59641"/>
                          </a:lnTo>
                          <a:lnTo>
                            <a:pt x="210361" y="139251"/>
                          </a:lnTo>
                          <a:lnTo>
                            <a:pt x="195654" y="217513"/>
                          </a:lnTo>
                          <a:lnTo>
                            <a:pt x="200646" y="281876"/>
                          </a:lnTo>
                          <a:lnTo>
                            <a:pt x="214140" y="368638"/>
                          </a:lnTo>
                          <a:lnTo>
                            <a:pt x="189177" y="396975"/>
                          </a:lnTo>
                          <a:lnTo>
                            <a:pt x="155848" y="413436"/>
                          </a:lnTo>
                          <a:lnTo>
                            <a:pt x="135608" y="352986"/>
                          </a:lnTo>
                          <a:lnTo>
                            <a:pt x="41560" y="349748"/>
                          </a:lnTo>
                          <a:lnTo>
                            <a:pt x="32249" y="383481"/>
                          </a:lnTo>
                          <a:lnTo>
                            <a:pt x="7826" y="381322"/>
                          </a:lnTo>
                          <a:lnTo>
                            <a:pt x="1080" y="367829"/>
                          </a:lnTo>
                          <a:lnTo>
                            <a:pt x="0" y="247333"/>
                          </a:lnTo>
                          <a:lnTo>
                            <a:pt x="0" y="136958"/>
                          </a:lnTo>
                          <a:lnTo>
                            <a:pt x="10390" y="30360"/>
                          </a:lnTo>
                          <a:close/>
                        </a:path>
                      </a:pathLst>
                    </a:custGeom>
                    <a:solidFill>
                      <a:srgbClr val="002B69"/>
                    </a:solidFill>
                    <a:ln w="1349" cap="flat">
                      <a:noFill/>
                      <a:prstDash val="solid"/>
                      <a:miter/>
                    </a:ln>
                  </p:spPr>
                  <p:txBody>
                    <a:bodyPr rtlCol="0" anchor="ctr"/>
                    <a:lstStyle/>
                    <a:p>
                      <a:endParaRPr lang="en-IN">
                        <a:latin typeface="+mn-lt"/>
                      </a:endParaRPr>
                    </a:p>
                  </p:txBody>
                </p:sp>
                <p:sp>
                  <p:nvSpPr>
                    <p:cNvPr id="194" name="Freeform: Shape 60">
                      <a:extLst>
                        <a:ext uri="{FF2B5EF4-FFF2-40B4-BE49-F238E27FC236}">
                          <a16:creationId xmlns:a16="http://schemas.microsoft.com/office/drawing/2014/main" id="{B8EBF3D4-662B-3F4C-9F0B-520C629AFEAF}"/>
                        </a:ext>
                      </a:extLst>
                    </p:cNvPr>
                    <p:cNvSpPr/>
                    <p:nvPr/>
                  </p:nvSpPr>
                  <p:spPr>
                    <a:xfrm>
                      <a:off x="9252216" y="2834272"/>
                      <a:ext cx="81095" cy="149236"/>
                    </a:xfrm>
                    <a:custGeom>
                      <a:avLst/>
                      <a:gdLst>
                        <a:gd name="connsiteX0" fmla="*/ 81095 w 81095"/>
                        <a:gd name="connsiteY0" fmla="*/ 57212 h 149236"/>
                        <a:gd name="connsiteX1" fmla="*/ 25637 w 81095"/>
                        <a:gd name="connsiteY1" fmla="*/ 149237 h 149236"/>
                        <a:gd name="connsiteX2" fmla="*/ 0 w 81095"/>
                        <a:gd name="connsiteY2" fmla="*/ 75968 h 149236"/>
                        <a:gd name="connsiteX3" fmla="*/ 6477 w 81095"/>
                        <a:gd name="connsiteY3" fmla="*/ 57482 h 149236"/>
                        <a:gd name="connsiteX4" fmla="*/ 9445 w 81095"/>
                        <a:gd name="connsiteY4" fmla="*/ 54918 h 149236"/>
                        <a:gd name="connsiteX5" fmla="*/ 6207 w 81095"/>
                        <a:gd name="connsiteY5" fmla="*/ 4992 h 149236"/>
                        <a:gd name="connsiteX6" fmla="*/ 63554 w 81095"/>
                        <a:gd name="connsiteY6" fmla="*/ 0 h 149236"/>
                        <a:gd name="connsiteX7" fmla="*/ 67737 w 81095"/>
                        <a:gd name="connsiteY7" fmla="*/ 38456 h 14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95" h="149236">
                          <a:moveTo>
                            <a:pt x="81095" y="57212"/>
                          </a:moveTo>
                          <a:lnTo>
                            <a:pt x="25637" y="149237"/>
                          </a:lnTo>
                          <a:lnTo>
                            <a:pt x="0" y="75968"/>
                          </a:lnTo>
                          <a:lnTo>
                            <a:pt x="6477" y="57482"/>
                          </a:lnTo>
                          <a:lnTo>
                            <a:pt x="9445" y="54918"/>
                          </a:lnTo>
                          <a:lnTo>
                            <a:pt x="6207" y="4992"/>
                          </a:lnTo>
                          <a:lnTo>
                            <a:pt x="63554" y="0"/>
                          </a:lnTo>
                          <a:lnTo>
                            <a:pt x="67737" y="38456"/>
                          </a:lnTo>
                          <a:close/>
                        </a:path>
                      </a:pathLst>
                    </a:custGeom>
                    <a:solidFill>
                      <a:srgbClr val="EB8872"/>
                    </a:solidFill>
                    <a:ln w="1349" cap="flat">
                      <a:noFill/>
                      <a:prstDash val="solid"/>
                      <a:miter/>
                    </a:ln>
                  </p:spPr>
                  <p:txBody>
                    <a:bodyPr rtlCol="0" anchor="ctr"/>
                    <a:lstStyle/>
                    <a:p>
                      <a:endParaRPr lang="en-IN">
                        <a:latin typeface="+mn-lt"/>
                      </a:endParaRPr>
                    </a:p>
                  </p:txBody>
                </p:sp>
                <p:sp>
                  <p:nvSpPr>
                    <p:cNvPr id="195" name="Freeform: Shape 61">
                      <a:extLst>
                        <a:ext uri="{FF2B5EF4-FFF2-40B4-BE49-F238E27FC236}">
                          <a16:creationId xmlns:a16="http://schemas.microsoft.com/office/drawing/2014/main" id="{438CE341-FD55-1F44-B6E6-55C6DACE030F}"/>
                        </a:ext>
                      </a:extLst>
                    </p:cNvPr>
                    <p:cNvSpPr/>
                    <p:nvPr/>
                  </p:nvSpPr>
                  <p:spPr>
                    <a:xfrm>
                      <a:off x="9233056" y="2875427"/>
                      <a:ext cx="118336" cy="354415"/>
                    </a:xfrm>
                    <a:custGeom>
                      <a:avLst/>
                      <a:gdLst>
                        <a:gd name="connsiteX0" fmla="*/ 41290 w 118336"/>
                        <a:gd name="connsiteY0" fmla="*/ 40615 h 354415"/>
                        <a:gd name="connsiteX1" fmla="*/ 92834 w 118336"/>
                        <a:gd name="connsiteY1" fmla="*/ 6882 h 354415"/>
                        <a:gd name="connsiteX2" fmla="*/ 88921 w 118336"/>
                        <a:gd name="connsiteY2" fmla="*/ 0 h 354415"/>
                        <a:gd name="connsiteX3" fmla="*/ 118337 w 118336"/>
                        <a:gd name="connsiteY3" fmla="*/ 18486 h 354415"/>
                        <a:gd name="connsiteX4" fmla="*/ 105518 w 118336"/>
                        <a:gd name="connsiteY4" fmla="*/ 108082 h 354415"/>
                        <a:gd name="connsiteX5" fmla="*/ 108486 w 118336"/>
                        <a:gd name="connsiteY5" fmla="*/ 352986 h 354415"/>
                        <a:gd name="connsiteX6" fmla="*/ 5128 w 118336"/>
                        <a:gd name="connsiteY6" fmla="*/ 349478 h 354415"/>
                        <a:gd name="connsiteX7" fmla="*/ 0 w 118336"/>
                        <a:gd name="connsiteY7" fmla="*/ 220751 h 354415"/>
                        <a:gd name="connsiteX8" fmla="*/ 0 w 118336"/>
                        <a:gd name="connsiteY8" fmla="*/ 111455 h 354415"/>
                        <a:gd name="connsiteX9" fmla="*/ 0 w 118336"/>
                        <a:gd name="connsiteY9" fmla="*/ 55727 h 354415"/>
                        <a:gd name="connsiteX10" fmla="*/ 13898 w 118336"/>
                        <a:gd name="connsiteY10" fmla="*/ 19026 h 354415"/>
                        <a:gd name="connsiteX11" fmla="*/ 28201 w 118336"/>
                        <a:gd name="connsiteY11" fmla="*/ 5532 h 354415"/>
                        <a:gd name="connsiteX12" fmla="*/ 28741 w 118336"/>
                        <a:gd name="connsiteY12" fmla="*/ 14033 h 354415"/>
                        <a:gd name="connsiteX13" fmla="*/ 41290 w 118336"/>
                        <a:gd name="connsiteY13" fmla="*/ 40615 h 35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336" h="354415">
                          <a:moveTo>
                            <a:pt x="41290" y="40615"/>
                          </a:moveTo>
                          <a:cubicBezTo>
                            <a:pt x="87707" y="45068"/>
                            <a:pt x="92834" y="6882"/>
                            <a:pt x="92834" y="6882"/>
                          </a:cubicBezTo>
                          <a:lnTo>
                            <a:pt x="88921" y="0"/>
                          </a:lnTo>
                          <a:lnTo>
                            <a:pt x="118337" y="18486"/>
                          </a:lnTo>
                          <a:lnTo>
                            <a:pt x="105518" y="108082"/>
                          </a:lnTo>
                          <a:lnTo>
                            <a:pt x="108486" y="352986"/>
                          </a:lnTo>
                          <a:cubicBezTo>
                            <a:pt x="68006" y="355955"/>
                            <a:pt x="27257" y="354066"/>
                            <a:pt x="5128" y="349478"/>
                          </a:cubicBezTo>
                          <a:lnTo>
                            <a:pt x="0" y="220751"/>
                          </a:lnTo>
                          <a:lnTo>
                            <a:pt x="0" y="111455"/>
                          </a:lnTo>
                          <a:lnTo>
                            <a:pt x="0" y="55727"/>
                          </a:lnTo>
                          <a:lnTo>
                            <a:pt x="13898" y="19026"/>
                          </a:lnTo>
                          <a:lnTo>
                            <a:pt x="28201" y="5532"/>
                          </a:lnTo>
                          <a:lnTo>
                            <a:pt x="28741" y="14033"/>
                          </a:lnTo>
                          <a:cubicBezTo>
                            <a:pt x="28606" y="13763"/>
                            <a:pt x="19026" y="38456"/>
                            <a:pt x="41290" y="40615"/>
                          </a:cubicBezTo>
                          <a:close/>
                        </a:path>
                      </a:pathLst>
                    </a:custGeom>
                    <a:solidFill>
                      <a:srgbClr val="FFFFFF"/>
                    </a:solidFill>
                    <a:ln w="1349" cap="flat">
                      <a:noFill/>
                      <a:prstDash val="solid"/>
                      <a:miter/>
                    </a:ln>
                  </p:spPr>
                  <p:txBody>
                    <a:bodyPr rtlCol="0" anchor="ctr"/>
                    <a:lstStyle/>
                    <a:p>
                      <a:endParaRPr lang="en-IN">
                        <a:latin typeface="+mn-lt"/>
                      </a:endParaRPr>
                    </a:p>
                  </p:txBody>
                </p:sp>
                <p:sp>
                  <p:nvSpPr>
                    <p:cNvPr id="196" name="Freeform: Shape 62">
                      <a:extLst>
                        <a:ext uri="{FF2B5EF4-FFF2-40B4-BE49-F238E27FC236}">
                          <a16:creationId xmlns:a16="http://schemas.microsoft.com/office/drawing/2014/main" id="{8708CC85-C8AD-C447-AF9E-57AE5EE552BE}"/>
                        </a:ext>
                      </a:extLst>
                    </p:cNvPr>
                    <p:cNvSpPr/>
                    <p:nvPr/>
                  </p:nvSpPr>
                  <p:spPr>
                    <a:xfrm>
                      <a:off x="9375141" y="3645898"/>
                      <a:ext cx="68411" cy="68141"/>
                    </a:xfrm>
                    <a:custGeom>
                      <a:avLst/>
                      <a:gdLst>
                        <a:gd name="connsiteX0" fmla="*/ 48441 w 68411"/>
                        <a:gd name="connsiteY0" fmla="*/ 0 h 68141"/>
                        <a:gd name="connsiteX1" fmla="*/ 62339 w 68411"/>
                        <a:gd name="connsiteY1" fmla="*/ 29820 h 68141"/>
                        <a:gd name="connsiteX2" fmla="*/ 68411 w 68411"/>
                        <a:gd name="connsiteY2" fmla="*/ 67871 h 68141"/>
                        <a:gd name="connsiteX3" fmla="*/ 6207 w 68411"/>
                        <a:gd name="connsiteY3" fmla="*/ 68141 h 68141"/>
                        <a:gd name="connsiteX4" fmla="*/ 0 w 68411"/>
                        <a:gd name="connsiteY4" fmla="*/ 64363 h 68141"/>
                        <a:gd name="connsiteX5" fmla="*/ 2968 w 68411"/>
                        <a:gd name="connsiteY5" fmla="*/ 32384 h 68141"/>
                        <a:gd name="connsiteX6" fmla="*/ 21859 w 68411"/>
                        <a:gd name="connsiteY6" fmla="*/ 810 h 68141"/>
                        <a:gd name="connsiteX7" fmla="*/ 48441 w 68411"/>
                        <a:gd name="connsiteY7" fmla="*/ 0 h 6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411" h="68141">
                          <a:moveTo>
                            <a:pt x="48441" y="0"/>
                          </a:moveTo>
                          <a:cubicBezTo>
                            <a:pt x="51410" y="3103"/>
                            <a:pt x="62339" y="29820"/>
                            <a:pt x="62339" y="29820"/>
                          </a:cubicBezTo>
                          <a:lnTo>
                            <a:pt x="68411" y="67871"/>
                          </a:lnTo>
                          <a:lnTo>
                            <a:pt x="6207" y="68141"/>
                          </a:lnTo>
                          <a:lnTo>
                            <a:pt x="0" y="64363"/>
                          </a:lnTo>
                          <a:cubicBezTo>
                            <a:pt x="0" y="64363"/>
                            <a:pt x="1214" y="33329"/>
                            <a:pt x="2968" y="32384"/>
                          </a:cubicBezTo>
                          <a:cubicBezTo>
                            <a:pt x="4723" y="31439"/>
                            <a:pt x="21859" y="810"/>
                            <a:pt x="21859" y="810"/>
                          </a:cubicBezTo>
                          <a:lnTo>
                            <a:pt x="48441" y="0"/>
                          </a:lnTo>
                          <a:close/>
                        </a:path>
                      </a:pathLst>
                    </a:custGeom>
                    <a:solidFill>
                      <a:srgbClr val="002B69"/>
                    </a:solidFill>
                    <a:ln w="1349" cap="flat">
                      <a:noFill/>
                      <a:prstDash val="solid"/>
                      <a:miter/>
                    </a:ln>
                  </p:spPr>
                  <p:txBody>
                    <a:bodyPr rtlCol="0" anchor="ctr"/>
                    <a:lstStyle/>
                    <a:p>
                      <a:endParaRPr lang="en-IN">
                        <a:latin typeface="+mn-lt"/>
                      </a:endParaRPr>
                    </a:p>
                  </p:txBody>
                </p:sp>
                <p:sp>
                  <p:nvSpPr>
                    <p:cNvPr id="197" name="Freeform: Shape 63">
                      <a:extLst>
                        <a:ext uri="{FF2B5EF4-FFF2-40B4-BE49-F238E27FC236}">
                          <a16:creationId xmlns:a16="http://schemas.microsoft.com/office/drawing/2014/main" id="{8CF2A5A0-4820-C34E-A5A3-1EB269A52DF8}"/>
                        </a:ext>
                      </a:extLst>
                    </p:cNvPr>
                    <p:cNvSpPr/>
                    <p:nvPr/>
                  </p:nvSpPr>
                  <p:spPr>
                    <a:xfrm>
                      <a:off x="9163430" y="3634563"/>
                      <a:ext cx="98906" cy="77721"/>
                    </a:xfrm>
                    <a:custGeom>
                      <a:avLst/>
                      <a:gdLst>
                        <a:gd name="connsiteX0" fmla="*/ 55593 w 98906"/>
                        <a:gd name="connsiteY0" fmla="*/ 4723 h 77721"/>
                        <a:gd name="connsiteX1" fmla="*/ 55593 w 98906"/>
                        <a:gd name="connsiteY1" fmla="*/ 4723 h 77721"/>
                        <a:gd name="connsiteX2" fmla="*/ 32384 w 98906"/>
                        <a:gd name="connsiteY2" fmla="*/ 37242 h 77721"/>
                        <a:gd name="connsiteX3" fmla="*/ 0 w 98906"/>
                        <a:gd name="connsiteY3" fmla="*/ 53434 h 77721"/>
                        <a:gd name="connsiteX4" fmla="*/ 7691 w 98906"/>
                        <a:gd name="connsiteY4" fmla="*/ 77722 h 77721"/>
                        <a:gd name="connsiteX5" fmla="*/ 93104 w 98906"/>
                        <a:gd name="connsiteY5" fmla="*/ 77587 h 77721"/>
                        <a:gd name="connsiteX6" fmla="*/ 98906 w 98906"/>
                        <a:gd name="connsiteY6" fmla="*/ 66927 h 77721"/>
                        <a:gd name="connsiteX7" fmla="*/ 96613 w 98906"/>
                        <a:gd name="connsiteY7" fmla="*/ 32384 h 77721"/>
                        <a:gd name="connsiteX8" fmla="*/ 87842 w 98906"/>
                        <a:gd name="connsiteY8" fmla="*/ 0 h 77721"/>
                        <a:gd name="connsiteX9" fmla="*/ 55593 w 98906"/>
                        <a:gd name="connsiteY9" fmla="*/ 4723 h 7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06" h="77721">
                          <a:moveTo>
                            <a:pt x="55593" y="4723"/>
                          </a:moveTo>
                          <a:cubicBezTo>
                            <a:pt x="52894" y="7961"/>
                            <a:pt x="55593" y="4723"/>
                            <a:pt x="55593" y="4723"/>
                          </a:cubicBezTo>
                          <a:lnTo>
                            <a:pt x="32384" y="37242"/>
                          </a:lnTo>
                          <a:lnTo>
                            <a:pt x="0" y="53434"/>
                          </a:lnTo>
                          <a:lnTo>
                            <a:pt x="7691" y="77722"/>
                          </a:lnTo>
                          <a:lnTo>
                            <a:pt x="93104" y="77587"/>
                          </a:lnTo>
                          <a:lnTo>
                            <a:pt x="98906" y="66927"/>
                          </a:lnTo>
                          <a:cubicBezTo>
                            <a:pt x="98906" y="66927"/>
                            <a:pt x="98502" y="33059"/>
                            <a:pt x="96613" y="32384"/>
                          </a:cubicBezTo>
                          <a:cubicBezTo>
                            <a:pt x="94724" y="31709"/>
                            <a:pt x="87842" y="0"/>
                            <a:pt x="87842" y="0"/>
                          </a:cubicBezTo>
                          <a:lnTo>
                            <a:pt x="55593" y="4723"/>
                          </a:lnTo>
                          <a:close/>
                        </a:path>
                      </a:pathLst>
                    </a:custGeom>
                    <a:solidFill>
                      <a:srgbClr val="002B69"/>
                    </a:solidFill>
                    <a:ln w="1349" cap="flat">
                      <a:noFill/>
                      <a:prstDash val="solid"/>
                      <a:miter/>
                    </a:ln>
                  </p:spPr>
                  <p:txBody>
                    <a:bodyPr rtlCol="0" anchor="ctr"/>
                    <a:lstStyle/>
                    <a:p>
                      <a:endParaRPr lang="en-IN">
                        <a:latin typeface="+mn-lt"/>
                      </a:endParaRPr>
                    </a:p>
                  </p:txBody>
                </p:sp>
                <p:sp>
                  <p:nvSpPr>
                    <p:cNvPr id="198" name="Freeform: Shape 64">
                      <a:extLst>
                        <a:ext uri="{FF2B5EF4-FFF2-40B4-BE49-F238E27FC236}">
                          <a16:creationId xmlns:a16="http://schemas.microsoft.com/office/drawing/2014/main" id="{A923D247-C7FD-514F-AA62-560399B7109F}"/>
                        </a:ext>
                      </a:extLst>
                    </p:cNvPr>
                    <p:cNvSpPr/>
                    <p:nvPr/>
                  </p:nvSpPr>
                  <p:spPr>
                    <a:xfrm>
                      <a:off x="9235215" y="2730374"/>
                      <a:ext cx="129008" cy="131830"/>
                    </a:xfrm>
                    <a:custGeom>
                      <a:avLst/>
                      <a:gdLst>
                        <a:gd name="connsiteX0" fmla="*/ 52084 w 129008"/>
                        <a:gd name="connsiteY0" fmla="*/ 0 h 131830"/>
                        <a:gd name="connsiteX1" fmla="*/ 102010 w 129008"/>
                        <a:gd name="connsiteY1" fmla="*/ 16327 h 131830"/>
                        <a:gd name="connsiteX2" fmla="*/ 116987 w 129008"/>
                        <a:gd name="connsiteY2" fmla="*/ 87842 h 131830"/>
                        <a:gd name="connsiteX3" fmla="*/ 74753 w 129008"/>
                        <a:gd name="connsiteY3" fmla="*/ 112130 h 131830"/>
                        <a:gd name="connsiteX4" fmla="*/ 64903 w 129008"/>
                        <a:gd name="connsiteY4" fmla="*/ 124139 h 131830"/>
                        <a:gd name="connsiteX5" fmla="*/ 28066 w 129008"/>
                        <a:gd name="connsiteY5" fmla="*/ 131830 h 131830"/>
                        <a:gd name="connsiteX6" fmla="*/ 1079 w 129008"/>
                        <a:gd name="connsiteY6" fmla="*/ 122115 h 131830"/>
                        <a:gd name="connsiteX7" fmla="*/ 0 w 129008"/>
                        <a:gd name="connsiteY7" fmla="*/ 88381 h 131830"/>
                        <a:gd name="connsiteX8" fmla="*/ 17541 w 129008"/>
                        <a:gd name="connsiteY8" fmla="*/ 39535 h 131830"/>
                        <a:gd name="connsiteX9" fmla="*/ 32654 w 129008"/>
                        <a:gd name="connsiteY9" fmla="*/ 9580 h 131830"/>
                        <a:gd name="connsiteX10" fmla="*/ 52084 w 129008"/>
                        <a:gd name="connsiteY10" fmla="*/ 0 h 13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9008" h="131830">
                          <a:moveTo>
                            <a:pt x="52084" y="0"/>
                          </a:moveTo>
                          <a:cubicBezTo>
                            <a:pt x="52084" y="0"/>
                            <a:pt x="90810" y="11334"/>
                            <a:pt x="102010" y="16327"/>
                          </a:cubicBezTo>
                          <a:cubicBezTo>
                            <a:pt x="135878" y="31439"/>
                            <a:pt x="134259" y="50330"/>
                            <a:pt x="116987" y="87842"/>
                          </a:cubicBezTo>
                          <a:cubicBezTo>
                            <a:pt x="106462" y="110780"/>
                            <a:pt x="74753" y="112130"/>
                            <a:pt x="74753" y="112130"/>
                          </a:cubicBezTo>
                          <a:lnTo>
                            <a:pt x="64903" y="124139"/>
                          </a:lnTo>
                          <a:cubicBezTo>
                            <a:pt x="56537" y="124409"/>
                            <a:pt x="28066" y="131830"/>
                            <a:pt x="28066" y="131830"/>
                          </a:cubicBezTo>
                          <a:lnTo>
                            <a:pt x="1079" y="122115"/>
                          </a:lnTo>
                          <a:lnTo>
                            <a:pt x="0" y="88381"/>
                          </a:lnTo>
                          <a:cubicBezTo>
                            <a:pt x="0" y="88381"/>
                            <a:pt x="16462" y="41425"/>
                            <a:pt x="17541" y="39535"/>
                          </a:cubicBezTo>
                          <a:cubicBezTo>
                            <a:pt x="17541" y="39535"/>
                            <a:pt x="23883" y="19970"/>
                            <a:pt x="32654" y="9580"/>
                          </a:cubicBezTo>
                          <a:cubicBezTo>
                            <a:pt x="39805" y="1214"/>
                            <a:pt x="52084" y="0"/>
                            <a:pt x="52084" y="0"/>
                          </a:cubicBezTo>
                          <a:close/>
                        </a:path>
                      </a:pathLst>
                    </a:custGeom>
                    <a:solidFill>
                      <a:srgbClr val="FFAB84"/>
                    </a:solidFill>
                    <a:ln w="1349" cap="flat">
                      <a:noFill/>
                      <a:prstDash val="solid"/>
                      <a:miter/>
                    </a:ln>
                  </p:spPr>
                  <p:txBody>
                    <a:bodyPr rtlCol="0" anchor="ctr"/>
                    <a:lstStyle/>
                    <a:p>
                      <a:endParaRPr lang="en-IN">
                        <a:latin typeface="+mn-lt"/>
                      </a:endParaRPr>
                    </a:p>
                  </p:txBody>
                </p:sp>
                <p:sp>
                  <p:nvSpPr>
                    <p:cNvPr id="199" name="Freeform: Shape 65">
                      <a:extLst>
                        <a:ext uri="{FF2B5EF4-FFF2-40B4-BE49-F238E27FC236}">
                          <a16:creationId xmlns:a16="http://schemas.microsoft.com/office/drawing/2014/main" id="{E0020CEB-94B6-5240-9413-C1281E65B454}"/>
                        </a:ext>
                      </a:extLst>
                    </p:cNvPr>
                    <p:cNvSpPr/>
                    <p:nvPr/>
                  </p:nvSpPr>
                  <p:spPr>
                    <a:xfrm>
                      <a:off x="9262201" y="2710134"/>
                      <a:ext cx="108154" cy="143434"/>
                    </a:xfrm>
                    <a:custGeom>
                      <a:avLst/>
                      <a:gdLst>
                        <a:gd name="connsiteX0" fmla="*/ 18891 w 108154"/>
                        <a:gd name="connsiteY0" fmla="*/ 0 h 143434"/>
                        <a:gd name="connsiteX1" fmla="*/ 43044 w 108154"/>
                        <a:gd name="connsiteY1" fmla="*/ 8366 h 143434"/>
                        <a:gd name="connsiteX2" fmla="*/ 80285 w 108154"/>
                        <a:gd name="connsiteY2" fmla="*/ 21724 h 143434"/>
                        <a:gd name="connsiteX3" fmla="*/ 96747 w 108154"/>
                        <a:gd name="connsiteY3" fmla="*/ 111590 h 143434"/>
                        <a:gd name="connsiteX4" fmla="*/ 71650 w 108154"/>
                        <a:gd name="connsiteY4" fmla="*/ 136688 h 143434"/>
                        <a:gd name="connsiteX5" fmla="*/ 55862 w 108154"/>
                        <a:gd name="connsiteY5" fmla="*/ 143434 h 143434"/>
                        <a:gd name="connsiteX6" fmla="*/ 55727 w 108154"/>
                        <a:gd name="connsiteY6" fmla="*/ 115638 h 143434"/>
                        <a:gd name="connsiteX7" fmla="*/ 39670 w 108154"/>
                        <a:gd name="connsiteY7" fmla="*/ 104978 h 143434"/>
                        <a:gd name="connsiteX8" fmla="*/ 53973 w 108154"/>
                        <a:gd name="connsiteY8" fmla="*/ 65713 h 143434"/>
                        <a:gd name="connsiteX9" fmla="*/ 44663 w 108154"/>
                        <a:gd name="connsiteY9" fmla="*/ 42909 h 143434"/>
                        <a:gd name="connsiteX10" fmla="*/ 11739 w 108154"/>
                        <a:gd name="connsiteY10" fmla="*/ 36027 h 143434"/>
                        <a:gd name="connsiteX11" fmla="*/ 3508 w 108154"/>
                        <a:gd name="connsiteY11" fmla="*/ 32654 h 143434"/>
                        <a:gd name="connsiteX12" fmla="*/ 0 w 108154"/>
                        <a:gd name="connsiteY12" fmla="*/ 23074 h 143434"/>
                        <a:gd name="connsiteX13" fmla="*/ 4588 w 108154"/>
                        <a:gd name="connsiteY13" fmla="*/ 10390 h 143434"/>
                        <a:gd name="connsiteX14" fmla="*/ 8636 w 108154"/>
                        <a:gd name="connsiteY14" fmla="*/ 13223 h 143434"/>
                        <a:gd name="connsiteX15" fmla="*/ 18891 w 108154"/>
                        <a:gd name="connsiteY15" fmla="*/ 0 h 1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8154" h="143434">
                          <a:moveTo>
                            <a:pt x="18891" y="0"/>
                          </a:moveTo>
                          <a:lnTo>
                            <a:pt x="43044" y="8366"/>
                          </a:lnTo>
                          <a:cubicBezTo>
                            <a:pt x="43044" y="8366"/>
                            <a:pt x="72864" y="18486"/>
                            <a:pt x="80285" y="21724"/>
                          </a:cubicBezTo>
                          <a:cubicBezTo>
                            <a:pt x="113074" y="36432"/>
                            <a:pt x="114694" y="75833"/>
                            <a:pt x="96747" y="111590"/>
                          </a:cubicBezTo>
                          <a:lnTo>
                            <a:pt x="71650" y="136688"/>
                          </a:lnTo>
                          <a:lnTo>
                            <a:pt x="55862" y="143434"/>
                          </a:lnTo>
                          <a:lnTo>
                            <a:pt x="55727" y="115638"/>
                          </a:lnTo>
                          <a:cubicBezTo>
                            <a:pt x="51005" y="112534"/>
                            <a:pt x="39670" y="104978"/>
                            <a:pt x="39670" y="104978"/>
                          </a:cubicBezTo>
                          <a:lnTo>
                            <a:pt x="53973" y="65713"/>
                          </a:lnTo>
                          <a:lnTo>
                            <a:pt x="44663" y="42909"/>
                          </a:lnTo>
                          <a:lnTo>
                            <a:pt x="11739" y="36027"/>
                          </a:lnTo>
                          <a:lnTo>
                            <a:pt x="3508" y="32654"/>
                          </a:lnTo>
                          <a:lnTo>
                            <a:pt x="0" y="23074"/>
                          </a:lnTo>
                          <a:lnTo>
                            <a:pt x="4588" y="10390"/>
                          </a:lnTo>
                          <a:lnTo>
                            <a:pt x="8636" y="13223"/>
                          </a:lnTo>
                          <a:lnTo>
                            <a:pt x="18891" y="0"/>
                          </a:lnTo>
                          <a:close/>
                        </a:path>
                      </a:pathLst>
                    </a:custGeom>
                    <a:solidFill>
                      <a:srgbClr val="002B69"/>
                    </a:solidFill>
                    <a:ln w="1349" cap="flat">
                      <a:noFill/>
                      <a:prstDash val="solid"/>
                      <a:miter/>
                    </a:ln>
                  </p:spPr>
                  <p:txBody>
                    <a:bodyPr rtlCol="0" anchor="ctr"/>
                    <a:lstStyle/>
                    <a:p>
                      <a:endParaRPr lang="en-IN">
                        <a:latin typeface="+mn-lt"/>
                      </a:endParaRPr>
                    </a:p>
                  </p:txBody>
                </p:sp>
                <p:sp>
                  <p:nvSpPr>
                    <p:cNvPr id="200" name="Freeform: Shape 66">
                      <a:extLst>
                        <a:ext uri="{FF2B5EF4-FFF2-40B4-BE49-F238E27FC236}">
                          <a16:creationId xmlns:a16="http://schemas.microsoft.com/office/drawing/2014/main" id="{4E3FCA96-77B9-4848-BC40-3EE0E62757B1}"/>
                        </a:ext>
                      </a:extLst>
                    </p:cNvPr>
                    <p:cNvSpPr/>
                    <p:nvPr/>
                  </p:nvSpPr>
                  <p:spPr>
                    <a:xfrm>
                      <a:off x="9302528" y="2809459"/>
                      <a:ext cx="27645" cy="32213"/>
                    </a:xfrm>
                    <a:custGeom>
                      <a:avLst/>
                      <a:gdLst>
                        <a:gd name="connsiteX0" fmla="*/ 2312 w 27645"/>
                        <a:gd name="connsiteY0" fmla="*/ 15503 h 32213"/>
                        <a:gd name="connsiteX1" fmla="*/ 6765 w 27645"/>
                        <a:gd name="connsiteY1" fmla="*/ 31830 h 32213"/>
                        <a:gd name="connsiteX2" fmla="*/ 24711 w 27645"/>
                        <a:gd name="connsiteY2" fmla="*/ 22250 h 32213"/>
                        <a:gd name="connsiteX3" fmla="*/ 19314 w 27645"/>
                        <a:gd name="connsiteY3" fmla="*/ 526 h 32213"/>
                        <a:gd name="connsiteX4" fmla="*/ 2312 w 27645"/>
                        <a:gd name="connsiteY4" fmla="*/ 15503 h 32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45" h="32213">
                          <a:moveTo>
                            <a:pt x="2312" y="15503"/>
                          </a:moveTo>
                          <a:cubicBezTo>
                            <a:pt x="-792" y="25219"/>
                            <a:pt x="-2006" y="30481"/>
                            <a:pt x="6765" y="31830"/>
                          </a:cubicBezTo>
                          <a:cubicBezTo>
                            <a:pt x="11488" y="32505"/>
                            <a:pt x="17290" y="33585"/>
                            <a:pt x="24711" y="22250"/>
                          </a:cubicBezTo>
                          <a:cubicBezTo>
                            <a:pt x="30243" y="13749"/>
                            <a:pt x="27680" y="3225"/>
                            <a:pt x="19314" y="526"/>
                          </a:cubicBezTo>
                          <a:cubicBezTo>
                            <a:pt x="10813" y="-2173"/>
                            <a:pt x="5416" y="5923"/>
                            <a:pt x="2312" y="15503"/>
                          </a:cubicBezTo>
                          <a:close/>
                        </a:path>
                      </a:pathLst>
                    </a:custGeom>
                    <a:solidFill>
                      <a:srgbClr val="FFAB84"/>
                    </a:solidFill>
                    <a:ln w="1349" cap="flat">
                      <a:noFill/>
                      <a:prstDash val="solid"/>
                      <a:miter/>
                    </a:ln>
                  </p:spPr>
                  <p:txBody>
                    <a:bodyPr rtlCol="0" anchor="ctr"/>
                    <a:lstStyle/>
                    <a:p>
                      <a:endParaRPr lang="en-IN">
                        <a:latin typeface="+mn-lt"/>
                      </a:endParaRPr>
                    </a:p>
                  </p:txBody>
                </p:sp>
                <p:sp>
                  <p:nvSpPr>
                    <p:cNvPr id="201" name="Freeform: Shape 67">
                      <a:extLst>
                        <a:ext uri="{FF2B5EF4-FFF2-40B4-BE49-F238E27FC236}">
                          <a16:creationId xmlns:a16="http://schemas.microsoft.com/office/drawing/2014/main" id="{AB73585F-F1F0-B74C-B097-95EF0B430C20}"/>
                        </a:ext>
                      </a:extLst>
                    </p:cNvPr>
                    <p:cNvSpPr/>
                    <p:nvPr/>
                  </p:nvSpPr>
                  <p:spPr>
                    <a:xfrm>
                      <a:off x="9260042" y="2920360"/>
                      <a:ext cx="35217" cy="26986"/>
                    </a:xfrm>
                    <a:custGeom>
                      <a:avLst/>
                      <a:gdLst>
                        <a:gd name="connsiteX0" fmla="*/ 21050 w 35217"/>
                        <a:gd name="connsiteY0" fmla="*/ 0 h 26986"/>
                        <a:gd name="connsiteX1" fmla="*/ 35218 w 35217"/>
                        <a:gd name="connsiteY1" fmla="*/ 12279 h 26986"/>
                        <a:gd name="connsiteX2" fmla="*/ 28876 w 35217"/>
                        <a:gd name="connsiteY2" fmla="*/ 26987 h 26986"/>
                        <a:gd name="connsiteX3" fmla="*/ 5128 w 35217"/>
                        <a:gd name="connsiteY3" fmla="*/ 26987 h 26986"/>
                        <a:gd name="connsiteX4" fmla="*/ 0 w 35217"/>
                        <a:gd name="connsiteY4" fmla="*/ 12279 h 26986"/>
                        <a:gd name="connsiteX5" fmla="*/ 14438 w 35217"/>
                        <a:gd name="connsiteY5" fmla="*/ 0 h 26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17" h="26986">
                          <a:moveTo>
                            <a:pt x="21050" y="0"/>
                          </a:moveTo>
                          <a:lnTo>
                            <a:pt x="35218" y="12279"/>
                          </a:lnTo>
                          <a:lnTo>
                            <a:pt x="28876" y="26987"/>
                          </a:lnTo>
                          <a:lnTo>
                            <a:pt x="5128" y="26987"/>
                          </a:lnTo>
                          <a:lnTo>
                            <a:pt x="0" y="12279"/>
                          </a:lnTo>
                          <a:lnTo>
                            <a:pt x="14438" y="0"/>
                          </a:lnTo>
                          <a:close/>
                        </a:path>
                      </a:pathLst>
                    </a:custGeom>
                    <a:solidFill>
                      <a:srgbClr val="002B69"/>
                    </a:solidFill>
                    <a:ln w="1349" cap="flat">
                      <a:noFill/>
                      <a:prstDash val="solid"/>
                      <a:miter/>
                    </a:ln>
                  </p:spPr>
                  <p:txBody>
                    <a:bodyPr rtlCol="0" anchor="ctr"/>
                    <a:lstStyle/>
                    <a:p>
                      <a:endParaRPr lang="en-IN">
                        <a:latin typeface="+mn-lt"/>
                      </a:endParaRPr>
                    </a:p>
                  </p:txBody>
                </p:sp>
                <p:sp>
                  <p:nvSpPr>
                    <p:cNvPr id="202" name="Freeform: Shape 68">
                      <a:extLst>
                        <a:ext uri="{FF2B5EF4-FFF2-40B4-BE49-F238E27FC236}">
                          <a16:creationId xmlns:a16="http://schemas.microsoft.com/office/drawing/2014/main" id="{6F84DB7B-EFFD-734D-BE4F-0BAB6BB94514}"/>
                        </a:ext>
                      </a:extLst>
                    </p:cNvPr>
                    <p:cNvSpPr/>
                    <p:nvPr/>
                  </p:nvSpPr>
                  <p:spPr>
                    <a:xfrm>
                      <a:off x="9252216" y="2951395"/>
                      <a:ext cx="56941" cy="252595"/>
                    </a:xfrm>
                    <a:custGeom>
                      <a:avLst/>
                      <a:gdLst>
                        <a:gd name="connsiteX0" fmla="*/ 35353 w 56941"/>
                        <a:gd name="connsiteY0" fmla="*/ 0 h 252595"/>
                        <a:gd name="connsiteX1" fmla="*/ 12684 w 56941"/>
                        <a:gd name="connsiteY1" fmla="*/ 0 h 252595"/>
                        <a:gd name="connsiteX2" fmla="*/ 0 w 56941"/>
                        <a:gd name="connsiteY2" fmla="*/ 209822 h 252595"/>
                        <a:gd name="connsiteX3" fmla="*/ 25368 w 56941"/>
                        <a:gd name="connsiteY3" fmla="*/ 252596 h 252595"/>
                        <a:gd name="connsiteX4" fmla="*/ 56942 w 56941"/>
                        <a:gd name="connsiteY4" fmla="*/ 213870 h 252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41" h="252595">
                          <a:moveTo>
                            <a:pt x="35353" y="0"/>
                          </a:moveTo>
                          <a:lnTo>
                            <a:pt x="12684" y="0"/>
                          </a:lnTo>
                          <a:lnTo>
                            <a:pt x="0" y="209822"/>
                          </a:lnTo>
                          <a:lnTo>
                            <a:pt x="25368" y="252596"/>
                          </a:lnTo>
                          <a:lnTo>
                            <a:pt x="56942" y="213870"/>
                          </a:lnTo>
                          <a:close/>
                        </a:path>
                      </a:pathLst>
                    </a:custGeom>
                    <a:solidFill>
                      <a:srgbClr val="002B69"/>
                    </a:solidFill>
                    <a:ln w="1349" cap="flat">
                      <a:noFill/>
                      <a:prstDash val="solid"/>
                      <a:miter/>
                    </a:ln>
                  </p:spPr>
                  <p:txBody>
                    <a:bodyPr rtlCol="0" anchor="ctr"/>
                    <a:lstStyle/>
                    <a:p>
                      <a:endParaRPr lang="en-IN">
                        <a:latin typeface="+mn-lt"/>
                      </a:endParaRPr>
                    </a:p>
                  </p:txBody>
                </p:sp>
              </p:grpSp>
              <p:grpSp>
                <p:nvGrpSpPr>
                  <p:cNvPr id="184" name="Graphic 1">
                    <a:extLst>
                      <a:ext uri="{FF2B5EF4-FFF2-40B4-BE49-F238E27FC236}">
                        <a16:creationId xmlns:a16="http://schemas.microsoft.com/office/drawing/2014/main" id="{30ADD162-B2F2-F74B-BBC5-9681FA362016}"/>
                      </a:ext>
                    </a:extLst>
                  </p:cNvPr>
                  <p:cNvGrpSpPr/>
                  <p:nvPr/>
                </p:nvGrpSpPr>
                <p:grpSpPr>
                  <a:xfrm>
                    <a:off x="9079366" y="2781783"/>
                    <a:ext cx="323570" cy="191605"/>
                    <a:chOff x="9079366" y="2781783"/>
                    <a:chExt cx="323570" cy="191605"/>
                  </a:xfrm>
                  <a:solidFill>
                    <a:schemeClr val="accent1"/>
                  </a:solidFill>
                </p:grpSpPr>
                <p:sp>
                  <p:nvSpPr>
                    <p:cNvPr id="185" name="Freeform: Shape 51">
                      <a:extLst>
                        <a:ext uri="{FF2B5EF4-FFF2-40B4-BE49-F238E27FC236}">
                          <a16:creationId xmlns:a16="http://schemas.microsoft.com/office/drawing/2014/main" id="{96AA7E2D-1BC1-A54A-8286-5CF4839793F5}"/>
                        </a:ext>
                      </a:extLst>
                    </p:cNvPr>
                    <p:cNvSpPr/>
                    <p:nvPr/>
                  </p:nvSpPr>
                  <p:spPr>
                    <a:xfrm>
                      <a:off x="9079366" y="2781783"/>
                      <a:ext cx="76237" cy="60180"/>
                    </a:xfrm>
                    <a:custGeom>
                      <a:avLst/>
                      <a:gdLst>
                        <a:gd name="connsiteX0" fmla="*/ 69491 w 76237"/>
                        <a:gd name="connsiteY0" fmla="*/ 51949 h 60180"/>
                        <a:gd name="connsiteX1" fmla="*/ 76237 w 76237"/>
                        <a:gd name="connsiteY1" fmla="*/ 43853 h 60180"/>
                        <a:gd name="connsiteX2" fmla="*/ 63149 w 76237"/>
                        <a:gd name="connsiteY2" fmla="*/ 20105 h 60180"/>
                        <a:gd name="connsiteX3" fmla="*/ 16192 w 76237"/>
                        <a:gd name="connsiteY3" fmla="*/ 0 h 60180"/>
                        <a:gd name="connsiteX4" fmla="*/ 0 w 76237"/>
                        <a:gd name="connsiteY4" fmla="*/ 12954 h 60180"/>
                        <a:gd name="connsiteX5" fmla="*/ 39535 w 76237"/>
                        <a:gd name="connsiteY5" fmla="*/ 46822 h 60180"/>
                        <a:gd name="connsiteX6" fmla="*/ 49925 w 76237"/>
                        <a:gd name="connsiteY6" fmla="*/ 60180 h 6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37" h="60180">
                          <a:moveTo>
                            <a:pt x="69491" y="51949"/>
                          </a:moveTo>
                          <a:lnTo>
                            <a:pt x="76237" y="43853"/>
                          </a:lnTo>
                          <a:lnTo>
                            <a:pt x="63149" y="20105"/>
                          </a:lnTo>
                          <a:lnTo>
                            <a:pt x="16192" y="0"/>
                          </a:lnTo>
                          <a:lnTo>
                            <a:pt x="0" y="12954"/>
                          </a:lnTo>
                          <a:lnTo>
                            <a:pt x="39535" y="46822"/>
                          </a:lnTo>
                          <a:lnTo>
                            <a:pt x="49925" y="60180"/>
                          </a:lnTo>
                          <a:close/>
                        </a:path>
                      </a:pathLst>
                    </a:custGeom>
                    <a:solidFill>
                      <a:srgbClr val="FFAB84"/>
                    </a:solidFill>
                    <a:ln w="1349" cap="flat">
                      <a:noFill/>
                      <a:prstDash val="solid"/>
                      <a:miter/>
                    </a:ln>
                  </p:spPr>
                  <p:txBody>
                    <a:bodyPr rtlCol="0" anchor="ctr"/>
                    <a:lstStyle/>
                    <a:p>
                      <a:endParaRPr lang="en-IN">
                        <a:latin typeface="+mn-lt"/>
                      </a:endParaRPr>
                    </a:p>
                  </p:txBody>
                </p:sp>
                <p:sp>
                  <p:nvSpPr>
                    <p:cNvPr id="186" name="Freeform: Shape 52">
                      <a:extLst>
                        <a:ext uri="{FF2B5EF4-FFF2-40B4-BE49-F238E27FC236}">
                          <a16:creationId xmlns:a16="http://schemas.microsoft.com/office/drawing/2014/main" id="{82C09499-2222-F446-87C7-4D829BCE5C37}"/>
                        </a:ext>
                      </a:extLst>
                    </p:cNvPr>
                    <p:cNvSpPr/>
                    <p:nvPr/>
                  </p:nvSpPr>
                  <p:spPr>
                    <a:xfrm>
                      <a:off x="9127538" y="2819025"/>
                      <a:ext cx="35622" cy="30494"/>
                    </a:xfrm>
                    <a:custGeom>
                      <a:avLst/>
                      <a:gdLst>
                        <a:gd name="connsiteX0" fmla="*/ 6747 w 35622"/>
                        <a:gd name="connsiteY0" fmla="*/ 30495 h 30494"/>
                        <a:gd name="connsiteX1" fmla="*/ 0 w 35622"/>
                        <a:gd name="connsiteY1" fmla="*/ 22129 h 30494"/>
                        <a:gd name="connsiteX2" fmla="*/ 29685 w 35622"/>
                        <a:gd name="connsiteY2" fmla="*/ 0 h 30494"/>
                        <a:gd name="connsiteX3" fmla="*/ 35622 w 35622"/>
                        <a:gd name="connsiteY3" fmla="*/ 8366 h 30494"/>
                      </a:gdLst>
                      <a:ahLst/>
                      <a:cxnLst>
                        <a:cxn ang="0">
                          <a:pos x="connsiteX0" y="connsiteY0"/>
                        </a:cxn>
                        <a:cxn ang="0">
                          <a:pos x="connsiteX1" y="connsiteY1"/>
                        </a:cxn>
                        <a:cxn ang="0">
                          <a:pos x="connsiteX2" y="connsiteY2"/>
                        </a:cxn>
                        <a:cxn ang="0">
                          <a:pos x="connsiteX3" y="connsiteY3"/>
                        </a:cxn>
                      </a:cxnLst>
                      <a:rect l="l" t="t" r="r" b="b"/>
                      <a:pathLst>
                        <a:path w="35622" h="30494">
                          <a:moveTo>
                            <a:pt x="6747" y="30495"/>
                          </a:moveTo>
                          <a:lnTo>
                            <a:pt x="0" y="22129"/>
                          </a:lnTo>
                          <a:lnTo>
                            <a:pt x="29685" y="0"/>
                          </a:lnTo>
                          <a:lnTo>
                            <a:pt x="35622" y="8366"/>
                          </a:lnTo>
                          <a:close/>
                        </a:path>
                      </a:pathLst>
                    </a:custGeom>
                    <a:solidFill>
                      <a:srgbClr val="FFFFFF"/>
                    </a:solidFill>
                    <a:ln w="1349" cap="flat">
                      <a:noFill/>
                      <a:prstDash val="solid"/>
                      <a:miter/>
                    </a:ln>
                  </p:spPr>
                  <p:txBody>
                    <a:bodyPr rtlCol="0" anchor="ctr"/>
                    <a:lstStyle/>
                    <a:p>
                      <a:endParaRPr lang="en-IN">
                        <a:latin typeface="+mn-lt"/>
                      </a:endParaRPr>
                    </a:p>
                  </p:txBody>
                </p:sp>
                <p:sp>
                  <p:nvSpPr>
                    <p:cNvPr id="187" name="Freeform: Shape 53">
                      <a:extLst>
                        <a:ext uri="{FF2B5EF4-FFF2-40B4-BE49-F238E27FC236}">
                          <a16:creationId xmlns:a16="http://schemas.microsoft.com/office/drawing/2014/main" id="{5FD8D218-2B01-8548-8421-AD286F0835E8}"/>
                        </a:ext>
                      </a:extLst>
                    </p:cNvPr>
                    <p:cNvSpPr/>
                    <p:nvPr/>
                  </p:nvSpPr>
                  <p:spPr>
                    <a:xfrm>
                      <a:off x="9129292" y="2825637"/>
                      <a:ext cx="273645" cy="147752"/>
                    </a:xfrm>
                    <a:custGeom>
                      <a:avLst/>
                      <a:gdLst>
                        <a:gd name="connsiteX0" fmla="*/ 273645 w 273645"/>
                        <a:gd name="connsiteY0" fmla="*/ 91620 h 147752"/>
                        <a:gd name="connsiteX1" fmla="*/ 262716 w 273645"/>
                        <a:gd name="connsiteY1" fmla="*/ 143569 h 147752"/>
                        <a:gd name="connsiteX2" fmla="*/ 122924 w 273645"/>
                        <a:gd name="connsiteY2" fmla="*/ 147752 h 147752"/>
                        <a:gd name="connsiteX3" fmla="*/ 87437 w 273645"/>
                        <a:gd name="connsiteY3" fmla="*/ 133314 h 147752"/>
                        <a:gd name="connsiteX4" fmla="*/ 0 w 273645"/>
                        <a:gd name="connsiteY4" fmla="*/ 22264 h 147752"/>
                        <a:gd name="connsiteX5" fmla="*/ 34813 w 273645"/>
                        <a:gd name="connsiteY5" fmla="*/ 0 h 147752"/>
                        <a:gd name="connsiteX6" fmla="*/ 122924 w 273645"/>
                        <a:gd name="connsiteY6" fmla="*/ 84603 h 147752"/>
                        <a:gd name="connsiteX7" fmla="*/ 218053 w 273645"/>
                        <a:gd name="connsiteY7" fmla="*/ 88381 h 147752"/>
                        <a:gd name="connsiteX8" fmla="*/ 237348 w 273645"/>
                        <a:gd name="connsiteY8" fmla="*/ 80285 h 147752"/>
                        <a:gd name="connsiteX9" fmla="*/ 259342 w 273645"/>
                        <a:gd name="connsiteY9" fmla="*/ 83389 h 147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645" h="147752">
                          <a:moveTo>
                            <a:pt x="273645" y="91620"/>
                          </a:moveTo>
                          <a:lnTo>
                            <a:pt x="262716" y="143569"/>
                          </a:lnTo>
                          <a:lnTo>
                            <a:pt x="122924" y="147752"/>
                          </a:lnTo>
                          <a:lnTo>
                            <a:pt x="87437" y="133314"/>
                          </a:lnTo>
                          <a:lnTo>
                            <a:pt x="0" y="22264"/>
                          </a:lnTo>
                          <a:lnTo>
                            <a:pt x="34813" y="0"/>
                          </a:lnTo>
                          <a:lnTo>
                            <a:pt x="122924" y="84603"/>
                          </a:lnTo>
                          <a:lnTo>
                            <a:pt x="218053" y="88381"/>
                          </a:lnTo>
                          <a:lnTo>
                            <a:pt x="237348" y="80285"/>
                          </a:lnTo>
                          <a:lnTo>
                            <a:pt x="259342" y="83389"/>
                          </a:lnTo>
                          <a:close/>
                        </a:path>
                      </a:pathLst>
                    </a:custGeom>
                    <a:solidFill>
                      <a:srgbClr val="093872"/>
                    </a:solidFill>
                    <a:ln w="1349" cap="flat">
                      <a:noFill/>
                      <a:prstDash val="solid"/>
                      <a:miter/>
                    </a:ln>
                  </p:spPr>
                  <p:txBody>
                    <a:bodyPr rtlCol="0" anchor="ctr"/>
                    <a:lstStyle/>
                    <a:p>
                      <a:endParaRPr lang="en-IN">
                        <a:latin typeface="+mn-lt"/>
                      </a:endParaRPr>
                    </a:p>
                  </p:txBody>
                </p:sp>
              </p:grpSp>
            </p:grpSp>
            <p:grpSp>
              <p:nvGrpSpPr>
                <p:cNvPr id="154" name="Graphic 1">
                  <a:extLst>
                    <a:ext uri="{FF2B5EF4-FFF2-40B4-BE49-F238E27FC236}">
                      <a16:creationId xmlns:a16="http://schemas.microsoft.com/office/drawing/2014/main" id="{66883F14-701E-2A4D-82A2-7B82A9EED41D}"/>
                    </a:ext>
                  </a:extLst>
                </p:cNvPr>
                <p:cNvGrpSpPr/>
                <p:nvPr/>
              </p:nvGrpSpPr>
              <p:grpSpPr>
                <a:xfrm flipH="1">
                  <a:off x="1003962" y="4571776"/>
                  <a:ext cx="689475" cy="1209244"/>
                  <a:chOff x="8216331" y="2678289"/>
                  <a:chExt cx="585476" cy="1026844"/>
                </a:xfrm>
                <a:solidFill>
                  <a:schemeClr val="accent1"/>
                </a:solidFill>
              </p:grpSpPr>
              <p:sp>
                <p:nvSpPr>
                  <p:cNvPr id="155" name="Freeform: Shape 21">
                    <a:extLst>
                      <a:ext uri="{FF2B5EF4-FFF2-40B4-BE49-F238E27FC236}">
                        <a16:creationId xmlns:a16="http://schemas.microsoft.com/office/drawing/2014/main" id="{D8BCBA0B-44E2-0547-AFEE-047D1DA017AE}"/>
                      </a:ext>
                    </a:extLst>
                  </p:cNvPr>
                  <p:cNvSpPr/>
                  <p:nvPr/>
                </p:nvSpPr>
                <p:spPr>
                  <a:xfrm>
                    <a:off x="8308491" y="2678289"/>
                    <a:ext cx="78261" cy="133989"/>
                  </a:xfrm>
                  <a:custGeom>
                    <a:avLst/>
                    <a:gdLst>
                      <a:gd name="connsiteX0" fmla="*/ 2833 w 78261"/>
                      <a:gd name="connsiteY0" fmla="*/ 61395 h 133989"/>
                      <a:gd name="connsiteX1" fmla="*/ 16057 w 78261"/>
                      <a:gd name="connsiteY1" fmla="*/ 75968 h 133989"/>
                      <a:gd name="connsiteX2" fmla="*/ 48441 w 78261"/>
                      <a:gd name="connsiteY2" fmla="*/ 133989 h 133989"/>
                      <a:gd name="connsiteX3" fmla="*/ 78261 w 78261"/>
                      <a:gd name="connsiteY3" fmla="*/ 124679 h 133989"/>
                      <a:gd name="connsiteX4" fmla="*/ 58561 w 78261"/>
                      <a:gd name="connsiteY4" fmla="*/ 68951 h 133989"/>
                      <a:gd name="connsiteX5" fmla="*/ 70165 w 78261"/>
                      <a:gd name="connsiteY5" fmla="*/ 31305 h 133989"/>
                      <a:gd name="connsiteX6" fmla="*/ 56267 w 78261"/>
                      <a:gd name="connsiteY6" fmla="*/ 0 h 133989"/>
                      <a:gd name="connsiteX7" fmla="*/ 0 w 78261"/>
                      <a:gd name="connsiteY7" fmla="*/ 32384 h 133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261" h="133989">
                        <a:moveTo>
                          <a:pt x="2833" y="61395"/>
                        </a:moveTo>
                        <a:lnTo>
                          <a:pt x="16057" y="75968"/>
                        </a:lnTo>
                        <a:lnTo>
                          <a:pt x="48441" y="133989"/>
                        </a:lnTo>
                        <a:lnTo>
                          <a:pt x="78261" y="124679"/>
                        </a:lnTo>
                        <a:lnTo>
                          <a:pt x="58561" y="68951"/>
                        </a:lnTo>
                        <a:lnTo>
                          <a:pt x="70165" y="31305"/>
                        </a:lnTo>
                        <a:lnTo>
                          <a:pt x="56267" y="0"/>
                        </a:lnTo>
                        <a:lnTo>
                          <a:pt x="0" y="32384"/>
                        </a:lnTo>
                        <a:close/>
                      </a:path>
                    </a:pathLst>
                  </a:custGeom>
                  <a:solidFill>
                    <a:srgbClr val="EEAE80"/>
                  </a:solidFill>
                  <a:ln w="1349" cap="flat">
                    <a:noFill/>
                    <a:prstDash val="solid"/>
                    <a:miter/>
                  </a:ln>
                </p:spPr>
                <p:txBody>
                  <a:bodyPr rtlCol="0" anchor="ctr"/>
                  <a:lstStyle/>
                  <a:p>
                    <a:endParaRPr lang="en-IN">
                      <a:latin typeface="+mn-lt"/>
                    </a:endParaRPr>
                  </a:p>
                </p:txBody>
              </p:sp>
              <p:grpSp>
                <p:nvGrpSpPr>
                  <p:cNvPr id="156" name="Graphic 1">
                    <a:extLst>
                      <a:ext uri="{FF2B5EF4-FFF2-40B4-BE49-F238E27FC236}">
                        <a16:creationId xmlns:a16="http://schemas.microsoft.com/office/drawing/2014/main" id="{53577599-4AEC-7249-901F-6E7C3C674E25}"/>
                      </a:ext>
                    </a:extLst>
                  </p:cNvPr>
                  <p:cNvGrpSpPr/>
                  <p:nvPr/>
                </p:nvGrpSpPr>
                <p:grpSpPr>
                  <a:xfrm>
                    <a:off x="8216331" y="2746566"/>
                    <a:ext cx="318308" cy="180271"/>
                    <a:chOff x="8216331" y="2746566"/>
                    <a:chExt cx="318308" cy="180271"/>
                  </a:xfrm>
                  <a:solidFill>
                    <a:schemeClr val="accent1"/>
                  </a:solidFill>
                </p:grpSpPr>
                <p:sp>
                  <p:nvSpPr>
                    <p:cNvPr id="179" name="Freeform: Shape 45">
                      <a:extLst>
                        <a:ext uri="{FF2B5EF4-FFF2-40B4-BE49-F238E27FC236}">
                          <a16:creationId xmlns:a16="http://schemas.microsoft.com/office/drawing/2014/main" id="{C8ED4363-4032-7847-9CDC-009CA1348AEE}"/>
                        </a:ext>
                      </a:extLst>
                    </p:cNvPr>
                    <p:cNvSpPr/>
                    <p:nvPr/>
                  </p:nvSpPr>
                  <p:spPr>
                    <a:xfrm>
                      <a:off x="8216331" y="2746566"/>
                      <a:ext cx="101065" cy="98501"/>
                    </a:xfrm>
                    <a:custGeom>
                      <a:avLst/>
                      <a:gdLst>
                        <a:gd name="connsiteX0" fmla="*/ 33464 w 101065"/>
                        <a:gd name="connsiteY0" fmla="*/ 56942 h 98501"/>
                        <a:gd name="connsiteX1" fmla="*/ 46552 w 101065"/>
                        <a:gd name="connsiteY1" fmla="*/ 77047 h 98501"/>
                        <a:gd name="connsiteX2" fmla="*/ 101065 w 101065"/>
                        <a:gd name="connsiteY2" fmla="*/ 98502 h 98501"/>
                        <a:gd name="connsiteX3" fmla="*/ 92430 w 101065"/>
                        <a:gd name="connsiteY3" fmla="*/ 64228 h 98501"/>
                        <a:gd name="connsiteX4" fmla="*/ 56402 w 101065"/>
                        <a:gd name="connsiteY4" fmla="*/ 37646 h 98501"/>
                        <a:gd name="connsiteX5" fmla="*/ 37781 w 101065"/>
                        <a:gd name="connsiteY5" fmla="*/ 9580 h 98501"/>
                        <a:gd name="connsiteX6" fmla="*/ 0 w 101065"/>
                        <a:gd name="connsiteY6" fmla="*/ 0 h 98501"/>
                        <a:gd name="connsiteX7" fmla="*/ 1484 w 101065"/>
                        <a:gd name="connsiteY7" fmla="*/ 17002 h 98501"/>
                        <a:gd name="connsiteX8" fmla="*/ 19835 w 101065"/>
                        <a:gd name="connsiteY8" fmla="*/ 32924 h 98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065" h="98501">
                          <a:moveTo>
                            <a:pt x="33464" y="56942"/>
                          </a:moveTo>
                          <a:lnTo>
                            <a:pt x="46552" y="77047"/>
                          </a:lnTo>
                          <a:lnTo>
                            <a:pt x="101065" y="98502"/>
                          </a:lnTo>
                          <a:lnTo>
                            <a:pt x="92430" y="64228"/>
                          </a:lnTo>
                          <a:lnTo>
                            <a:pt x="56402" y="37646"/>
                          </a:lnTo>
                          <a:lnTo>
                            <a:pt x="37781" y="9580"/>
                          </a:lnTo>
                          <a:lnTo>
                            <a:pt x="0" y="0"/>
                          </a:lnTo>
                          <a:lnTo>
                            <a:pt x="1484" y="17002"/>
                          </a:lnTo>
                          <a:lnTo>
                            <a:pt x="19835" y="32924"/>
                          </a:lnTo>
                          <a:close/>
                        </a:path>
                      </a:pathLst>
                    </a:custGeom>
                    <a:solidFill>
                      <a:srgbClr val="EEAE80"/>
                    </a:solidFill>
                    <a:ln w="1349" cap="flat">
                      <a:noFill/>
                      <a:prstDash val="solid"/>
                      <a:miter/>
                    </a:ln>
                  </p:spPr>
                  <p:txBody>
                    <a:bodyPr rtlCol="0" anchor="ctr"/>
                    <a:lstStyle/>
                    <a:p>
                      <a:endParaRPr lang="en-IN">
                        <a:latin typeface="+mn-lt"/>
                      </a:endParaRPr>
                    </a:p>
                  </p:txBody>
                </p:sp>
                <p:sp>
                  <p:nvSpPr>
                    <p:cNvPr id="180" name="Freeform: Shape 46">
                      <a:extLst>
                        <a:ext uri="{FF2B5EF4-FFF2-40B4-BE49-F238E27FC236}">
                          <a16:creationId xmlns:a16="http://schemas.microsoft.com/office/drawing/2014/main" id="{C2389A4D-0527-394A-BC2C-B1564ED650CD}"/>
                        </a:ext>
                      </a:extLst>
                    </p:cNvPr>
                    <p:cNvSpPr/>
                    <p:nvPr/>
                  </p:nvSpPr>
                  <p:spPr>
                    <a:xfrm>
                      <a:off x="8346407" y="2753447"/>
                      <a:ext cx="188232" cy="173389"/>
                    </a:xfrm>
                    <a:custGeom>
                      <a:avLst/>
                      <a:gdLst>
                        <a:gd name="connsiteX0" fmla="*/ 188232 w 188232"/>
                        <a:gd name="connsiteY0" fmla="*/ 109296 h 173389"/>
                        <a:gd name="connsiteX1" fmla="*/ 77452 w 188232"/>
                        <a:gd name="connsiteY1" fmla="*/ 106598 h 173389"/>
                        <a:gd name="connsiteX2" fmla="*/ 27257 w 188232"/>
                        <a:gd name="connsiteY2" fmla="*/ 0 h 173389"/>
                        <a:gd name="connsiteX3" fmla="*/ 0 w 188232"/>
                        <a:gd name="connsiteY3" fmla="*/ 53299 h 173389"/>
                        <a:gd name="connsiteX4" fmla="*/ 51140 w 188232"/>
                        <a:gd name="connsiteY4" fmla="*/ 167318 h 173389"/>
                        <a:gd name="connsiteX5" fmla="*/ 150451 w 188232"/>
                        <a:gd name="connsiteY5" fmla="*/ 173390 h 173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32" h="173389">
                          <a:moveTo>
                            <a:pt x="188232" y="109296"/>
                          </a:moveTo>
                          <a:lnTo>
                            <a:pt x="77452" y="106598"/>
                          </a:lnTo>
                          <a:lnTo>
                            <a:pt x="27257" y="0"/>
                          </a:lnTo>
                          <a:lnTo>
                            <a:pt x="0" y="53299"/>
                          </a:lnTo>
                          <a:lnTo>
                            <a:pt x="51140" y="167318"/>
                          </a:lnTo>
                          <a:lnTo>
                            <a:pt x="150451" y="173390"/>
                          </a:lnTo>
                          <a:close/>
                        </a:path>
                      </a:pathLst>
                    </a:custGeom>
                    <a:solidFill>
                      <a:srgbClr val="002B69"/>
                    </a:solidFill>
                    <a:ln w="1349" cap="flat">
                      <a:noFill/>
                      <a:prstDash val="solid"/>
                      <a:miter/>
                    </a:ln>
                  </p:spPr>
                  <p:txBody>
                    <a:bodyPr rtlCol="0" anchor="ctr"/>
                    <a:lstStyle/>
                    <a:p>
                      <a:endParaRPr lang="en-IN">
                        <a:latin typeface="+mn-lt"/>
                      </a:endParaRPr>
                    </a:p>
                  </p:txBody>
                </p:sp>
                <p:sp>
                  <p:nvSpPr>
                    <p:cNvPr id="181" name="Freeform: Shape 47">
                      <a:extLst>
                        <a:ext uri="{FF2B5EF4-FFF2-40B4-BE49-F238E27FC236}">
                          <a16:creationId xmlns:a16="http://schemas.microsoft.com/office/drawing/2014/main" id="{6E78614D-1F33-F84C-8AA6-FBE160F96A07}"/>
                        </a:ext>
                      </a:extLst>
                    </p:cNvPr>
                    <p:cNvSpPr/>
                    <p:nvPr/>
                  </p:nvSpPr>
                  <p:spPr>
                    <a:xfrm>
                      <a:off x="8276781" y="2790824"/>
                      <a:ext cx="24557" cy="46956"/>
                    </a:xfrm>
                    <a:custGeom>
                      <a:avLst/>
                      <a:gdLst>
                        <a:gd name="connsiteX0" fmla="*/ 0 w 24557"/>
                        <a:gd name="connsiteY0" fmla="*/ 42099 h 46956"/>
                        <a:gd name="connsiteX1" fmla="*/ 11334 w 24557"/>
                        <a:gd name="connsiteY1" fmla="*/ 46957 h 46956"/>
                        <a:gd name="connsiteX2" fmla="*/ 24558 w 24557"/>
                        <a:gd name="connsiteY2" fmla="*/ 4048 h 46956"/>
                        <a:gd name="connsiteX3" fmla="*/ 10660 w 24557"/>
                        <a:gd name="connsiteY3" fmla="*/ 0 h 46956"/>
                      </a:gdLst>
                      <a:ahLst/>
                      <a:cxnLst>
                        <a:cxn ang="0">
                          <a:pos x="connsiteX0" y="connsiteY0"/>
                        </a:cxn>
                        <a:cxn ang="0">
                          <a:pos x="connsiteX1" y="connsiteY1"/>
                        </a:cxn>
                        <a:cxn ang="0">
                          <a:pos x="connsiteX2" y="connsiteY2"/>
                        </a:cxn>
                        <a:cxn ang="0">
                          <a:pos x="connsiteX3" y="connsiteY3"/>
                        </a:cxn>
                      </a:cxnLst>
                      <a:rect l="l" t="t" r="r" b="b"/>
                      <a:pathLst>
                        <a:path w="24557" h="46956">
                          <a:moveTo>
                            <a:pt x="0" y="42099"/>
                          </a:moveTo>
                          <a:lnTo>
                            <a:pt x="11334" y="46957"/>
                          </a:lnTo>
                          <a:lnTo>
                            <a:pt x="24558" y="4048"/>
                          </a:lnTo>
                          <a:lnTo>
                            <a:pt x="10660" y="0"/>
                          </a:lnTo>
                          <a:close/>
                        </a:path>
                      </a:pathLst>
                    </a:custGeom>
                    <a:solidFill>
                      <a:srgbClr val="F8F8F7"/>
                    </a:solidFill>
                    <a:ln w="1349" cap="flat">
                      <a:noFill/>
                      <a:prstDash val="solid"/>
                      <a:miter/>
                    </a:ln>
                  </p:spPr>
                  <p:txBody>
                    <a:bodyPr rtlCol="0" anchor="ctr"/>
                    <a:lstStyle/>
                    <a:p>
                      <a:endParaRPr lang="en-IN">
                        <a:latin typeface="+mn-lt"/>
                      </a:endParaRPr>
                    </a:p>
                  </p:txBody>
                </p:sp>
              </p:grpSp>
              <p:grpSp>
                <p:nvGrpSpPr>
                  <p:cNvPr id="157" name="Graphic 1">
                    <a:extLst>
                      <a:ext uri="{FF2B5EF4-FFF2-40B4-BE49-F238E27FC236}">
                        <a16:creationId xmlns:a16="http://schemas.microsoft.com/office/drawing/2014/main" id="{C1B7CD79-4838-5641-B4F2-3F1A9B88977D}"/>
                      </a:ext>
                    </a:extLst>
                  </p:cNvPr>
                  <p:cNvGrpSpPr/>
                  <p:nvPr/>
                </p:nvGrpSpPr>
                <p:grpSpPr>
                  <a:xfrm>
                    <a:off x="8278670" y="2679908"/>
                    <a:ext cx="523137" cy="1025225"/>
                    <a:chOff x="8278670" y="2679908"/>
                    <a:chExt cx="523137" cy="1025225"/>
                  </a:xfrm>
                  <a:solidFill>
                    <a:schemeClr val="accent1"/>
                  </a:solidFill>
                </p:grpSpPr>
                <p:sp>
                  <p:nvSpPr>
                    <p:cNvPr id="162" name="Freeform: Shape 28">
                      <a:extLst>
                        <a:ext uri="{FF2B5EF4-FFF2-40B4-BE49-F238E27FC236}">
                          <a16:creationId xmlns:a16="http://schemas.microsoft.com/office/drawing/2014/main" id="{1F5ADA9A-46B0-1649-8BAA-851EFE1A6487}"/>
                        </a:ext>
                      </a:extLst>
                    </p:cNvPr>
                    <p:cNvSpPr/>
                    <p:nvPr/>
                  </p:nvSpPr>
                  <p:spPr>
                    <a:xfrm>
                      <a:off x="8278670" y="3646977"/>
                      <a:ext cx="98096" cy="58156"/>
                    </a:xfrm>
                    <a:custGeom>
                      <a:avLst/>
                      <a:gdLst>
                        <a:gd name="connsiteX0" fmla="*/ 95263 w 98096"/>
                        <a:gd name="connsiteY0" fmla="*/ 8906 h 58156"/>
                        <a:gd name="connsiteX1" fmla="*/ 94993 w 98096"/>
                        <a:gd name="connsiteY1" fmla="*/ 25233 h 58156"/>
                        <a:gd name="connsiteX2" fmla="*/ 98097 w 98096"/>
                        <a:gd name="connsiteY2" fmla="*/ 38996 h 58156"/>
                        <a:gd name="connsiteX3" fmla="*/ 95398 w 98096"/>
                        <a:gd name="connsiteY3" fmla="*/ 58156 h 58156"/>
                        <a:gd name="connsiteX4" fmla="*/ 270 w 98096"/>
                        <a:gd name="connsiteY4" fmla="*/ 53434 h 58156"/>
                        <a:gd name="connsiteX5" fmla="*/ 0 w 98096"/>
                        <a:gd name="connsiteY5" fmla="*/ 28471 h 58156"/>
                        <a:gd name="connsiteX6" fmla="*/ 50600 w 98096"/>
                        <a:gd name="connsiteY6" fmla="*/ 17137 h 58156"/>
                        <a:gd name="connsiteX7" fmla="*/ 57482 w 98096"/>
                        <a:gd name="connsiteY7" fmla="*/ 0 h 5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096" h="58156">
                          <a:moveTo>
                            <a:pt x="95263" y="8906"/>
                          </a:moveTo>
                          <a:lnTo>
                            <a:pt x="94993" y="25233"/>
                          </a:lnTo>
                          <a:lnTo>
                            <a:pt x="98097" y="38996"/>
                          </a:lnTo>
                          <a:lnTo>
                            <a:pt x="95398" y="58156"/>
                          </a:lnTo>
                          <a:lnTo>
                            <a:pt x="270" y="53434"/>
                          </a:lnTo>
                          <a:lnTo>
                            <a:pt x="0" y="28471"/>
                          </a:lnTo>
                          <a:lnTo>
                            <a:pt x="50600" y="17137"/>
                          </a:lnTo>
                          <a:lnTo>
                            <a:pt x="57482" y="0"/>
                          </a:lnTo>
                          <a:close/>
                        </a:path>
                      </a:pathLst>
                    </a:custGeom>
                    <a:solidFill>
                      <a:srgbClr val="002B69"/>
                    </a:solidFill>
                    <a:ln w="1349" cap="flat">
                      <a:noFill/>
                      <a:prstDash val="solid"/>
                      <a:miter/>
                    </a:ln>
                  </p:spPr>
                  <p:txBody>
                    <a:bodyPr rtlCol="0" anchor="ctr"/>
                    <a:lstStyle/>
                    <a:p>
                      <a:endParaRPr lang="en-IN">
                        <a:latin typeface="+mn-lt"/>
                      </a:endParaRPr>
                    </a:p>
                  </p:txBody>
                </p:sp>
                <p:sp>
                  <p:nvSpPr>
                    <p:cNvPr id="163" name="Freeform: Shape 29">
                      <a:extLst>
                        <a:ext uri="{FF2B5EF4-FFF2-40B4-BE49-F238E27FC236}">
                          <a16:creationId xmlns:a16="http://schemas.microsoft.com/office/drawing/2014/main" id="{57126207-D438-6F49-8B39-D3C505BB4866}"/>
                        </a:ext>
                      </a:extLst>
                    </p:cNvPr>
                    <p:cNvSpPr/>
                    <p:nvPr/>
                  </p:nvSpPr>
                  <p:spPr>
                    <a:xfrm>
                      <a:off x="8657834" y="3650216"/>
                      <a:ext cx="72459" cy="51814"/>
                    </a:xfrm>
                    <a:custGeom>
                      <a:avLst/>
                      <a:gdLst>
                        <a:gd name="connsiteX0" fmla="*/ 69626 w 72459"/>
                        <a:gd name="connsiteY0" fmla="*/ 6477 h 51814"/>
                        <a:gd name="connsiteX1" fmla="*/ 72459 w 72459"/>
                        <a:gd name="connsiteY1" fmla="*/ 28606 h 51814"/>
                        <a:gd name="connsiteX2" fmla="*/ 62474 w 72459"/>
                        <a:gd name="connsiteY2" fmla="*/ 51815 h 51814"/>
                        <a:gd name="connsiteX3" fmla="*/ 0 w 72459"/>
                        <a:gd name="connsiteY3" fmla="*/ 50195 h 51814"/>
                        <a:gd name="connsiteX4" fmla="*/ 2294 w 72459"/>
                        <a:gd name="connsiteY4" fmla="*/ 35083 h 51814"/>
                        <a:gd name="connsiteX5" fmla="*/ 22399 w 72459"/>
                        <a:gd name="connsiteY5" fmla="*/ 18216 h 51814"/>
                        <a:gd name="connsiteX6" fmla="*/ 35083 w 72459"/>
                        <a:gd name="connsiteY6" fmla="*/ 3913 h 51814"/>
                        <a:gd name="connsiteX7" fmla="*/ 59236 w 72459"/>
                        <a:gd name="connsiteY7" fmla="*/ 0 h 51814"/>
                        <a:gd name="connsiteX8" fmla="*/ 69626 w 72459"/>
                        <a:gd name="connsiteY8" fmla="*/ 6477 h 51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459" h="51814">
                          <a:moveTo>
                            <a:pt x="69626" y="6477"/>
                          </a:moveTo>
                          <a:cubicBezTo>
                            <a:pt x="68277" y="-3778"/>
                            <a:pt x="71920" y="22939"/>
                            <a:pt x="72459" y="28606"/>
                          </a:cubicBezTo>
                          <a:lnTo>
                            <a:pt x="62474" y="51815"/>
                          </a:lnTo>
                          <a:lnTo>
                            <a:pt x="0" y="50195"/>
                          </a:lnTo>
                          <a:lnTo>
                            <a:pt x="2294" y="35083"/>
                          </a:lnTo>
                          <a:lnTo>
                            <a:pt x="22399" y="18216"/>
                          </a:lnTo>
                          <a:lnTo>
                            <a:pt x="35083" y="3913"/>
                          </a:lnTo>
                          <a:lnTo>
                            <a:pt x="59236" y="0"/>
                          </a:lnTo>
                          <a:lnTo>
                            <a:pt x="69626" y="6477"/>
                          </a:lnTo>
                          <a:close/>
                        </a:path>
                      </a:pathLst>
                    </a:custGeom>
                    <a:solidFill>
                      <a:srgbClr val="002B69"/>
                    </a:solidFill>
                    <a:ln w="1349" cap="flat">
                      <a:noFill/>
                      <a:prstDash val="solid"/>
                      <a:miter/>
                    </a:ln>
                  </p:spPr>
                  <p:txBody>
                    <a:bodyPr rtlCol="0" anchor="ctr"/>
                    <a:lstStyle/>
                    <a:p>
                      <a:endParaRPr lang="en-IN">
                        <a:latin typeface="+mn-lt"/>
                      </a:endParaRPr>
                    </a:p>
                  </p:txBody>
                </p:sp>
                <p:sp>
                  <p:nvSpPr>
                    <p:cNvPr id="164" name="Freeform: Shape 30">
                      <a:extLst>
                        <a:ext uri="{FF2B5EF4-FFF2-40B4-BE49-F238E27FC236}">
                          <a16:creationId xmlns:a16="http://schemas.microsoft.com/office/drawing/2014/main" id="{AC15173C-E6FD-854D-9A68-1F0F97BDBC2F}"/>
                        </a:ext>
                      </a:extLst>
                    </p:cNvPr>
                    <p:cNvSpPr/>
                    <p:nvPr/>
                  </p:nvSpPr>
                  <p:spPr>
                    <a:xfrm>
                      <a:off x="8601012" y="3025068"/>
                      <a:ext cx="200795" cy="202940"/>
                    </a:xfrm>
                    <a:custGeom>
                      <a:avLst/>
                      <a:gdLst>
                        <a:gd name="connsiteX0" fmla="*/ 20929 w 200795"/>
                        <a:gd name="connsiteY0" fmla="*/ 51410 h 202940"/>
                        <a:gd name="connsiteX1" fmla="*/ 58980 w 200795"/>
                        <a:gd name="connsiteY1" fmla="*/ 0 h 202940"/>
                        <a:gd name="connsiteX2" fmla="*/ 130900 w 200795"/>
                        <a:gd name="connsiteY2" fmla="*/ 127377 h 202940"/>
                        <a:gd name="connsiteX3" fmla="*/ 141425 w 200795"/>
                        <a:gd name="connsiteY3" fmla="*/ 171905 h 202940"/>
                        <a:gd name="connsiteX4" fmla="*/ 200795 w 200795"/>
                        <a:gd name="connsiteY4" fmla="*/ 202940 h 202940"/>
                        <a:gd name="connsiteX5" fmla="*/ 70989 w 200795"/>
                        <a:gd name="connsiteY5" fmla="*/ 195519 h 202940"/>
                        <a:gd name="connsiteX6" fmla="*/ 689 w 200795"/>
                        <a:gd name="connsiteY6" fmla="*/ 184724 h 202940"/>
                        <a:gd name="connsiteX7" fmla="*/ 20929 w 200795"/>
                        <a:gd name="connsiteY7" fmla="*/ 51410 h 20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795" h="202940">
                          <a:moveTo>
                            <a:pt x="20929" y="51410"/>
                          </a:moveTo>
                          <a:cubicBezTo>
                            <a:pt x="26866" y="52354"/>
                            <a:pt x="58980" y="0"/>
                            <a:pt x="58980" y="0"/>
                          </a:cubicBezTo>
                          <a:lnTo>
                            <a:pt x="130900" y="127377"/>
                          </a:lnTo>
                          <a:lnTo>
                            <a:pt x="141425" y="171905"/>
                          </a:lnTo>
                          <a:lnTo>
                            <a:pt x="200795" y="202940"/>
                          </a:lnTo>
                          <a:cubicBezTo>
                            <a:pt x="200795" y="202940"/>
                            <a:pt x="98381" y="199702"/>
                            <a:pt x="70989" y="195519"/>
                          </a:cubicBezTo>
                          <a:cubicBezTo>
                            <a:pt x="6086" y="185534"/>
                            <a:pt x="-2954" y="184319"/>
                            <a:pt x="689" y="184724"/>
                          </a:cubicBezTo>
                          <a:lnTo>
                            <a:pt x="20929" y="51410"/>
                          </a:lnTo>
                          <a:close/>
                        </a:path>
                      </a:pathLst>
                    </a:custGeom>
                    <a:solidFill>
                      <a:srgbClr val="0C3E7A"/>
                    </a:solidFill>
                    <a:ln w="1349" cap="flat">
                      <a:noFill/>
                      <a:prstDash val="solid"/>
                      <a:miter/>
                    </a:ln>
                  </p:spPr>
                  <p:txBody>
                    <a:bodyPr rtlCol="0" anchor="ctr"/>
                    <a:lstStyle/>
                    <a:p>
                      <a:endParaRPr lang="en-IN">
                        <a:latin typeface="+mn-lt"/>
                      </a:endParaRPr>
                    </a:p>
                  </p:txBody>
                </p:sp>
                <p:sp>
                  <p:nvSpPr>
                    <p:cNvPr id="165" name="Freeform: Shape 31">
                      <a:extLst>
                        <a:ext uri="{FF2B5EF4-FFF2-40B4-BE49-F238E27FC236}">
                          <a16:creationId xmlns:a16="http://schemas.microsoft.com/office/drawing/2014/main" id="{B829D112-B1CA-1249-885A-5CDF9AB434B6}"/>
                        </a:ext>
                      </a:extLst>
                    </p:cNvPr>
                    <p:cNvSpPr/>
                    <p:nvPr/>
                  </p:nvSpPr>
                  <p:spPr>
                    <a:xfrm>
                      <a:off x="8480936" y="2844797"/>
                      <a:ext cx="88651" cy="271216"/>
                    </a:xfrm>
                    <a:custGeom>
                      <a:avLst/>
                      <a:gdLst>
                        <a:gd name="connsiteX0" fmla="*/ 88651 w 88651"/>
                        <a:gd name="connsiteY0" fmla="*/ 0 h 271216"/>
                        <a:gd name="connsiteX1" fmla="*/ 66657 w 88651"/>
                        <a:gd name="connsiteY1" fmla="*/ 6747 h 271216"/>
                        <a:gd name="connsiteX2" fmla="*/ 22669 w 88651"/>
                        <a:gd name="connsiteY2" fmla="*/ 28201 h 271216"/>
                        <a:gd name="connsiteX3" fmla="*/ 1754 w 88651"/>
                        <a:gd name="connsiteY3" fmla="*/ 77317 h 271216"/>
                        <a:gd name="connsiteX4" fmla="*/ 0 w 88651"/>
                        <a:gd name="connsiteY4" fmla="*/ 131156 h 271216"/>
                        <a:gd name="connsiteX5" fmla="*/ 37377 w 88651"/>
                        <a:gd name="connsiteY5" fmla="*/ 271217 h 271216"/>
                        <a:gd name="connsiteX6" fmla="*/ 88651 w 88651"/>
                        <a:gd name="connsiteY6" fmla="*/ 0 h 27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651" h="271216">
                          <a:moveTo>
                            <a:pt x="88651" y="0"/>
                          </a:moveTo>
                          <a:cubicBezTo>
                            <a:pt x="87572" y="405"/>
                            <a:pt x="66657" y="6747"/>
                            <a:pt x="66657" y="6747"/>
                          </a:cubicBezTo>
                          <a:lnTo>
                            <a:pt x="22669" y="28201"/>
                          </a:lnTo>
                          <a:lnTo>
                            <a:pt x="1754" y="77317"/>
                          </a:lnTo>
                          <a:lnTo>
                            <a:pt x="0" y="131156"/>
                          </a:lnTo>
                          <a:lnTo>
                            <a:pt x="37377" y="271217"/>
                          </a:lnTo>
                          <a:lnTo>
                            <a:pt x="88651" y="0"/>
                          </a:lnTo>
                          <a:close/>
                        </a:path>
                      </a:pathLst>
                    </a:custGeom>
                    <a:solidFill>
                      <a:srgbClr val="002B69"/>
                    </a:solidFill>
                    <a:ln w="1349" cap="flat">
                      <a:noFill/>
                      <a:prstDash val="solid"/>
                      <a:miter/>
                    </a:ln>
                  </p:spPr>
                  <p:txBody>
                    <a:bodyPr rtlCol="0" anchor="ctr"/>
                    <a:lstStyle/>
                    <a:p>
                      <a:endParaRPr lang="en-IN">
                        <a:latin typeface="+mn-lt"/>
                      </a:endParaRPr>
                    </a:p>
                  </p:txBody>
                </p:sp>
                <p:sp>
                  <p:nvSpPr>
                    <p:cNvPr id="166" name="Freeform: Shape 32">
                      <a:extLst>
                        <a:ext uri="{FF2B5EF4-FFF2-40B4-BE49-F238E27FC236}">
                          <a16:creationId xmlns:a16="http://schemas.microsoft.com/office/drawing/2014/main" id="{48AF0189-8049-054B-BED0-BD1BB143CD37}"/>
                        </a:ext>
                      </a:extLst>
                    </p:cNvPr>
                    <p:cNvSpPr/>
                    <p:nvPr/>
                  </p:nvSpPr>
                  <p:spPr>
                    <a:xfrm>
                      <a:off x="8493350" y="2847226"/>
                      <a:ext cx="233030" cy="327483"/>
                    </a:xfrm>
                    <a:custGeom>
                      <a:avLst/>
                      <a:gdLst>
                        <a:gd name="connsiteX0" fmla="*/ 187828 w 233030"/>
                        <a:gd name="connsiteY0" fmla="*/ 21859 h 327483"/>
                        <a:gd name="connsiteX1" fmla="*/ 167183 w 233030"/>
                        <a:gd name="connsiteY1" fmla="*/ 2024 h 327483"/>
                        <a:gd name="connsiteX2" fmla="*/ 79071 w 233030"/>
                        <a:gd name="connsiteY2" fmla="*/ 5262 h 327483"/>
                        <a:gd name="connsiteX3" fmla="*/ 71380 w 233030"/>
                        <a:gd name="connsiteY3" fmla="*/ 0 h 327483"/>
                        <a:gd name="connsiteX4" fmla="*/ 30900 w 233030"/>
                        <a:gd name="connsiteY4" fmla="*/ 37242 h 327483"/>
                        <a:gd name="connsiteX5" fmla="*/ 8771 w 233030"/>
                        <a:gd name="connsiteY5" fmla="*/ 101200 h 327483"/>
                        <a:gd name="connsiteX6" fmla="*/ 0 w 233030"/>
                        <a:gd name="connsiteY6" fmla="*/ 287813 h 327483"/>
                        <a:gd name="connsiteX7" fmla="*/ 55862 w 233030"/>
                        <a:gd name="connsiteY7" fmla="*/ 327484 h 327483"/>
                        <a:gd name="connsiteX8" fmla="*/ 156388 w 233030"/>
                        <a:gd name="connsiteY8" fmla="*/ 321412 h 327483"/>
                        <a:gd name="connsiteX9" fmla="*/ 161380 w 233030"/>
                        <a:gd name="connsiteY9" fmla="*/ 258668 h 327483"/>
                        <a:gd name="connsiteX10" fmla="*/ 233030 w 233030"/>
                        <a:gd name="connsiteY10" fmla="*/ 89866 h 327483"/>
                        <a:gd name="connsiteX11" fmla="*/ 187828 w 233030"/>
                        <a:gd name="connsiteY11" fmla="*/ 21859 h 32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3030" h="327483">
                          <a:moveTo>
                            <a:pt x="187828" y="21859"/>
                          </a:moveTo>
                          <a:cubicBezTo>
                            <a:pt x="184994" y="20375"/>
                            <a:pt x="167183" y="2024"/>
                            <a:pt x="167183" y="2024"/>
                          </a:cubicBezTo>
                          <a:lnTo>
                            <a:pt x="79071" y="5262"/>
                          </a:lnTo>
                          <a:lnTo>
                            <a:pt x="71380" y="0"/>
                          </a:lnTo>
                          <a:lnTo>
                            <a:pt x="30900" y="37242"/>
                          </a:lnTo>
                          <a:cubicBezTo>
                            <a:pt x="30900" y="37242"/>
                            <a:pt x="8231" y="98097"/>
                            <a:pt x="8771" y="101200"/>
                          </a:cubicBezTo>
                          <a:cubicBezTo>
                            <a:pt x="9310" y="104304"/>
                            <a:pt x="0" y="287813"/>
                            <a:pt x="0" y="287813"/>
                          </a:cubicBezTo>
                          <a:lnTo>
                            <a:pt x="55862" y="327484"/>
                          </a:lnTo>
                          <a:lnTo>
                            <a:pt x="156388" y="321412"/>
                          </a:lnTo>
                          <a:lnTo>
                            <a:pt x="161380" y="258668"/>
                          </a:lnTo>
                          <a:lnTo>
                            <a:pt x="233030" y="89866"/>
                          </a:lnTo>
                          <a:lnTo>
                            <a:pt x="187828" y="21859"/>
                          </a:lnTo>
                          <a:close/>
                        </a:path>
                      </a:pathLst>
                    </a:custGeom>
                    <a:solidFill>
                      <a:srgbClr val="F8F8F7"/>
                    </a:solidFill>
                    <a:ln w="1349" cap="flat">
                      <a:noFill/>
                      <a:prstDash val="solid"/>
                      <a:miter/>
                    </a:ln>
                  </p:spPr>
                  <p:txBody>
                    <a:bodyPr rtlCol="0" anchor="ctr"/>
                    <a:lstStyle/>
                    <a:p>
                      <a:endParaRPr lang="en-IN">
                        <a:latin typeface="+mn-lt"/>
                      </a:endParaRPr>
                    </a:p>
                  </p:txBody>
                </p:sp>
                <p:sp>
                  <p:nvSpPr>
                    <p:cNvPr id="167" name="Freeform: Shape 33">
                      <a:extLst>
                        <a:ext uri="{FF2B5EF4-FFF2-40B4-BE49-F238E27FC236}">
                          <a16:creationId xmlns:a16="http://schemas.microsoft.com/office/drawing/2014/main" id="{A5F6D04B-036E-3341-BB93-18C85C3B40C8}"/>
                        </a:ext>
                      </a:extLst>
                    </p:cNvPr>
                    <p:cNvSpPr/>
                    <p:nvPr/>
                  </p:nvSpPr>
                  <p:spPr>
                    <a:xfrm>
                      <a:off x="8624093" y="2844392"/>
                      <a:ext cx="177310" cy="383750"/>
                    </a:xfrm>
                    <a:custGeom>
                      <a:avLst/>
                      <a:gdLst>
                        <a:gd name="connsiteX0" fmla="*/ 38194 w 177310"/>
                        <a:gd name="connsiteY0" fmla="*/ 0 h 383750"/>
                        <a:gd name="connsiteX1" fmla="*/ 7 w 177310"/>
                        <a:gd name="connsiteY1" fmla="*/ 83389 h 383750"/>
                        <a:gd name="connsiteX2" fmla="*/ 7294 w 177310"/>
                        <a:gd name="connsiteY2" fmla="*/ 182565 h 383750"/>
                        <a:gd name="connsiteX3" fmla="*/ 83261 w 177310"/>
                        <a:gd name="connsiteY3" fmla="*/ 306569 h 383750"/>
                        <a:gd name="connsiteX4" fmla="*/ 108764 w 177310"/>
                        <a:gd name="connsiteY4" fmla="*/ 357844 h 383750"/>
                        <a:gd name="connsiteX5" fmla="*/ 177310 w 177310"/>
                        <a:gd name="connsiteY5" fmla="*/ 383751 h 383750"/>
                        <a:gd name="connsiteX6" fmla="*/ 147220 w 177310"/>
                        <a:gd name="connsiteY6" fmla="*/ 338413 h 383750"/>
                        <a:gd name="connsiteX7" fmla="*/ 131163 w 177310"/>
                        <a:gd name="connsiteY7" fmla="*/ 274320 h 383750"/>
                        <a:gd name="connsiteX8" fmla="*/ 104041 w 177310"/>
                        <a:gd name="connsiteY8" fmla="*/ 191875 h 383750"/>
                        <a:gd name="connsiteX9" fmla="*/ 122392 w 177310"/>
                        <a:gd name="connsiteY9" fmla="*/ 43988 h 383750"/>
                        <a:gd name="connsiteX10" fmla="*/ 38194 w 177310"/>
                        <a:gd name="connsiteY10" fmla="*/ 0 h 38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7310" h="383750">
                          <a:moveTo>
                            <a:pt x="38194" y="0"/>
                          </a:moveTo>
                          <a:lnTo>
                            <a:pt x="7" y="83389"/>
                          </a:lnTo>
                          <a:cubicBezTo>
                            <a:pt x="412" y="122385"/>
                            <a:pt x="-2017" y="155983"/>
                            <a:pt x="7294" y="182565"/>
                          </a:cubicBezTo>
                          <a:lnTo>
                            <a:pt x="83261" y="306569"/>
                          </a:lnTo>
                          <a:lnTo>
                            <a:pt x="108764" y="357844"/>
                          </a:lnTo>
                          <a:lnTo>
                            <a:pt x="177310" y="383751"/>
                          </a:lnTo>
                          <a:lnTo>
                            <a:pt x="147220" y="338413"/>
                          </a:lnTo>
                          <a:lnTo>
                            <a:pt x="131163" y="274320"/>
                          </a:lnTo>
                          <a:lnTo>
                            <a:pt x="104041" y="191875"/>
                          </a:lnTo>
                          <a:lnTo>
                            <a:pt x="122392" y="43988"/>
                          </a:lnTo>
                          <a:lnTo>
                            <a:pt x="38194" y="0"/>
                          </a:lnTo>
                          <a:close/>
                        </a:path>
                      </a:pathLst>
                    </a:custGeom>
                    <a:solidFill>
                      <a:srgbClr val="002B69"/>
                    </a:solidFill>
                    <a:ln w="1349" cap="flat">
                      <a:noFill/>
                      <a:prstDash val="solid"/>
                      <a:miter/>
                    </a:ln>
                  </p:spPr>
                  <p:txBody>
                    <a:bodyPr rtlCol="0" anchor="ctr"/>
                    <a:lstStyle/>
                    <a:p>
                      <a:endParaRPr lang="en-IN">
                        <a:latin typeface="+mn-lt"/>
                      </a:endParaRPr>
                    </a:p>
                  </p:txBody>
                </p:sp>
                <p:sp>
                  <p:nvSpPr>
                    <p:cNvPr id="168" name="Freeform: Shape 34">
                      <a:extLst>
                        <a:ext uri="{FF2B5EF4-FFF2-40B4-BE49-F238E27FC236}">
                          <a16:creationId xmlns:a16="http://schemas.microsoft.com/office/drawing/2014/main" id="{82F86273-63D8-7849-B45A-9B02174B96E8}"/>
                        </a:ext>
                      </a:extLst>
                    </p:cNvPr>
                    <p:cNvSpPr/>
                    <p:nvPr/>
                  </p:nvSpPr>
                  <p:spPr>
                    <a:xfrm>
                      <a:off x="8550561" y="2787720"/>
                      <a:ext cx="104168" cy="95397"/>
                    </a:xfrm>
                    <a:custGeom>
                      <a:avLst/>
                      <a:gdLst>
                        <a:gd name="connsiteX0" fmla="*/ 45473 w 104168"/>
                        <a:gd name="connsiteY0" fmla="*/ 95398 h 95397"/>
                        <a:gd name="connsiteX1" fmla="*/ 89056 w 104168"/>
                        <a:gd name="connsiteY1" fmla="*/ 76507 h 95397"/>
                        <a:gd name="connsiteX2" fmla="*/ 104169 w 104168"/>
                        <a:gd name="connsiteY2" fmla="*/ 63149 h 95397"/>
                        <a:gd name="connsiteX3" fmla="*/ 102010 w 104168"/>
                        <a:gd name="connsiteY3" fmla="*/ 54783 h 95397"/>
                        <a:gd name="connsiteX4" fmla="*/ 83794 w 104168"/>
                        <a:gd name="connsiteY4" fmla="*/ 31979 h 95397"/>
                        <a:gd name="connsiteX5" fmla="*/ 77047 w 104168"/>
                        <a:gd name="connsiteY5" fmla="*/ 0 h 95397"/>
                        <a:gd name="connsiteX6" fmla="*/ 0 w 104168"/>
                        <a:gd name="connsiteY6" fmla="*/ 19161 h 95397"/>
                        <a:gd name="connsiteX7" fmla="*/ 20780 w 104168"/>
                        <a:gd name="connsiteY7" fmla="*/ 40615 h 95397"/>
                        <a:gd name="connsiteX8" fmla="*/ 18621 w 104168"/>
                        <a:gd name="connsiteY8" fmla="*/ 72594 h 95397"/>
                        <a:gd name="connsiteX9" fmla="*/ 21185 w 104168"/>
                        <a:gd name="connsiteY9" fmla="*/ 89596 h 95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168" h="95397">
                          <a:moveTo>
                            <a:pt x="45473" y="95398"/>
                          </a:moveTo>
                          <a:lnTo>
                            <a:pt x="89056" y="76507"/>
                          </a:lnTo>
                          <a:lnTo>
                            <a:pt x="104169" y="63149"/>
                          </a:lnTo>
                          <a:lnTo>
                            <a:pt x="102010" y="54783"/>
                          </a:lnTo>
                          <a:lnTo>
                            <a:pt x="83794" y="31979"/>
                          </a:lnTo>
                          <a:lnTo>
                            <a:pt x="77047" y="0"/>
                          </a:lnTo>
                          <a:lnTo>
                            <a:pt x="0" y="19161"/>
                          </a:lnTo>
                          <a:lnTo>
                            <a:pt x="20780" y="40615"/>
                          </a:lnTo>
                          <a:lnTo>
                            <a:pt x="18621" y="72594"/>
                          </a:lnTo>
                          <a:lnTo>
                            <a:pt x="21185" y="89596"/>
                          </a:lnTo>
                          <a:close/>
                        </a:path>
                      </a:pathLst>
                    </a:custGeom>
                    <a:solidFill>
                      <a:srgbClr val="EEAE80"/>
                    </a:solidFill>
                    <a:ln w="1349" cap="flat">
                      <a:noFill/>
                      <a:prstDash val="solid"/>
                      <a:miter/>
                    </a:ln>
                  </p:spPr>
                  <p:txBody>
                    <a:bodyPr rtlCol="0" anchor="ctr"/>
                    <a:lstStyle/>
                    <a:p>
                      <a:endParaRPr lang="en-IN">
                        <a:latin typeface="+mn-lt"/>
                      </a:endParaRPr>
                    </a:p>
                  </p:txBody>
                </p:sp>
                <p:sp>
                  <p:nvSpPr>
                    <p:cNvPr id="169" name="Freeform: Shape 35">
                      <a:extLst>
                        <a:ext uri="{FF2B5EF4-FFF2-40B4-BE49-F238E27FC236}">
                          <a16:creationId xmlns:a16="http://schemas.microsoft.com/office/drawing/2014/main" id="{23689C0C-5E66-F248-A830-3DF7EC91B9E3}"/>
                        </a:ext>
                      </a:extLst>
                    </p:cNvPr>
                    <p:cNvSpPr/>
                    <p:nvPr/>
                  </p:nvSpPr>
                  <p:spPr>
                    <a:xfrm>
                      <a:off x="8561491" y="2868141"/>
                      <a:ext cx="34273" cy="34138"/>
                    </a:xfrm>
                    <a:custGeom>
                      <a:avLst/>
                      <a:gdLst>
                        <a:gd name="connsiteX0" fmla="*/ 20780 w 34273"/>
                        <a:gd name="connsiteY0" fmla="*/ 0 h 34138"/>
                        <a:gd name="connsiteX1" fmla="*/ 34273 w 34273"/>
                        <a:gd name="connsiteY1" fmla="*/ 23209 h 34138"/>
                        <a:gd name="connsiteX2" fmla="*/ 22264 w 34273"/>
                        <a:gd name="connsiteY2" fmla="*/ 34138 h 34138"/>
                        <a:gd name="connsiteX3" fmla="*/ 0 w 34273"/>
                        <a:gd name="connsiteY3" fmla="*/ 29281 h 34138"/>
                        <a:gd name="connsiteX4" fmla="*/ 3643 w 34273"/>
                        <a:gd name="connsiteY4" fmla="*/ 5262 h 34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73" h="34138">
                          <a:moveTo>
                            <a:pt x="20780" y="0"/>
                          </a:moveTo>
                          <a:lnTo>
                            <a:pt x="34273" y="23209"/>
                          </a:lnTo>
                          <a:lnTo>
                            <a:pt x="22264" y="34138"/>
                          </a:lnTo>
                          <a:lnTo>
                            <a:pt x="0" y="29281"/>
                          </a:lnTo>
                          <a:lnTo>
                            <a:pt x="3643" y="5262"/>
                          </a:lnTo>
                          <a:close/>
                        </a:path>
                      </a:pathLst>
                    </a:custGeom>
                    <a:solidFill>
                      <a:srgbClr val="90425A"/>
                    </a:solidFill>
                    <a:ln w="1349" cap="flat">
                      <a:noFill/>
                      <a:prstDash val="solid"/>
                      <a:miter/>
                    </a:ln>
                  </p:spPr>
                  <p:txBody>
                    <a:bodyPr rtlCol="0" anchor="ctr"/>
                    <a:lstStyle/>
                    <a:p>
                      <a:endParaRPr lang="en-IN">
                        <a:latin typeface="+mn-lt"/>
                      </a:endParaRPr>
                    </a:p>
                  </p:txBody>
                </p:sp>
                <p:sp>
                  <p:nvSpPr>
                    <p:cNvPr id="170" name="Freeform: Shape 36">
                      <a:extLst>
                        <a:ext uri="{FF2B5EF4-FFF2-40B4-BE49-F238E27FC236}">
                          <a16:creationId xmlns:a16="http://schemas.microsoft.com/office/drawing/2014/main" id="{467EF9F0-CFD5-B149-BA8E-2ABA3C11F5D2}"/>
                        </a:ext>
                      </a:extLst>
                    </p:cNvPr>
                    <p:cNvSpPr/>
                    <p:nvPr/>
                  </p:nvSpPr>
                  <p:spPr>
                    <a:xfrm>
                      <a:off x="8582271" y="2838185"/>
                      <a:ext cx="79476" cy="64768"/>
                    </a:xfrm>
                    <a:custGeom>
                      <a:avLst/>
                      <a:gdLst>
                        <a:gd name="connsiteX0" fmla="*/ 0 w 79476"/>
                        <a:gd name="connsiteY0" fmla="*/ 29955 h 64768"/>
                        <a:gd name="connsiteX1" fmla="*/ 20240 w 79476"/>
                        <a:gd name="connsiteY1" fmla="*/ 64768 h 64768"/>
                        <a:gd name="connsiteX2" fmla="*/ 71515 w 79476"/>
                        <a:gd name="connsiteY2" fmla="*/ 23478 h 64768"/>
                        <a:gd name="connsiteX3" fmla="*/ 79476 w 79476"/>
                        <a:gd name="connsiteY3" fmla="*/ 7421 h 64768"/>
                        <a:gd name="connsiteX4" fmla="*/ 70301 w 79476"/>
                        <a:gd name="connsiteY4" fmla="*/ 0 h 64768"/>
                        <a:gd name="connsiteX5" fmla="*/ 51410 w 79476"/>
                        <a:gd name="connsiteY5" fmla="*/ 16462 h 6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76" h="64768">
                          <a:moveTo>
                            <a:pt x="0" y="29955"/>
                          </a:moveTo>
                          <a:lnTo>
                            <a:pt x="20240" y="64768"/>
                          </a:lnTo>
                          <a:lnTo>
                            <a:pt x="71515" y="23478"/>
                          </a:lnTo>
                          <a:lnTo>
                            <a:pt x="79476" y="7421"/>
                          </a:lnTo>
                          <a:lnTo>
                            <a:pt x="70301" y="0"/>
                          </a:lnTo>
                          <a:lnTo>
                            <a:pt x="51410" y="16462"/>
                          </a:lnTo>
                          <a:close/>
                        </a:path>
                      </a:pathLst>
                    </a:custGeom>
                    <a:solidFill>
                      <a:srgbClr val="FFFFFF"/>
                    </a:solidFill>
                    <a:ln w="1349" cap="flat">
                      <a:noFill/>
                      <a:prstDash val="solid"/>
                      <a:miter/>
                    </a:ln>
                  </p:spPr>
                  <p:txBody>
                    <a:bodyPr rtlCol="0" anchor="ctr"/>
                    <a:lstStyle/>
                    <a:p>
                      <a:endParaRPr lang="en-IN">
                        <a:latin typeface="+mn-lt"/>
                      </a:endParaRPr>
                    </a:p>
                  </p:txBody>
                </p:sp>
                <p:sp>
                  <p:nvSpPr>
                    <p:cNvPr id="171" name="Freeform: Shape 37">
                      <a:extLst>
                        <a:ext uri="{FF2B5EF4-FFF2-40B4-BE49-F238E27FC236}">
                          <a16:creationId xmlns:a16="http://schemas.microsoft.com/office/drawing/2014/main" id="{9E92FA57-A8FB-EC42-8A05-EA4ADB902B3E}"/>
                        </a:ext>
                      </a:extLst>
                    </p:cNvPr>
                    <p:cNvSpPr/>
                    <p:nvPr/>
                  </p:nvSpPr>
                  <p:spPr>
                    <a:xfrm>
                      <a:off x="8546513" y="2836836"/>
                      <a:ext cx="35757" cy="51409"/>
                    </a:xfrm>
                    <a:custGeom>
                      <a:avLst/>
                      <a:gdLst>
                        <a:gd name="connsiteX0" fmla="*/ 0 w 35757"/>
                        <a:gd name="connsiteY0" fmla="*/ 51410 h 51409"/>
                        <a:gd name="connsiteX1" fmla="*/ 35757 w 35757"/>
                        <a:gd name="connsiteY1" fmla="*/ 31305 h 51409"/>
                        <a:gd name="connsiteX2" fmla="*/ 26987 w 35757"/>
                        <a:gd name="connsiteY2" fmla="*/ 12549 h 51409"/>
                        <a:gd name="connsiteX3" fmla="*/ 24288 w 35757"/>
                        <a:gd name="connsiteY3" fmla="*/ 0 h 51409"/>
                        <a:gd name="connsiteX4" fmla="*/ 18216 w 35757"/>
                        <a:gd name="connsiteY4" fmla="*/ 6207 h 51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7" h="51409">
                          <a:moveTo>
                            <a:pt x="0" y="51410"/>
                          </a:moveTo>
                          <a:lnTo>
                            <a:pt x="35757" y="31305"/>
                          </a:lnTo>
                          <a:lnTo>
                            <a:pt x="26987" y="12549"/>
                          </a:lnTo>
                          <a:lnTo>
                            <a:pt x="24288" y="0"/>
                          </a:lnTo>
                          <a:lnTo>
                            <a:pt x="18216" y="6207"/>
                          </a:lnTo>
                          <a:close/>
                        </a:path>
                      </a:pathLst>
                    </a:custGeom>
                    <a:solidFill>
                      <a:srgbClr val="FFFFFF"/>
                    </a:solidFill>
                    <a:ln w="1349" cap="flat">
                      <a:noFill/>
                      <a:prstDash val="solid"/>
                      <a:miter/>
                    </a:ln>
                  </p:spPr>
                  <p:txBody>
                    <a:bodyPr rtlCol="0" anchor="ctr"/>
                    <a:lstStyle/>
                    <a:p>
                      <a:endParaRPr lang="en-IN">
                        <a:latin typeface="+mn-lt"/>
                      </a:endParaRPr>
                    </a:p>
                  </p:txBody>
                </p:sp>
                <p:sp>
                  <p:nvSpPr>
                    <p:cNvPr id="172" name="Freeform: Shape 38">
                      <a:extLst>
                        <a:ext uri="{FF2B5EF4-FFF2-40B4-BE49-F238E27FC236}">
                          <a16:creationId xmlns:a16="http://schemas.microsoft.com/office/drawing/2014/main" id="{2EC8214F-682F-8347-B7F7-D33A0CEA71F2}"/>
                        </a:ext>
                      </a:extLst>
                    </p:cNvPr>
                    <p:cNvSpPr/>
                    <p:nvPr/>
                  </p:nvSpPr>
                  <p:spPr>
                    <a:xfrm>
                      <a:off x="8490921" y="3131531"/>
                      <a:ext cx="244499" cy="530828"/>
                    </a:xfrm>
                    <a:custGeom>
                      <a:avLst/>
                      <a:gdLst>
                        <a:gd name="connsiteX0" fmla="*/ 64498 w 244499"/>
                        <a:gd name="connsiteY0" fmla="*/ 23613 h 530828"/>
                        <a:gd name="connsiteX1" fmla="*/ 158952 w 244499"/>
                        <a:gd name="connsiteY1" fmla="*/ 35488 h 530828"/>
                        <a:gd name="connsiteX2" fmla="*/ 162865 w 244499"/>
                        <a:gd name="connsiteY2" fmla="*/ 36432 h 530828"/>
                        <a:gd name="connsiteX3" fmla="*/ 163944 w 244499"/>
                        <a:gd name="connsiteY3" fmla="*/ 57617 h 530828"/>
                        <a:gd name="connsiteX4" fmla="*/ 167587 w 244499"/>
                        <a:gd name="connsiteY4" fmla="*/ 132775 h 530828"/>
                        <a:gd name="connsiteX5" fmla="*/ 148562 w 244499"/>
                        <a:gd name="connsiteY5" fmla="*/ 312236 h 530828"/>
                        <a:gd name="connsiteX6" fmla="*/ 244500 w 244499"/>
                        <a:gd name="connsiteY6" fmla="*/ 530829 h 530828"/>
                        <a:gd name="connsiteX7" fmla="*/ 182295 w 244499"/>
                        <a:gd name="connsiteY7" fmla="*/ 528535 h 530828"/>
                        <a:gd name="connsiteX8" fmla="*/ 75698 w 244499"/>
                        <a:gd name="connsiteY8" fmla="*/ 333826 h 530828"/>
                        <a:gd name="connsiteX9" fmla="*/ 53973 w 244499"/>
                        <a:gd name="connsiteY9" fmla="*/ 154229 h 530828"/>
                        <a:gd name="connsiteX10" fmla="*/ 53973 w 244499"/>
                        <a:gd name="connsiteY10" fmla="*/ 154229 h 530828"/>
                        <a:gd name="connsiteX11" fmla="*/ 4588 w 244499"/>
                        <a:gd name="connsiteY11" fmla="*/ 124814 h 530828"/>
                        <a:gd name="connsiteX12" fmla="*/ 0 w 244499"/>
                        <a:gd name="connsiteY12" fmla="*/ 0 h 5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4499" h="530828">
                          <a:moveTo>
                            <a:pt x="64498" y="23613"/>
                          </a:moveTo>
                          <a:lnTo>
                            <a:pt x="158952" y="35488"/>
                          </a:lnTo>
                          <a:lnTo>
                            <a:pt x="162865" y="36432"/>
                          </a:lnTo>
                          <a:lnTo>
                            <a:pt x="163944" y="57617"/>
                          </a:lnTo>
                          <a:lnTo>
                            <a:pt x="167587" y="132775"/>
                          </a:lnTo>
                          <a:lnTo>
                            <a:pt x="148562" y="312236"/>
                          </a:lnTo>
                          <a:lnTo>
                            <a:pt x="244500" y="530829"/>
                          </a:lnTo>
                          <a:lnTo>
                            <a:pt x="182295" y="528535"/>
                          </a:lnTo>
                          <a:lnTo>
                            <a:pt x="75698" y="333826"/>
                          </a:lnTo>
                          <a:lnTo>
                            <a:pt x="53973" y="154229"/>
                          </a:lnTo>
                          <a:lnTo>
                            <a:pt x="53973" y="154229"/>
                          </a:lnTo>
                          <a:lnTo>
                            <a:pt x="4588" y="124814"/>
                          </a:lnTo>
                          <a:lnTo>
                            <a:pt x="0" y="0"/>
                          </a:lnTo>
                          <a:close/>
                        </a:path>
                      </a:pathLst>
                    </a:custGeom>
                    <a:solidFill>
                      <a:srgbClr val="002B69"/>
                    </a:solidFill>
                    <a:ln w="1349" cap="flat">
                      <a:noFill/>
                      <a:prstDash val="solid"/>
                      <a:miter/>
                    </a:ln>
                  </p:spPr>
                  <p:txBody>
                    <a:bodyPr rtlCol="0" anchor="ctr"/>
                    <a:lstStyle/>
                    <a:p>
                      <a:endParaRPr lang="en-IN">
                        <a:latin typeface="+mn-lt"/>
                      </a:endParaRPr>
                    </a:p>
                  </p:txBody>
                </p:sp>
                <p:sp>
                  <p:nvSpPr>
                    <p:cNvPr id="173" name="Freeform: Shape 39">
                      <a:extLst>
                        <a:ext uri="{FF2B5EF4-FFF2-40B4-BE49-F238E27FC236}">
                          <a16:creationId xmlns:a16="http://schemas.microsoft.com/office/drawing/2014/main" id="{51A5B09A-3FC6-2448-9155-1ED0ABF19A16}"/>
                        </a:ext>
                      </a:extLst>
                    </p:cNvPr>
                    <p:cNvSpPr/>
                    <p:nvPr/>
                  </p:nvSpPr>
                  <p:spPr>
                    <a:xfrm>
                      <a:off x="8319285" y="3156089"/>
                      <a:ext cx="250166" cy="502222"/>
                    </a:xfrm>
                    <a:custGeom>
                      <a:avLst/>
                      <a:gdLst>
                        <a:gd name="connsiteX0" fmla="*/ 210227 w 250166"/>
                        <a:gd name="connsiteY0" fmla="*/ 15652 h 502222"/>
                        <a:gd name="connsiteX1" fmla="*/ 169881 w 250166"/>
                        <a:gd name="connsiteY1" fmla="*/ 0 h 502222"/>
                        <a:gd name="connsiteX2" fmla="*/ 43718 w 250166"/>
                        <a:gd name="connsiteY2" fmla="*/ 251786 h 502222"/>
                        <a:gd name="connsiteX3" fmla="*/ 0 w 250166"/>
                        <a:gd name="connsiteY3" fmla="*/ 490753 h 502222"/>
                        <a:gd name="connsiteX4" fmla="*/ 65038 w 250166"/>
                        <a:gd name="connsiteY4" fmla="*/ 502223 h 502222"/>
                        <a:gd name="connsiteX5" fmla="*/ 128052 w 250166"/>
                        <a:gd name="connsiteY5" fmla="*/ 283630 h 502222"/>
                        <a:gd name="connsiteX6" fmla="*/ 230467 w 250166"/>
                        <a:gd name="connsiteY6" fmla="*/ 104169 h 502222"/>
                        <a:gd name="connsiteX7" fmla="*/ 250167 w 250166"/>
                        <a:gd name="connsiteY7" fmla="*/ 109296 h 502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166" h="502222">
                          <a:moveTo>
                            <a:pt x="210227" y="15652"/>
                          </a:moveTo>
                          <a:lnTo>
                            <a:pt x="169881" y="0"/>
                          </a:lnTo>
                          <a:lnTo>
                            <a:pt x="43718" y="251786"/>
                          </a:lnTo>
                          <a:lnTo>
                            <a:pt x="0" y="490753"/>
                          </a:lnTo>
                          <a:lnTo>
                            <a:pt x="65038" y="502223"/>
                          </a:lnTo>
                          <a:lnTo>
                            <a:pt x="128052" y="283630"/>
                          </a:lnTo>
                          <a:lnTo>
                            <a:pt x="230467" y="104169"/>
                          </a:lnTo>
                          <a:lnTo>
                            <a:pt x="250167" y="109296"/>
                          </a:lnTo>
                          <a:close/>
                        </a:path>
                      </a:pathLst>
                    </a:custGeom>
                    <a:solidFill>
                      <a:srgbClr val="002B69"/>
                    </a:solidFill>
                    <a:ln w="1349" cap="flat">
                      <a:noFill/>
                      <a:prstDash val="solid"/>
                      <a:miter/>
                    </a:ln>
                  </p:spPr>
                  <p:txBody>
                    <a:bodyPr rtlCol="0" anchor="ctr"/>
                    <a:lstStyle/>
                    <a:p>
                      <a:endParaRPr lang="en-IN">
                        <a:latin typeface="+mn-lt"/>
                      </a:endParaRPr>
                    </a:p>
                  </p:txBody>
                </p:sp>
                <p:sp>
                  <p:nvSpPr>
                    <p:cNvPr id="174" name="Freeform: Shape 40">
                      <a:extLst>
                        <a:ext uri="{FF2B5EF4-FFF2-40B4-BE49-F238E27FC236}">
                          <a16:creationId xmlns:a16="http://schemas.microsoft.com/office/drawing/2014/main" id="{BEB3A87C-8720-BC4D-B082-89C93BDC02EF}"/>
                        </a:ext>
                      </a:extLst>
                    </p:cNvPr>
                    <p:cNvSpPr/>
                    <p:nvPr/>
                  </p:nvSpPr>
                  <p:spPr>
                    <a:xfrm>
                      <a:off x="8490111" y="3133555"/>
                      <a:ext cx="164214" cy="51949"/>
                    </a:xfrm>
                    <a:custGeom>
                      <a:avLst/>
                      <a:gdLst>
                        <a:gd name="connsiteX0" fmla="*/ 85008 w 164214"/>
                        <a:gd name="connsiteY0" fmla="*/ 44663 h 51949"/>
                        <a:gd name="connsiteX1" fmla="*/ 164214 w 164214"/>
                        <a:gd name="connsiteY1" fmla="*/ 51949 h 51949"/>
                        <a:gd name="connsiteX2" fmla="*/ 163270 w 164214"/>
                        <a:gd name="connsiteY2" fmla="*/ 30765 h 51949"/>
                        <a:gd name="connsiteX3" fmla="*/ 81095 w 164214"/>
                        <a:gd name="connsiteY3" fmla="*/ 21454 h 51949"/>
                        <a:gd name="connsiteX4" fmla="*/ 945 w 164214"/>
                        <a:gd name="connsiteY4" fmla="*/ 0 h 51949"/>
                        <a:gd name="connsiteX5" fmla="*/ 0 w 164214"/>
                        <a:gd name="connsiteY5" fmla="*/ 22534 h 5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214" h="51949">
                          <a:moveTo>
                            <a:pt x="85008" y="44663"/>
                          </a:moveTo>
                          <a:lnTo>
                            <a:pt x="164214" y="51949"/>
                          </a:lnTo>
                          <a:lnTo>
                            <a:pt x="163270" y="30765"/>
                          </a:lnTo>
                          <a:lnTo>
                            <a:pt x="81095" y="21454"/>
                          </a:lnTo>
                          <a:lnTo>
                            <a:pt x="945" y="0"/>
                          </a:lnTo>
                          <a:lnTo>
                            <a:pt x="0" y="22534"/>
                          </a:lnTo>
                          <a:close/>
                        </a:path>
                      </a:pathLst>
                    </a:custGeom>
                    <a:solidFill>
                      <a:srgbClr val="053670"/>
                    </a:solidFill>
                    <a:ln w="1349" cap="flat">
                      <a:noFill/>
                      <a:prstDash val="solid"/>
                      <a:miter/>
                    </a:ln>
                  </p:spPr>
                  <p:txBody>
                    <a:bodyPr rtlCol="0" anchor="ctr"/>
                    <a:lstStyle/>
                    <a:p>
                      <a:endParaRPr lang="en-IN">
                        <a:latin typeface="+mn-lt"/>
                      </a:endParaRPr>
                    </a:p>
                  </p:txBody>
                </p:sp>
                <p:sp>
                  <p:nvSpPr>
                    <p:cNvPr id="175" name="Freeform: Shape 41">
                      <a:extLst>
                        <a:ext uri="{FF2B5EF4-FFF2-40B4-BE49-F238E27FC236}">
                          <a16:creationId xmlns:a16="http://schemas.microsoft.com/office/drawing/2014/main" id="{CBCF179B-F124-DC4D-A1CD-B3937686A9B9}"/>
                        </a:ext>
                      </a:extLst>
                    </p:cNvPr>
                    <p:cNvSpPr/>
                    <p:nvPr/>
                  </p:nvSpPr>
                  <p:spPr>
                    <a:xfrm>
                      <a:off x="8511566" y="3139087"/>
                      <a:ext cx="36432" cy="33058"/>
                    </a:xfrm>
                    <a:custGeom>
                      <a:avLst/>
                      <a:gdLst>
                        <a:gd name="connsiteX0" fmla="*/ 36432 w 36432"/>
                        <a:gd name="connsiteY0" fmla="*/ 10255 h 33058"/>
                        <a:gd name="connsiteX1" fmla="*/ 809 w 36432"/>
                        <a:gd name="connsiteY1" fmla="*/ 0 h 33058"/>
                        <a:gd name="connsiteX2" fmla="*/ 0 w 36432"/>
                        <a:gd name="connsiteY2" fmla="*/ 23344 h 33058"/>
                        <a:gd name="connsiteX3" fmla="*/ 36162 w 36432"/>
                        <a:gd name="connsiteY3" fmla="*/ 33059 h 33058"/>
                      </a:gdLst>
                      <a:ahLst/>
                      <a:cxnLst>
                        <a:cxn ang="0">
                          <a:pos x="connsiteX0" y="connsiteY0"/>
                        </a:cxn>
                        <a:cxn ang="0">
                          <a:pos x="connsiteX1" y="connsiteY1"/>
                        </a:cxn>
                        <a:cxn ang="0">
                          <a:pos x="connsiteX2" y="connsiteY2"/>
                        </a:cxn>
                        <a:cxn ang="0">
                          <a:pos x="connsiteX3" y="connsiteY3"/>
                        </a:cxn>
                      </a:cxnLst>
                      <a:rect l="l" t="t" r="r" b="b"/>
                      <a:pathLst>
                        <a:path w="36432" h="33058">
                          <a:moveTo>
                            <a:pt x="36432" y="10255"/>
                          </a:moveTo>
                          <a:lnTo>
                            <a:pt x="809" y="0"/>
                          </a:lnTo>
                          <a:lnTo>
                            <a:pt x="0" y="23344"/>
                          </a:lnTo>
                          <a:lnTo>
                            <a:pt x="36162" y="33059"/>
                          </a:lnTo>
                          <a:close/>
                        </a:path>
                      </a:pathLst>
                    </a:custGeom>
                    <a:solidFill>
                      <a:srgbClr val="0F467C"/>
                    </a:solidFill>
                    <a:ln w="1349" cap="flat">
                      <a:noFill/>
                      <a:prstDash val="solid"/>
                      <a:miter/>
                    </a:ln>
                  </p:spPr>
                  <p:txBody>
                    <a:bodyPr rtlCol="0" anchor="ctr"/>
                    <a:lstStyle/>
                    <a:p>
                      <a:endParaRPr lang="en-IN">
                        <a:latin typeface="+mn-lt"/>
                      </a:endParaRPr>
                    </a:p>
                  </p:txBody>
                </p:sp>
                <p:sp>
                  <p:nvSpPr>
                    <p:cNvPr id="176" name="Freeform: Shape 42">
                      <a:extLst>
                        <a:ext uri="{FF2B5EF4-FFF2-40B4-BE49-F238E27FC236}">
                          <a16:creationId xmlns:a16="http://schemas.microsoft.com/office/drawing/2014/main" id="{1DC91581-8448-374E-AE1C-98F4408FAFB9}"/>
                        </a:ext>
                      </a:extLst>
                    </p:cNvPr>
                    <p:cNvSpPr/>
                    <p:nvPr/>
                  </p:nvSpPr>
                  <p:spPr>
                    <a:xfrm>
                      <a:off x="8544489" y="2901199"/>
                      <a:ext cx="64363" cy="276748"/>
                    </a:xfrm>
                    <a:custGeom>
                      <a:avLst/>
                      <a:gdLst>
                        <a:gd name="connsiteX0" fmla="*/ 36432 w 64363"/>
                        <a:gd name="connsiteY0" fmla="*/ 5262 h 276748"/>
                        <a:gd name="connsiteX1" fmla="*/ 14843 w 64363"/>
                        <a:gd name="connsiteY1" fmla="*/ 0 h 276748"/>
                        <a:gd name="connsiteX2" fmla="*/ 1484 w 64363"/>
                        <a:gd name="connsiteY2" fmla="*/ 64498 h 276748"/>
                        <a:gd name="connsiteX3" fmla="*/ 0 w 64363"/>
                        <a:gd name="connsiteY3" fmla="*/ 182970 h 276748"/>
                        <a:gd name="connsiteX4" fmla="*/ 4588 w 64363"/>
                        <a:gd name="connsiteY4" fmla="*/ 228038 h 276748"/>
                        <a:gd name="connsiteX5" fmla="*/ 47901 w 64363"/>
                        <a:gd name="connsiteY5" fmla="*/ 276749 h 276748"/>
                        <a:gd name="connsiteX6" fmla="*/ 64363 w 64363"/>
                        <a:gd name="connsiteY6" fmla="*/ 216298 h 276748"/>
                        <a:gd name="connsiteX7" fmla="*/ 46012 w 64363"/>
                        <a:gd name="connsiteY7" fmla="*/ 181351 h 276748"/>
                        <a:gd name="connsiteX8" fmla="*/ 24963 w 64363"/>
                        <a:gd name="connsiteY8" fmla="*/ 75158 h 276748"/>
                        <a:gd name="connsiteX9" fmla="*/ 36432 w 64363"/>
                        <a:gd name="connsiteY9" fmla="*/ 5262 h 276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363" h="276748">
                          <a:moveTo>
                            <a:pt x="36432" y="5262"/>
                          </a:moveTo>
                          <a:cubicBezTo>
                            <a:pt x="33464" y="4588"/>
                            <a:pt x="14843" y="0"/>
                            <a:pt x="14843" y="0"/>
                          </a:cubicBezTo>
                          <a:lnTo>
                            <a:pt x="1484" y="64498"/>
                          </a:lnTo>
                          <a:lnTo>
                            <a:pt x="0" y="182970"/>
                          </a:lnTo>
                          <a:lnTo>
                            <a:pt x="4588" y="228038"/>
                          </a:lnTo>
                          <a:lnTo>
                            <a:pt x="47901" y="276749"/>
                          </a:lnTo>
                          <a:lnTo>
                            <a:pt x="64363" y="216298"/>
                          </a:lnTo>
                          <a:lnTo>
                            <a:pt x="46012" y="181351"/>
                          </a:lnTo>
                          <a:lnTo>
                            <a:pt x="24963" y="75158"/>
                          </a:lnTo>
                          <a:lnTo>
                            <a:pt x="36432" y="5262"/>
                          </a:lnTo>
                          <a:close/>
                        </a:path>
                      </a:pathLst>
                    </a:custGeom>
                    <a:solidFill>
                      <a:srgbClr val="90425A"/>
                    </a:solidFill>
                    <a:ln w="1349" cap="flat">
                      <a:noFill/>
                      <a:prstDash val="solid"/>
                      <a:miter/>
                    </a:ln>
                  </p:spPr>
                  <p:txBody>
                    <a:bodyPr rtlCol="0" anchor="ctr"/>
                    <a:lstStyle/>
                    <a:p>
                      <a:endParaRPr lang="en-IN">
                        <a:latin typeface="+mn-lt"/>
                      </a:endParaRPr>
                    </a:p>
                  </p:txBody>
                </p:sp>
                <p:sp>
                  <p:nvSpPr>
                    <p:cNvPr id="177" name="Freeform: Shape 43">
                      <a:extLst>
                        <a:ext uri="{FF2B5EF4-FFF2-40B4-BE49-F238E27FC236}">
                          <a16:creationId xmlns:a16="http://schemas.microsoft.com/office/drawing/2014/main" id="{F1D8800E-A660-7845-A65C-64759ACD2997}"/>
                        </a:ext>
                      </a:extLst>
                    </p:cNvPr>
                    <p:cNvSpPr/>
                    <p:nvPr/>
                  </p:nvSpPr>
                  <p:spPr>
                    <a:xfrm>
                      <a:off x="8528005" y="2689930"/>
                      <a:ext cx="121245" cy="137191"/>
                    </a:xfrm>
                    <a:custGeom>
                      <a:avLst/>
                      <a:gdLst>
                        <a:gd name="connsiteX0" fmla="*/ 57774 w 121245"/>
                        <a:gd name="connsiteY0" fmla="*/ 137191 h 137191"/>
                        <a:gd name="connsiteX1" fmla="*/ 427 w 121245"/>
                        <a:gd name="connsiteY1" fmla="*/ 116142 h 137191"/>
                        <a:gd name="connsiteX2" fmla="*/ 4610 w 121245"/>
                        <a:gd name="connsiteY2" fmla="*/ 81194 h 137191"/>
                        <a:gd name="connsiteX3" fmla="*/ 22 w 121245"/>
                        <a:gd name="connsiteY3" fmla="*/ 73638 h 137191"/>
                        <a:gd name="connsiteX4" fmla="*/ 15405 w 121245"/>
                        <a:gd name="connsiteY4" fmla="*/ 48945 h 137191"/>
                        <a:gd name="connsiteX5" fmla="*/ 33216 w 121245"/>
                        <a:gd name="connsiteY5" fmla="*/ 15076 h 137191"/>
                        <a:gd name="connsiteX6" fmla="*/ 108914 w 121245"/>
                        <a:gd name="connsiteY6" fmla="*/ 23577 h 137191"/>
                        <a:gd name="connsiteX7" fmla="*/ 101357 w 121245"/>
                        <a:gd name="connsiteY7" fmla="*/ 110474 h 137191"/>
                        <a:gd name="connsiteX8" fmla="*/ 57774 w 121245"/>
                        <a:gd name="connsiteY8" fmla="*/ 137191 h 137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245" h="137191">
                          <a:moveTo>
                            <a:pt x="57774" y="137191"/>
                          </a:moveTo>
                          <a:lnTo>
                            <a:pt x="427" y="116142"/>
                          </a:lnTo>
                          <a:cubicBezTo>
                            <a:pt x="427" y="116142"/>
                            <a:pt x="-248" y="99950"/>
                            <a:pt x="4610" y="81194"/>
                          </a:cubicBezTo>
                          <a:cubicBezTo>
                            <a:pt x="4880" y="80384"/>
                            <a:pt x="-383" y="74312"/>
                            <a:pt x="22" y="73638"/>
                          </a:cubicBezTo>
                          <a:cubicBezTo>
                            <a:pt x="1507" y="71344"/>
                            <a:pt x="15405" y="48945"/>
                            <a:pt x="15405" y="48945"/>
                          </a:cubicBezTo>
                          <a:cubicBezTo>
                            <a:pt x="19048" y="37610"/>
                            <a:pt x="23771" y="29919"/>
                            <a:pt x="33216" y="15076"/>
                          </a:cubicBezTo>
                          <a:cubicBezTo>
                            <a:pt x="57369" y="-23245"/>
                            <a:pt x="108914" y="23577"/>
                            <a:pt x="108914" y="23577"/>
                          </a:cubicBezTo>
                          <a:cubicBezTo>
                            <a:pt x="108914" y="23577"/>
                            <a:pt x="141163" y="33427"/>
                            <a:pt x="101357" y="110474"/>
                          </a:cubicBezTo>
                          <a:cubicBezTo>
                            <a:pt x="90563" y="119110"/>
                            <a:pt x="76395" y="128016"/>
                            <a:pt x="57774" y="137191"/>
                          </a:cubicBezTo>
                          <a:close/>
                        </a:path>
                      </a:pathLst>
                    </a:custGeom>
                    <a:solidFill>
                      <a:srgbClr val="EEAE80"/>
                    </a:solidFill>
                    <a:ln w="1349" cap="flat">
                      <a:noFill/>
                      <a:prstDash val="solid"/>
                      <a:miter/>
                    </a:ln>
                  </p:spPr>
                  <p:txBody>
                    <a:bodyPr rtlCol="0" anchor="ctr"/>
                    <a:lstStyle/>
                    <a:p>
                      <a:endParaRPr lang="en-IN">
                        <a:latin typeface="+mn-lt"/>
                      </a:endParaRPr>
                    </a:p>
                  </p:txBody>
                </p:sp>
                <p:sp>
                  <p:nvSpPr>
                    <p:cNvPr id="178" name="Freeform: Shape 44">
                      <a:extLst>
                        <a:ext uri="{FF2B5EF4-FFF2-40B4-BE49-F238E27FC236}">
                          <a16:creationId xmlns:a16="http://schemas.microsoft.com/office/drawing/2014/main" id="{7E260E1C-2E53-1247-932F-B1FD9DA3AEEC}"/>
                        </a:ext>
                      </a:extLst>
                    </p:cNvPr>
                    <p:cNvSpPr/>
                    <p:nvPr/>
                  </p:nvSpPr>
                  <p:spPr>
                    <a:xfrm>
                      <a:off x="8558388" y="2679908"/>
                      <a:ext cx="97691" cy="135878"/>
                    </a:xfrm>
                    <a:custGeom>
                      <a:avLst/>
                      <a:gdLst>
                        <a:gd name="connsiteX0" fmla="*/ 0 w 97691"/>
                        <a:gd name="connsiteY0" fmla="*/ 30360 h 135878"/>
                        <a:gd name="connsiteX1" fmla="*/ 22264 w 97691"/>
                        <a:gd name="connsiteY1" fmla="*/ 34948 h 135878"/>
                        <a:gd name="connsiteX2" fmla="*/ 33733 w 97691"/>
                        <a:gd name="connsiteY2" fmla="*/ 41155 h 135878"/>
                        <a:gd name="connsiteX3" fmla="*/ 40615 w 97691"/>
                        <a:gd name="connsiteY3" fmla="*/ 55053 h 135878"/>
                        <a:gd name="connsiteX4" fmla="*/ 20375 w 97691"/>
                        <a:gd name="connsiteY4" fmla="*/ 81095 h 135878"/>
                        <a:gd name="connsiteX5" fmla="*/ 31844 w 97691"/>
                        <a:gd name="connsiteY5" fmla="*/ 91890 h 135878"/>
                        <a:gd name="connsiteX6" fmla="*/ 53704 w 97691"/>
                        <a:gd name="connsiteY6" fmla="*/ 89326 h 135878"/>
                        <a:gd name="connsiteX7" fmla="*/ 44528 w 97691"/>
                        <a:gd name="connsiteY7" fmla="*/ 106867 h 135878"/>
                        <a:gd name="connsiteX8" fmla="*/ 48711 w 97691"/>
                        <a:gd name="connsiteY8" fmla="*/ 117932 h 135878"/>
                        <a:gd name="connsiteX9" fmla="*/ 75023 w 97691"/>
                        <a:gd name="connsiteY9" fmla="*/ 135878 h 135878"/>
                        <a:gd name="connsiteX10" fmla="*/ 75563 w 97691"/>
                        <a:gd name="connsiteY10" fmla="*/ 124004 h 135878"/>
                        <a:gd name="connsiteX11" fmla="*/ 85278 w 97691"/>
                        <a:gd name="connsiteY11" fmla="*/ 96073 h 135878"/>
                        <a:gd name="connsiteX12" fmla="*/ 97692 w 97691"/>
                        <a:gd name="connsiteY12" fmla="*/ 54243 h 135878"/>
                        <a:gd name="connsiteX13" fmla="*/ 91485 w 97691"/>
                        <a:gd name="connsiteY13" fmla="*/ 32654 h 135878"/>
                        <a:gd name="connsiteX14" fmla="*/ 19970 w 97691"/>
                        <a:gd name="connsiteY14" fmla="*/ 0 h 135878"/>
                        <a:gd name="connsiteX15" fmla="*/ 0 w 97691"/>
                        <a:gd name="connsiteY15" fmla="*/ 15382 h 135878"/>
                        <a:gd name="connsiteX16" fmla="*/ 0 w 97691"/>
                        <a:gd name="connsiteY16" fmla="*/ 30360 h 135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7691" h="135878">
                          <a:moveTo>
                            <a:pt x="0" y="30360"/>
                          </a:moveTo>
                          <a:lnTo>
                            <a:pt x="22264" y="34948"/>
                          </a:lnTo>
                          <a:lnTo>
                            <a:pt x="33733" y="41155"/>
                          </a:lnTo>
                          <a:lnTo>
                            <a:pt x="40615" y="55053"/>
                          </a:lnTo>
                          <a:lnTo>
                            <a:pt x="20375" y="81095"/>
                          </a:lnTo>
                          <a:lnTo>
                            <a:pt x="31844" y="91890"/>
                          </a:lnTo>
                          <a:cubicBezTo>
                            <a:pt x="31844" y="91890"/>
                            <a:pt x="47901" y="67737"/>
                            <a:pt x="53704" y="89326"/>
                          </a:cubicBezTo>
                          <a:cubicBezTo>
                            <a:pt x="56133" y="98097"/>
                            <a:pt x="50465" y="103764"/>
                            <a:pt x="44528" y="106867"/>
                          </a:cubicBezTo>
                          <a:lnTo>
                            <a:pt x="48711" y="117932"/>
                          </a:lnTo>
                          <a:lnTo>
                            <a:pt x="75023" y="135878"/>
                          </a:lnTo>
                          <a:lnTo>
                            <a:pt x="75563" y="124004"/>
                          </a:lnTo>
                          <a:lnTo>
                            <a:pt x="85278" y="96073"/>
                          </a:lnTo>
                          <a:lnTo>
                            <a:pt x="97692" y="54243"/>
                          </a:lnTo>
                          <a:lnTo>
                            <a:pt x="91485" y="32654"/>
                          </a:lnTo>
                          <a:lnTo>
                            <a:pt x="19970" y="0"/>
                          </a:lnTo>
                          <a:lnTo>
                            <a:pt x="0" y="15382"/>
                          </a:lnTo>
                          <a:lnTo>
                            <a:pt x="0" y="30360"/>
                          </a:lnTo>
                          <a:close/>
                        </a:path>
                      </a:pathLst>
                    </a:custGeom>
                    <a:solidFill>
                      <a:srgbClr val="002B69"/>
                    </a:solidFill>
                    <a:ln w="1349" cap="flat">
                      <a:noFill/>
                      <a:prstDash val="solid"/>
                      <a:miter/>
                    </a:ln>
                  </p:spPr>
                  <p:txBody>
                    <a:bodyPr rtlCol="0" anchor="ctr"/>
                    <a:lstStyle/>
                    <a:p>
                      <a:endParaRPr lang="en-IN">
                        <a:latin typeface="+mn-lt"/>
                      </a:endParaRPr>
                    </a:p>
                  </p:txBody>
                </p:sp>
              </p:grpSp>
              <p:grpSp>
                <p:nvGrpSpPr>
                  <p:cNvPr id="158" name="Graphic 1">
                    <a:extLst>
                      <a:ext uri="{FF2B5EF4-FFF2-40B4-BE49-F238E27FC236}">
                        <a16:creationId xmlns:a16="http://schemas.microsoft.com/office/drawing/2014/main" id="{1977E8C0-EE2E-4046-807A-24125C485A82}"/>
                      </a:ext>
                    </a:extLst>
                  </p:cNvPr>
                  <p:cNvGrpSpPr/>
                  <p:nvPr/>
                </p:nvGrpSpPr>
                <p:grpSpPr>
                  <a:xfrm>
                    <a:off x="8305792" y="2853703"/>
                    <a:ext cx="384830" cy="150586"/>
                    <a:chOff x="8305792" y="2853703"/>
                    <a:chExt cx="384830" cy="150586"/>
                  </a:xfrm>
                  <a:solidFill>
                    <a:schemeClr val="accent1"/>
                  </a:solidFill>
                </p:grpSpPr>
                <p:sp>
                  <p:nvSpPr>
                    <p:cNvPr id="159" name="Freeform: Shape 25">
                      <a:extLst>
                        <a:ext uri="{FF2B5EF4-FFF2-40B4-BE49-F238E27FC236}">
                          <a16:creationId xmlns:a16="http://schemas.microsoft.com/office/drawing/2014/main" id="{FB5FB967-0E31-584C-BA54-936DF35116E7}"/>
                        </a:ext>
                      </a:extLst>
                    </p:cNvPr>
                    <p:cNvSpPr/>
                    <p:nvPr/>
                  </p:nvSpPr>
                  <p:spPr>
                    <a:xfrm>
                      <a:off x="8305792" y="2866117"/>
                      <a:ext cx="78396" cy="105517"/>
                    </a:xfrm>
                    <a:custGeom>
                      <a:avLst/>
                      <a:gdLst>
                        <a:gd name="connsiteX0" fmla="*/ 2968 w 78396"/>
                        <a:gd name="connsiteY0" fmla="*/ 42234 h 105517"/>
                        <a:gd name="connsiteX1" fmla="*/ 6072 w 78396"/>
                        <a:gd name="connsiteY1" fmla="*/ 72999 h 105517"/>
                        <a:gd name="connsiteX2" fmla="*/ 20240 w 78396"/>
                        <a:gd name="connsiteY2" fmla="*/ 92160 h 105517"/>
                        <a:gd name="connsiteX3" fmla="*/ 78396 w 78396"/>
                        <a:gd name="connsiteY3" fmla="*/ 105518 h 105517"/>
                        <a:gd name="connsiteX4" fmla="*/ 33598 w 78396"/>
                        <a:gd name="connsiteY4" fmla="*/ 49116 h 105517"/>
                        <a:gd name="connsiteX5" fmla="*/ 34408 w 78396"/>
                        <a:gd name="connsiteY5" fmla="*/ 16732 h 105517"/>
                        <a:gd name="connsiteX6" fmla="*/ 17137 w 78396"/>
                        <a:gd name="connsiteY6" fmla="*/ 0 h 105517"/>
                        <a:gd name="connsiteX7" fmla="*/ 0 w 78396"/>
                        <a:gd name="connsiteY7" fmla="*/ 13223 h 10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396" h="105517">
                          <a:moveTo>
                            <a:pt x="2968" y="42234"/>
                          </a:moveTo>
                          <a:lnTo>
                            <a:pt x="6072" y="72999"/>
                          </a:lnTo>
                          <a:lnTo>
                            <a:pt x="20240" y="92160"/>
                          </a:lnTo>
                          <a:lnTo>
                            <a:pt x="78396" y="105518"/>
                          </a:lnTo>
                          <a:lnTo>
                            <a:pt x="33598" y="49116"/>
                          </a:lnTo>
                          <a:lnTo>
                            <a:pt x="34408" y="16732"/>
                          </a:lnTo>
                          <a:lnTo>
                            <a:pt x="17137" y="0"/>
                          </a:lnTo>
                          <a:lnTo>
                            <a:pt x="0" y="13223"/>
                          </a:lnTo>
                          <a:close/>
                        </a:path>
                      </a:pathLst>
                    </a:custGeom>
                    <a:solidFill>
                      <a:srgbClr val="EEAE80"/>
                    </a:solidFill>
                    <a:ln w="1349" cap="flat">
                      <a:noFill/>
                      <a:prstDash val="solid"/>
                      <a:miter/>
                    </a:ln>
                  </p:spPr>
                  <p:txBody>
                    <a:bodyPr rtlCol="0" anchor="ctr"/>
                    <a:lstStyle/>
                    <a:p>
                      <a:endParaRPr lang="en-IN">
                        <a:latin typeface="+mn-lt"/>
                      </a:endParaRPr>
                    </a:p>
                  </p:txBody>
                </p:sp>
                <p:sp>
                  <p:nvSpPr>
                    <p:cNvPr id="160" name="Freeform: Shape 26">
                      <a:extLst>
                        <a:ext uri="{FF2B5EF4-FFF2-40B4-BE49-F238E27FC236}">
                          <a16:creationId xmlns:a16="http://schemas.microsoft.com/office/drawing/2014/main" id="{3F78944F-980C-1247-BDBF-BE3087785EBD}"/>
                        </a:ext>
                      </a:extLst>
                    </p:cNvPr>
                    <p:cNvSpPr/>
                    <p:nvPr/>
                  </p:nvSpPr>
                  <p:spPr>
                    <a:xfrm>
                      <a:off x="8367862" y="2853703"/>
                      <a:ext cx="322761" cy="150586"/>
                    </a:xfrm>
                    <a:custGeom>
                      <a:avLst/>
                      <a:gdLst>
                        <a:gd name="connsiteX0" fmla="*/ 322761 w 322761"/>
                        <a:gd name="connsiteY0" fmla="*/ 14843 h 150586"/>
                        <a:gd name="connsiteX1" fmla="*/ 312911 w 322761"/>
                        <a:gd name="connsiteY1" fmla="*/ 67332 h 150586"/>
                        <a:gd name="connsiteX2" fmla="*/ 177843 w 322761"/>
                        <a:gd name="connsiteY2" fmla="*/ 150586 h 150586"/>
                        <a:gd name="connsiteX3" fmla="*/ 4453 w 322761"/>
                        <a:gd name="connsiteY3" fmla="*/ 133314 h 150586"/>
                        <a:gd name="connsiteX4" fmla="*/ 0 w 322761"/>
                        <a:gd name="connsiteY4" fmla="*/ 84333 h 150586"/>
                        <a:gd name="connsiteX5" fmla="*/ 167183 w 322761"/>
                        <a:gd name="connsiteY5" fmla="*/ 92565 h 150586"/>
                        <a:gd name="connsiteX6" fmla="*/ 293346 w 322761"/>
                        <a:gd name="connsiteY6" fmla="*/ 0 h 150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761" h="150586">
                          <a:moveTo>
                            <a:pt x="322761" y="14843"/>
                          </a:moveTo>
                          <a:lnTo>
                            <a:pt x="312911" y="67332"/>
                          </a:lnTo>
                          <a:lnTo>
                            <a:pt x="177843" y="150586"/>
                          </a:lnTo>
                          <a:lnTo>
                            <a:pt x="4453" y="133314"/>
                          </a:lnTo>
                          <a:lnTo>
                            <a:pt x="0" y="84333"/>
                          </a:lnTo>
                          <a:lnTo>
                            <a:pt x="167183" y="92565"/>
                          </a:lnTo>
                          <a:lnTo>
                            <a:pt x="293346" y="0"/>
                          </a:lnTo>
                          <a:close/>
                        </a:path>
                      </a:pathLst>
                    </a:custGeom>
                    <a:solidFill>
                      <a:srgbClr val="002B69"/>
                    </a:solidFill>
                    <a:ln w="1349" cap="flat">
                      <a:noFill/>
                      <a:prstDash val="solid"/>
                      <a:miter/>
                    </a:ln>
                  </p:spPr>
                  <p:txBody>
                    <a:bodyPr rtlCol="0" anchor="ctr"/>
                    <a:lstStyle/>
                    <a:p>
                      <a:endParaRPr lang="en-IN">
                        <a:latin typeface="+mn-lt"/>
                      </a:endParaRPr>
                    </a:p>
                  </p:txBody>
                </p:sp>
                <p:sp>
                  <p:nvSpPr>
                    <p:cNvPr id="161" name="Freeform: Shape 27">
                      <a:extLst>
                        <a:ext uri="{FF2B5EF4-FFF2-40B4-BE49-F238E27FC236}">
                          <a16:creationId xmlns:a16="http://schemas.microsoft.com/office/drawing/2014/main" id="{513842B9-1002-C54A-BA11-D6461A25EF2D}"/>
                        </a:ext>
                      </a:extLst>
                    </p:cNvPr>
                    <p:cNvSpPr/>
                    <p:nvPr/>
                  </p:nvSpPr>
                  <p:spPr>
                    <a:xfrm>
                      <a:off x="8358011" y="2938441"/>
                      <a:ext cx="13763" cy="39265"/>
                    </a:xfrm>
                    <a:custGeom>
                      <a:avLst/>
                      <a:gdLst>
                        <a:gd name="connsiteX0" fmla="*/ 13763 w 13763"/>
                        <a:gd name="connsiteY0" fmla="*/ 39266 h 39265"/>
                        <a:gd name="connsiteX1" fmla="*/ 4453 w 13763"/>
                        <a:gd name="connsiteY1" fmla="*/ 38456 h 39265"/>
                        <a:gd name="connsiteX2" fmla="*/ 0 w 13763"/>
                        <a:gd name="connsiteY2" fmla="*/ 0 h 39265"/>
                        <a:gd name="connsiteX3" fmla="*/ 10120 w 13763"/>
                        <a:gd name="connsiteY3" fmla="*/ 1619 h 39265"/>
                      </a:gdLst>
                      <a:ahLst/>
                      <a:cxnLst>
                        <a:cxn ang="0">
                          <a:pos x="connsiteX0" y="connsiteY0"/>
                        </a:cxn>
                        <a:cxn ang="0">
                          <a:pos x="connsiteX1" y="connsiteY1"/>
                        </a:cxn>
                        <a:cxn ang="0">
                          <a:pos x="connsiteX2" y="connsiteY2"/>
                        </a:cxn>
                        <a:cxn ang="0">
                          <a:pos x="connsiteX3" y="connsiteY3"/>
                        </a:cxn>
                      </a:cxnLst>
                      <a:rect l="l" t="t" r="r" b="b"/>
                      <a:pathLst>
                        <a:path w="13763" h="39265">
                          <a:moveTo>
                            <a:pt x="13763" y="39266"/>
                          </a:moveTo>
                          <a:lnTo>
                            <a:pt x="4453" y="38456"/>
                          </a:lnTo>
                          <a:lnTo>
                            <a:pt x="0" y="0"/>
                          </a:lnTo>
                          <a:lnTo>
                            <a:pt x="10120" y="1619"/>
                          </a:lnTo>
                          <a:close/>
                        </a:path>
                      </a:pathLst>
                    </a:custGeom>
                    <a:solidFill>
                      <a:srgbClr val="F8F8F7"/>
                    </a:solidFill>
                    <a:ln w="1349" cap="flat">
                      <a:noFill/>
                      <a:prstDash val="solid"/>
                      <a:miter/>
                    </a:ln>
                  </p:spPr>
                  <p:txBody>
                    <a:bodyPr rtlCol="0" anchor="ctr"/>
                    <a:lstStyle/>
                    <a:p>
                      <a:endParaRPr lang="en-IN">
                        <a:latin typeface="+mn-lt"/>
                      </a:endParaRPr>
                    </a:p>
                  </p:txBody>
                </p:sp>
              </p:grpSp>
            </p:grpSp>
          </p:grpSp>
          <p:grpSp>
            <p:nvGrpSpPr>
              <p:cNvPr id="77" name="Graphic 1">
                <a:extLst>
                  <a:ext uri="{FF2B5EF4-FFF2-40B4-BE49-F238E27FC236}">
                    <a16:creationId xmlns:a16="http://schemas.microsoft.com/office/drawing/2014/main" id="{13C1D14C-D761-BD45-B0C9-1DD9F8A497B4}"/>
                  </a:ext>
                </a:extLst>
              </p:cNvPr>
              <p:cNvGrpSpPr/>
              <p:nvPr/>
            </p:nvGrpSpPr>
            <p:grpSpPr>
              <a:xfrm flipH="1">
                <a:off x="1357763" y="4109745"/>
                <a:ext cx="3569822" cy="1836634"/>
                <a:chOff x="5440403" y="2207641"/>
                <a:chExt cx="3031357" cy="1559599"/>
              </a:xfrm>
              <a:solidFill>
                <a:schemeClr val="accent2">
                  <a:lumMod val="75000"/>
                </a:schemeClr>
              </a:solidFill>
            </p:grpSpPr>
            <p:sp>
              <p:nvSpPr>
                <p:cNvPr id="141" name="Freeform: Shape 205">
                  <a:extLst>
                    <a:ext uri="{FF2B5EF4-FFF2-40B4-BE49-F238E27FC236}">
                      <a16:creationId xmlns:a16="http://schemas.microsoft.com/office/drawing/2014/main" id="{87AA175E-C872-D64C-BD4F-E2051F6ED077}"/>
                    </a:ext>
                  </a:extLst>
                </p:cNvPr>
                <p:cNvSpPr/>
                <p:nvPr/>
              </p:nvSpPr>
              <p:spPr>
                <a:xfrm>
                  <a:off x="7897213" y="2207641"/>
                  <a:ext cx="574547" cy="1494389"/>
                </a:xfrm>
                <a:custGeom>
                  <a:avLst/>
                  <a:gdLst>
                    <a:gd name="connsiteX0" fmla="*/ 244635 w 574547"/>
                    <a:gd name="connsiteY0" fmla="*/ 1494389 h 1494389"/>
                    <a:gd name="connsiteX1" fmla="*/ 0 w 574547"/>
                    <a:gd name="connsiteY1" fmla="*/ 1437717 h 1494389"/>
                    <a:gd name="connsiteX2" fmla="*/ 329913 w 574547"/>
                    <a:gd name="connsiteY2" fmla="*/ 0 h 1494389"/>
                    <a:gd name="connsiteX3" fmla="*/ 574547 w 574547"/>
                    <a:gd name="connsiteY3" fmla="*/ 56672 h 1494389"/>
                  </a:gdLst>
                  <a:ahLst/>
                  <a:cxnLst>
                    <a:cxn ang="0">
                      <a:pos x="connsiteX0" y="connsiteY0"/>
                    </a:cxn>
                    <a:cxn ang="0">
                      <a:pos x="connsiteX1" y="connsiteY1"/>
                    </a:cxn>
                    <a:cxn ang="0">
                      <a:pos x="connsiteX2" y="connsiteY2"/>
                    </a:cxn>
                    <a:cxn ang="0">
                      <a:pos x="connsiteX3" y="connsiteY3"/>
                    </a:cxn>
                  </a:cxnLst>
                  <a:rect l="l" t="t" r="r" b="b"/>
                  <a:pathLst>
                    <a:path w="574547" h="1494389">
                      <a:moveTo>
                        <a:pt x="244635" y="1494389"/>
                      </a:moveTo>
                      <a:lnTo>
                        <a:pt x="0" y="1437717"/>
                      </a:lnTo>
                      <a:lnTo>
                        <a:pt x="329913" y="0"/>
                      </a:lnTo>
                      <a:lnTo>
                        <a:pt x="574547" y="56672"/>
                      </a:lnTo>
                      <a:close/>
                    </a:path>
                  </a:pathLst>
                </a:custGeom>
                <a:grpFill/>
                <a:ln w="1349" cap="flat">
                  <a:noFill/>
                  <a:prstDash val="solid"/>
                  <a:miter/>
                </a:ln>
              </p:spPr>
              <p:txBody>
                <a:bodyPr rtlCol="0" anchor="ctr"/>
                <a:lstStyle/>
                <a:p>
                  <a:endParaRPr lang="en-IN">
                    <a:latin typeface="+mn-lt"/>
                  </a:endParaRPr>
                </a:p>
              </p:txBody>
            </p:sp>
            <p:sp>
              <p:nvSpPr>
                <p:cNvPr id="142" name="Freeform: Shape 206">
                  <a:extLst>
                    <a:ext uri="{FF2B5EF4-FFF2-40B4-BE49-F238E27FC236}">
                      <a16:creationId xmlns:a16="http://schemas.microsoft.com/office/drawing/2014/main" id="{CB8AF5EB-754F-3B47-B243-5CB6041077B0}"/>
                    </a:ext>
                  </a:extLst>
                </p:cNvPr>
                <p:cNvSpPr/>
                <p:nvPr/>
              </p:nvSpPr>
              <p:spPr>
                <a:xfrm>
                  <a:off x="7422921" y="2234223"/>
                  <a:ext cx="794758" cy="1469966"/>
                </a:xfrm>
                <a:custGeom>
                  <a:avLst/>
                  <a:gdLst>
                    <a:gd name="connsiteX0" fmla="*/ 233435 w 794758"/>
                    <a:gd name="connsiteY0" fmla="*/ 1469966 h 1469966"/>
                    <a:gd name="connsiteX1" fmla="*/ 0 w 794758"/>
                    <a:gd name="connsiteY1" fmla="*/ 1375513 h 1469966"/>
                    <a:gd name="connsiteX2" fmla="*/ 561324 w 794758"/>
                    <a:gd name="connsiteY2" fmla="*/ 0 h 1469966"/>
                    <a:gd name="connsiteX3" fmla="*/ 794759 w 794758"/>
                    <a:gd name="connsiteY3" fmla="*/ 94588 h 1469966"/>
                  </a:gdLst>
                  <a:ahLst/>
                  <a:cxnLst>
                    <a:cxn ang="0">
                      <a:pos x="connsiteX0" y="connsiteY0"/>
                    </a:cxn>
                    <a:cxn ang="0">
                      <a:pos x="connsiteX1" y="connsiteY1"/>
                    </a:cxn>
                    <a:cxn ang="0">
                      <a:pos x="connsiteX2" y="connsiteY2"/>
                    </a:cxn>
                    <a:cxn ang="0">
                      <a:pos x="connsiteX3" y="connsiteY3"/>
                    </a:cxn>
                  </a:cxnLst>
                  <a:rect l="l" t="t" r="r" b="b"/>
                  <a:pathLst>
                    <a:path w="794758" h="1469966">
                      <a:moveTo>
                        <a:pt x="233435" y="1469966"/>
                      </a:moveTo>
                      <a:lnTo>
                        <a:pt x="0" y="1375513"/>
                      </a:lnTo>
                      <a:lnTo>
                        <a:pt x="561324" y="0"/>
                      </a:lnTo>
                      <a:lnTo>
                        <a:pt x="794759" y="94588"/>
                      </a:lnTo>
                      <a:close/>
                    </a:path>
                  </a:pathLst>
                </a:custGeom>
                <a:grpFill/>
                <a:ln w="1349" cap="flat">
                  <a:noFill/>
                  <a:prstDash val="solid"/>
                  <a:miter/>
                </a:ln>
              </p:spPr>
              <p:txBody>
                <a:bodyPr rtlCol="0" anchor="ctr"/>
                <a:lstStyle/>
                <a:p>
                  <a:endParaRPr lang="en-IN">
                    <a:latin typeface="+mn-lt"/>
                  </a:endParaRPr>
                </a:p>
              </p:txBody>
            </p:sp>
            <p:sp>
              <p:nvSpPr>
                <p:cNvPr id="143" name="Freeform: Shape 207">
                  <a:extLst>
                    <a:ext uri="{FF2B5EF4-FFF2-40B4-BE49-F238E27FC236}">
                      <a16:creationId xmlns:a16="http://schemas.microsoft.com/office/drawing/2014/main" id="{BF18DA3D-3ECC-854C-9BBE-B43A5965B163}"/>
                    </a:ext>
                  </a:extLst>
                </p:cNvPr>
                <p:cNvSpPr/>
                <p:nvPr/>
              </p:nvSpPr>
              <p:spPr>
                <a:xfrm>
                  <a:off x="6772946" y="2385888"/>
                  <a:ext cx="1100923" cy="1314657"/>
                </a:xfrm>
                <a:custGeom>
                  <a:avLst/>
                  <a:gdLst>
                    <a:gd name="connsiteX0" fmla="*/ 183779 w 1100923"/>
                    <a:gd name="connsiteY0" fmla="*/ 1314658 h 1314657"/>
                    <a:gd name="connsiteX1" fmla="*/ 0 w 1100923"/>
                    <a:gd name="connsiteY1" fmla="*/ 1168795 h 1314657"/>
                    <a:gd name="connsiteX2" fmla="*/ 917144 w 1100923"/>
                    <a:gd name="connsiteY2" fmla="*/ 0 h 1314657"/>
                    <a:gd name="connsiteX3" fmla="*/ 1100923 w 1100923"/>
                    <a:gd name="connsiteY3" fmla="*/ 145863 h 1314657"/>
                  </a:gdLst>
                  <a:ahLst/>
                  <a:cxnLst>
                    <a:cxn ang="0">
                      <a:pos x="connsiteX0" y="connsiteY0"/>
                    </a:cxn>
                    <a:cxn ang="0">
                      <a:pos x="connsiteX1" y="connsiteY1"/>
                    </a:cxn>
                    <a:cxn ang="0">
                      <a:pos x="connsiteX2" y="connsiteY2"/>
                    </a:cxn>
                    <a:cxn ang="0">
                      <a:pos x="connsiteX3" y="connsiteY3"/>
                    </a:cxn>
                  </a:cxnLst>
                  <a:rect l="l" t="t" r="r" b="b"/>
                  <a:pathLst>
                    <a:path w="1100923" h="1314657">
                      <a:moveTo>
                        <a:pt x="183779" y="1314658"/>
                      </a:moveTo>
                      <a:lnTo>
                        <a:pt x="0" y="1168795"/>
                      </a:lnTo>
                      <a:lnTo>
                        <a:pt x="917144" y="0"/>
                      </a:lnTo>
                      <a:lnTo>
                        <a:pt x="1100923" y="145863"/>
                      </a:lnTo>
                      <a:close/>
                    </a:path>
                  </a:pathLst>
                </a:custGeom>
                <a:grpFill/>
                <a:ln w="1349" cap="flat">
                  <a:noFill/>
                  <a:prstDash val="solid"/>
                  <a:miter/>
                </a:ln>
              </p:spPr>
              <p:txBody>
                <a:bodyPr rtlCol="0" anchor="ctr"/>
                <a:lstStyle/>
                <a:p>
                  <a:endParaRPr lang="en-IN">
                    <a:latin typeface="+mn-lt"/>
                  </a:endParaRPr>
                </a:p>
              </p:txBody>
            </p:sp>
            <p:sp>
              <p:nvSpPr>
                <p:cNvPr id="144" name="Freeform: Shape 208">
                  <a:extLst>
                    <a:ext uri="{FF2B5EF4-FFF2-40B4-BE49-F238E27FC236}">
                      <a16:creationId xmlns:a16="http://schemas.microsoft.com/office/drawing/2014/main" id="{010FAC8D-C173-154A-93B6-F56F802AB919}"/>
                    </a:ext>
                  </a:extLst>
                </p:cNvPr>
                <p:cNvSpPr/>
                <p:nvPr/>
              </p:nvSpPr>
              <p:spPr>
                <a:xfrm>
                  <a:off x="6063196" y="2618514"/>
                  <a:ext cx="1319650" cy="1087834"/>
                </a:xfrm>
                <a:custGeom>
                  <a:avLst/>
                  <a:gdLst>
                    <a:gd name="connsiteX0" fmla="*/ 140601 w 1319650"/>
                    <a:gd name="connsiteY0" fmla="*/ 1087834 h 1087834"/>
                    <a:gd name="connsiteX1" fmla="*/ 0 w 1319650"/>
                    <a:gd name="connsiteY1" fmla="*/ 903785 h 1087834"/>
                    <a:gd name="connsiteX2" fmla="*/ 1179050 w 1319650"/>
                    <a:gd name="connsiteY2" fmla="*/ 0 h 1087834"/>
                    <a:gd name="connsiteX3" fmla="*/ 1319651 w 1319650"/>
                    <a:gd name="connsiteY3" fmla="*/ 183914 h 1087834"/>
                  </a:gdLst>
                  <a:ahLst/>
                  <a:cxnLst>
                    <a:cxn ang="0">
                      <a:pos x="connsiteX0" y="connsiteY0"/>
                    </a:cxn>
                    <a:cxn ang="0">
                      <a:pos x="connsiteX1" y="connsiteY1"/>
                    </a:cxn>
                    <a:cxn ang="0">
                      <a:pos x="connsiteX2" y="connsiteY2"/>
                    </a:cxn>
                    <a:cxn ang="0">
                      <a:pos x="connsiteX3" y="connsiteY3"/>
                    </a:cxn>
                  </a:cxnLst>
                  <a:rect l="l" t="t" r="r" b="b"/>
                  <a:pathLst>
                    <a:path w="1319650" h="1087834">
                      <a:moveTo>
                        <a:pt x="140601" y="1087834"/>
                      </a:moveTo>
                      <a:lnTo>
                        <a:pt x="0" y="903785"/>
                      </a:lnTo>
                      <a:lnTo>
                        <a:pt x="1179050" y="0"/>
                      </a:lnTo>
                      <a:lnTo>
                        <a:pt x="1319651" y="183914"/>
                      </a:lnTo>
                      <a:close/>
                    </a:path>
                  </a:pathLst>
                </a:custGeom>
                <a:grpFill/>
                <a:ln w="1349" cap="flat">
                  <a:noFill/>
                  <a:prstDash val="solid"/>
                  <a:miter/>
                </a:ln>
              </p:spPr>
              <p:txBody>
                <a:bodyPr rtlCol="0" anchor="ctr"/>
                <a:lstStyle/>
                <a:p>
                  <a:endParaRPr lang="en-IN">
                    <a:latin typeface="+mn-lt"/>
                  </a:endParaRPr>
                </a:p>
              </p:txBody>
            </p:sp>
            <p:sp>
              <p:nvSpPr>
                <p:cNvPr id="145" name="Freeform: Shape 209">
                  <a:extLst>
                    <a:ext uri="{FF2B5EF4-FFF2-40B4-BE49-F238E27FC236}">
                      <a16:creationId xmlns:a16="http://schemas.microsoft.com/office/drawing/2014/main" id="{B228A9E2-8677-F947-95F5-71F6892ECBE1}"/>
                    </a:ext>
                  </a:extLst>
                </p:cNvPr>
                <p:cNvSpPr/>
                <p:nvPr/>
              </p:nvSpPr>
              <p:spPr>
                <a:xfrm rot="488672">
                  <a:off x="5440403" y="2679406"/>
                  <a:ext cx="1319650" cy="1087834"/>
                </a:xfrm>
                <a:custGeom>
                  <a:avLst/>
                  <a:gdLst>
                    <a:gd name="connsiteX0" fmla="*/ 140601 w 1319650"/>
                    <a:gd name="connsiteY0" fmla="*/ 1087834 h 1087834"/>
                    <a:gd name="connsiteX1" fmla="*/ 0 w 1319650"/>
                    <a:gd name="connsiteY1" fmla="*/ 903785 h 1087834"/>
                    <a:gd name="connsiteX2" fmla="*/ 1179050 w 1319650"/>
                    <a:gd name="connsiteY2" fmla="*/ 0 h 1087834"/>
                    <a:gd name="connsiteX3" fmla="*/ 1319651 w 1319650"/>
                    <a:gd name="connsiteY3" fmla="*/ 183914 h 1087834"/>
                  </a:gdLst>
                  <a:ahLst/>
                  <a:cxnLst>
                    <a:cxn ang="0">
                      <a:pos x="connsiteX0" y="connsiteY0"/>
                    </a:cxn>
                    <a:cxn ang="0">
                      <a:pos x="connsiteX1" y="connsiteY1"/>
                    </a:cxn>
                    <a:cxn ang="0">
                      <a:pos x="connsiteX2" y="connsiteY2"/>
                    </a:cxn>
                    <a:cxn ang="0">
                      <a:pos x="connsiteX3" y="connsiteY3"/>
                    </a:cxn>
                  </a:cxnLst>
                  <a:rect l="l" t="t" r="r" b="b"/>
                  <a:pathLst>
                    <a:path w="1319650" h="1087834">
                      <a:moveTo>
                        <a:pt x="140601" y="1087834"/>
                      </a:moveTo>
                      <a:lnTo>
                        <a:pt x="0" y="903785"/>
                      </a:lnTo>
                      <a:lnTo>
                        <a:pt x="1179050" y="0"/>
                      </a:lnTo>
                      <a:lnTo>
                        <a:pt x="1319651" y="183914"/>
                      </a:lnTo>
                      <a:close/>
                    </a:path>
                  </a:pathLst>
                </a:custGeom>
                <a:grpFill/>
                <a:ln w="1349" cap="flat">
                  <a:noFill/>
                  <a:prstDash val="solid"/>
                  <a:miter/>
                </a:ln>
              </p:spPr>
              <p:txBody>
                <a:bodyPr rtlCol="0" anchor="ctr"/>
                <a:lstStyle/>
                <a:p>
                  <a:endParaRPr lang="en-IN">
                    <a:latin typeface="+mn-lt"/>
                  </a:endParaRPr>
                </a:p>
              </p:txBody>
            </p:sp>
          </p:grpSp>
          <p:grpSp>
            <p:nvGrpSpPr>
              <p:cNvPr id="78" name="Graphic 1">
                <a:extLst>
                  <a:ext uri="{FF2B5EF4-FFF2-40B4-BE49-F238E27FC236}">
                    <a16:creationId xmlns:a16="http://schemas.microsoft.com/office/drawing/2014/main" id="{BF2F4F57-0A4A-F04C-8DA3-4402A6F59DCE}"/>
                  </a:ext>
                </a:extLst>
              </p:cNvPr>
              <p:cNvGrpSpPr/>
              <p:nvPr/>
            </p:nvGrpSpPr>
            <p:grpSpPr>
              <a:xfrm flipH="1">
                <a:off x="3976445" y="3594126"/>
                <a:ext cx="1805764" cy="1862459"/>
                <a:chOff x="5452482" y="1656597"/>
                <a:chExt cx="1576259" cy="1625748"/>
              </a:xfrm>
              <a:solidFill>
                <a:schemeClr val="accent1"/>
              </a:solidFill>
            </p:grpSpPr>
            <p:sp>
              <p:nvSpPr>
                <p:cNvPr id="79" name="Freeform: Shape 211">
                  <a:extLst>
                    <a:ext uri="{FF2B5EF4-FFF2-40B4-BE49-F238E27FC236}">
                      <a16:creationId xmlns:a16="http://schemas.microsoft.com/office/drawing/2014/main" id="{7EE4956F-EF27-C54B-997A-6E9F41941936}"/>
                    </a:ext>
                  </a:extLst>
                </p:cNvPr>
                <p:cNvSpPr/>
                <p:nvPr/>
              </p:nvSpPr>
              <p:spPr>
                <a:xfrm>
                  <a:off x="6008688" y="2724307"/>
                  <a:ext cx="217232" cy="217291"/>
                </a:xfrm>
                <a:custGeom>
                  <a:avLst/>
                  <a:gdLst>
                    <a:gd name="connsiteX0" fmla="*/ 170011 w 217232"/>
                    <a:gd name="connsiteY0" fmla="*/ 198212 h 217291"/>
                    <a:gd name="connsiteX1" fmla="*/ 198212 w 217232"/>
                    <a:gd name="connsiteY1" fmla="*/ 47221 h 217291"/>
                    <a:gd name="connsiteX2" fmla="*/ 47221 w 217232"/>
                    <a:gd name="connsiteY2" fmla="*/ 19020 h 217291"/>
                    <a:gd name="connsiteX3" fmla="*/ 19020 w 217232"/>
                    <a:gd name="connsiteY3" fmla="*/ 170011 h 217291"/>
                    <a:gd name="connsiteX4" fmla="*/ 170011 w 217232"/>
                    <a:gd name="connsiteY4" fmla="*/ 198212 h 217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32" h="217291">
                      <a:moveTo>
                        <a:pt x="170011" y="198212"/>
                      </a:moveTo>
                      <a:cubicBezTo>
                        <a:pt x="219532" y="164344"/>
                        <a:pt x="232080" y="96607"/>
                        <a:pt x="198212" y="47221"/>
                      </a:cubicBezTo>
                      <a:cubicBezTo>
                        <a:pt x="164344" y="-2299"/>
                        <a:pt x="96607" y="-14848"/>
                        <a:pt x="47221" y="19020"/>
                      </a:cubicBezTo>
                      <a:cubicBezTo>
                        <a:pt x="-2299" y="52889"/>
                        <a:pt x="-14848" y="120625"/>
                        <a:pt x="19020" y="170011"/>
                      </a:cubicBezTo>
                      <a:cubicBezTo>
                        <a:pt x="52889" y="219532"/>
                        <a:pt x="120490" y="232215"/>
                        <a:pt x="170011" y="198212"/>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80" name="Freeform: Shape 212">
                  <a:extLst>
                    <a:ext uri="{FF2B5EF4-FFF2-40B4-BE49-F238E27FC236}">
                      <a16:creationId xmlns:a16="http://schemas.microsoft.com/office/drawing/2014/main" id="{E9BD20AC-8A6E-FC44-B035-E530E6AE6149}"/>
                    </a:ext>
                  </a:extLst>
                </p:cNvPr>
                <p:cNvSpPr/>
                <p:nvPr/>
              </p:nvSpPr>
              <p:spPr>
                <a:xfrm>
                  <a:off x="5790500" y="2168246"/>
                  <a:ext cx="217232" cy="217291"/>
                </a:xfrm>
                <a:custGeom>
                  <a:avLst/>
                  <a:gdLst>
                    <a:gd name="connsiteX0" fmla="*/ 170011 w 217232"/>
                    <a:gd name="connsiteY0" fmla="*/ 198212 h 217291"/>
                    <a:gd name="connsiteX1" fmla="*/ 198212 w 217232"/>
                    <a:gd name="connsiteY1" fmla="*/ 47221 h 217291"/>
                    <a:gd name="connsiteX2" fmla="*/ 47221 w 217232"/>
                    <a:gd name="connsiteY2" fmla="*/ 19020 h 217291"/>
                    <a:gd name="connsiteX3" fmla="*/ 19020 w 217232"/>
                    <a:gd name="connsiteY3" fmla="*/ 170011 h 217291"/>
                    <a:gd name="connsiteX4" fmla="*/ 170011 w 217232"/>
                    <a:gd name="connsiteY4" fmla="*/ 198212 h 217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32" h="217291">
                      <a:moveTo>
                        <a:pt x="170011" y="198212"/>
                      </a:moveTo>
                      <a:cubicBezTo>
                        <a:pt x="219532" y="164344"/>
                        <a:pt x="232080" y="96607"/>
                        <a:pt x="198212" y="47221"/>
                      </a:cubicBezTo>
                      <a:cubicBezTo>
                        <a:pt x="164344" y="-2299"/>
                        <a:pt x="96607" y="-14848"/>
                        <a:pt x="47221" y="19020"/>
                      </a:cubicBezTo>
                      <a:cubicBezTo>
                        <a:pt x="-2299" y="52889"/>
                        <a:pt x="-14848" y="120625"/>
                        <a:pt x="19020" y="170011"/>
                      </a:cubicBezTo>
                      <a:cubicBezTo>
                        <a:pt x="52889" y="219532"/>
                        <a:pt x="120490" y="232215"/>
                        <a:pt x="170011" y="198212"/>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81" name="Freeform: Shape 213">
                  <a:extLst>
                    <a:ext uri="{FF2B5EF4-FFF2-40B4-BE49-F238E27FC236}">
                      <a16:creationId xmlns:a16="http://schemas.microsoft.com/office/drawing/2014/main" id="{14273002-7EED-DB4F-8B85-3DB18C8BCA42}"/>
                    </a:ext>
                  </a:extLst>
                </p:cNvPr>
                <p:cNvSpPr/>
                <p:nvPr/>
              </p:nvSpPr>
              <p:spPr>
                <a:xfrm>
                  <a:off x="5785242" y="2385898"/>
                  <a:ext cx="169996" cy="169996"/>
                </a:xfrm>
                <a:custGeom>
                  <a:avLst/>
                  <a:gdLst>
                    <a:gd name="connsiteX0" fmla="*/ 133035 w 169996"/>
                    <a:gd name="connsiteY0" fmla="*/ 155164 h 169996"/>
                    <a:gd name="connsiteX1" fmla="*/ 155164 w 169996"/>
                    <a:gd name="connsiteY1" fmla="*/ 36962 h 169996"/>
                    <a:gd name="connsiteX2" fmla="*/ 36962 w 169996"/>
                    <a:gd name="connsiteY2" fmla="*/ 14833 h 169996"/>
                    <a:gd name="connsiteX3" fmla="*/ 14833 w 169996"/>
                    <a:gd name="connsiteY3" fmla="*/ 133035 h 169996"/>
                    <a:gd name="connsiteX4" fmla="*/ 133035 w 169996"/>
                    <a:gd name="connsiteY4" fmla="*/ 155164 h 169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996" h="169996">
                      <a:moveTo>
                        <a:pt x="133035" y="155164"/>
                      </a:moveTo>
                      <a:cubicBezTo>
                        <a:pt x="171761" y="128582"/>
                        <a:pt x="181611" y="75688"/>
                        <a:pt x="155164" y="36962"/>
                      </a:cubicBezTo>
                      <a:cubicBezTo>
                        <a:pt x="128582" y="-1764"/>
                        <a:pt x="75688" y="-11614"/>
                        <a:pt x="36962" y="14833"/>
                      </a:cubicBezTo>
                      <a:cubicBezTo>
                        <a:pt x="-1764" y="41415"/>
                        <a:pt x="-11614" y="94309"/>
                        <a:pt x="14833" y="133035"/>
                      </a:cubicBezTo>
                      <a:cubicBezTo>
                        <a:pt x="41415" y="171761"/>
                        <a:pt x="94309" y="181611"/>
                        <a:pt x="133035" y="155164"/>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82" name="Freeform: Shape 214">
                  <a:extLst>
                    <a:ext uri="{FF2B5EF4-FFF2-40B4-BE49-F238E27FC236}">
                      <a16:creationId xmlns:a16="http://schemas.microsoft.com/office/drawing/2014/main" id="{CA6BB7F3-C473-8E44-BF31-B5039FCE2426}"/>
                    </a:ext>
                  </a:extLst>
                </p:cNvPr>
                <p:cNvSpPr/>
                <p:nvPr/>
              </p:nvSpPr>
              <p:spPr>
                <a:xfrm>
                  <a:off x="6460041" y="2568594"/>
                  <a:ext cx="217232" cy="217232"/>
                </a:xfrm>
                <a:custGeom>
                  <a:avLst/>
                  <a:gdLst>
                    <a:gd name="connsiteX0" fmla="*/ 170011 w 217232"/>
                    <a:gd name="connsiteY0" fmla="*/ 198212 h 217232"/>
                    <a:gd name="connsiteX1" fmla="*/ 198212 w 217232"/>
                    <a:gd name="connsiteY1" fmla="*/ 47221 h 217232"/>
                    <a:gd name="connsiteX2" fmla="*/ 47221 w 217232"/>
                    <a:gd name="connsiteY2" fmla="*/ 19020 h 217232"/>
                    <a:gd name="connsiteX3" fmla="*/ 19020 w 217232"/>
                    <a:gd name="connsiteY3" fmla="*/ 170011 h 217232"/>
                    <a:gd name="connsiteX4" fmla="*/ 170011 w 217232"/>
                    <a:gd name="connsiteY4" fmla="*/ 198212 h 217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32" h="217232">
                      <a:moveTo>
                        <a:pt x="170011" y="198212"/>
                      </a:moveTo>
                      <a:cubicBezTo>
                        <a:pt x="219532" y="164344"/>
                        <a:pt x="232080" y="96607"/>
                        <a:pt x="198212" y="47221"/>
                      </a:cubicBezTo>
                      <a:cubicBezTo>
                        <a:pt x="164344" y="-2299"/>
                        <a:pt x="96607" y="-14848"/>
                        <a:pt x="47221" y="19020"/>
                      </a:cubicBezTo>
                      <a:cubicBezTo>
                        <a:pt x="-2299" y="52889"/>
                        <a:pt x="-14848" y="120625"/>
                        <a:pt x="19020" y="170011"/>
                      </a:cubicBezTo>
                      <a:cubicBezTo>
                        <a:pt x="52889" y="219532"/>
                        <a:pt x="120490" y="232080"/>
                        <a:pt x="170011" y="198212"/>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83" name="Freeform: Shape 215">
                  <a:extLst>
                    <a:ext uri="{FF2B5EF4-FFF2-40B4-BE49-F238E27FC236}">
                      <a16:creationId xmlns:a16="http://schemas.microsoft.com/office/drawing/2014/main" id="{71B22A5C-83DF-674D-8358-A0CB7A74C7BB}"/>
                    </a:ext>
                  </a:extLst>
                </p:cNvPr>
                <p:cNvSpPr/>
                <p:nvPr/>
              </p:nvSpPr>
              <p:spPr>
                <a:xfrm>
                  <a:off x="6361729" y="1923936"/>
                  <a:ext cx="164228" cy="164228"/>
                </a:xfrm>
                <a:custGeom>
                  <a:avLst/>
                  <a:gdLst>
                    <a:gd name="connsiteX0" fmla="*/ 128532 w 164228"/>
                    <a:gd name="connsiteY0" fmla="*/ 149851 h 164228"/>
                    <a:gd name="connsiteX1" fmla="*/ 149851 w 164228"/>
                    <a:gd name="connsiteY1" fmla="*/ 35697 h 164228"/>
                    <a:gd name="connsiteX2" fmla="*/ 35697 w 164228"/>
                    <a:gd name="connsiteY2" fmla="*/ 14378 h 164228"/>
                    <a:gd name="connsiteX3" fmla="*/ 14378 w 164228"/>
                    <a:gd name="connsiteY3" fmla="*/ 128531 h 164228"/>
                    <a:gd name="connsiteX4" fmla="*/ 128532 w 164228"/>
                    <a:gd name="connsiteY4" fmla="*/ 149851 h 164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228" h="164228">
                      <a:moveTo>
                        <a:pt x="128532" y="149851"/>
                      </a:moveTo>
                      <a:cubicBezTo>
                        <a:pt x="165908" y="124214"/>
                        <a:pt x="175488" y="73074"/>
                        <a:pt x="149851" y="35697"/>
                      </a:cubicBezTo>
                      <a:cubicBezTo>
                        <a:pt x="124214" y="-1679"/>
                        <a:pt x="73074" y="-11260"/>
                        <a:pt x="35697" y="14378"/>
                      </a:cubicBezTo>
                      <a:cubicBezTo>
                        <a:pt x="-1680" y="40015"/>
                        <a:pt x="-11260" y="91155"/>
                        <a:pt x="14378" y="128531"/>
                      </a:cubicBezTo>
                      <a:cubicBezTo>
                        <a:pt x="40015" y="165908"/>
                        <a:pt x="91155" y="175488"/>
                        <a:pt x="128532" y="149851"/>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84" name="Freeform: Shape 216">
                  <a:extLst>
                    <a:ext uri="{FF2B5EF4-FFF2-40B4-BE49-F238E27FC236}">
                      <a16:creationId xmlns:a16="http://schemas.microsoft.com/office/drawing/2014/main" id="{1CF2A8ED-16A8-A246-8D54-67281C28A8CB}"/>
                    </a:ext>
                  </a:extLst>
                </p:cNvPr>
                <p:cNvSpPr/>
                <p:nvPr/>
              </p:nvSpPr>
              <p:spPr>
                <a:xfrm>
                  <a:off x="6443904" y="2845667"/>
                  <a:ext cx="164228" cy="164228"/>
                </a:xfrm>
                <a:custGeom>
                  <a:avLst/>
                  <a:gdLst>
                    <a:gd name="connsiteX0" fmla="*/ 128531 w 164228"/>
                    <a:gd name="connsiteY0" fmla="*/ 149851 h 164228"/>
                    <a:gd name="connsiteX1" fmla="*/ 149851 w 164228"/>
                    <a:gd name="connsiteY1" fmla="*/ 35697 h 164228"/>
                    <a:gd name="connsiteX2" fmla="*/ 35697 w 164228"/>
                    <a:gd name="connsiteY2" fmla="*/ 14378 h 164228"/>
                    <a:gd name="connsiteX3" fmla="*/ 14378 w 164228"/>
                    <a:gd name="connsiteY3" fmla="*/ 128531 h 164228"/>
                    <a:gd name="connsiteX4" fmla="*/ 128531 w 164228"/>
                    <a:gd name="connsiteY4" fmla="*/ 149851 h 164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228" h="164228">
                      <a:moveTo>
                        <a:pt x="128531" y="149851"/>
                      </a:moveTo>
                      <a:cubicBezTo>
                        <a:pt x="165908" y="124214"/>
                        <a:pt x="175488" y="73074"/>
                        <a:pt x="149851" y="35697"/>
                      </a:cubicBezTo>
                      <a:cubicBezTo>
                        <a:pt x="124214" y="-1679"/>
                        <a:pt x="73074" y="-11260"/>
                        <a:pt x="35697" y="14378"/>
                      </a:cubicBezTo>
                      <a:cubicBezTo>
                        <a:pt x="-1680" y="40015"/>
                        <a:pt x="-11260" y="91155"/>
                        <a:pt x="14378" y="128531"/>
                      </a:cubicBezTo>
                      <a:cubicBezTo>
                        <a:pt x="40015" y="165908"/>
                        <a:pt x="91020" y="175488"/>
                        <a:pt x="128531" y="149851"/>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85" name="Freeform: Shape 217">
                  <a:extLst>
                    <a:ext uri="{FF2B5EF4-FFF2-40B4-BE49-F238E27FC236}">
                      <a16:creationId xmlns:a16="http://schemas.microsoft.com/office/drawing/2014/main" id="{E4671029-0CBE-944D-885F-EDE36B5633ED}"/>
                    </a:ext>
                  </a:extLst>
                </p:cNvPr>
                <p:cNvSpPr/>
                <p:nvPr/>
              </p:nvSpPr>
              <p:spPr>
                <a:xfrm>
                  <a:off x="6674850" y="2470896"/>
                  <a:ext cx="222910" cy="123869"/>
                </a:xfrm>
                <a:custGeom>
                  <a:avLst/>
                  <a:gdLst>
                    <a:gd name="connsiteX0" fmla="*/ 204020 w 222910"/>
                    <a:gd name="connsiteY0" fmla="*/ 123869 h 123869"/>
                    <a:gd name="connsiteX1" fmla="*/ 222910 w 222910"/>
                    <a:gd name="connsiteY1" fmla="*/ 43314 h 123869"/>
                    <a:gd name="connsiteX2" fmla="*/ 18891 w 222910"/>
                    <a:gd name="connsiteY2" fmla="*/ 0 h 123869"/>
                    <a:gd name="connsiteX3" fmla="*/ 0 w 222910"/>
                    <a:gd name="connsiteY3" fmla="*/ 80555 h 123869"/>
                    <a:gd name="connsiteX4" fmla="*/ 204020 w 222910"/>
                    <a:gd name="connsiteY4" fmla="*/ 123869 h 12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910" h="123869">
                      <a:moveTo>
                        <a:pt x="204020" y="123869"/>
                      </a:moveTo>
                      <a:lnTo>
                        <a:pt x="222910" y="43314"/>
                      </a:lnTo>
                      <a:cubicBezTo>
                        <a:pt x="222910" y="43314"/>
                        <a:pt x="137093" y="84199"/>
                        <a:pt x="18891" y="0"/>
                      </a:cubicBezTo>
                      <a:cubicBezTo>
                        <a:pt x="17137" y="7556"/>
                        <a:pt x="1754" y="72999"/>
                        <a:pt x="0" y="80555"/>
                      </a:cubicBezTo>
                      <a:cubicBezTo>
                        <a:pt x="145054" y="49656"/>
                        <a:pt x="204020" y="123869"/>
                        <a:pt x="204020" y="123869"/>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86" name="Freeform: Shape 218">
                  <a:extLst>
                    <a:ext uri="{FF2B5EF4-FFF2-40B4-BE49-F238E27FC236}">
                      <a16:creationId xmlns:a16="http://schemas.microsoft.com/office/drawing/2014/main" id="{B97CD84A-526C-3244-8CA5-8F38735C8BAD}"/>
                    </a:ext>
                  </a:extLst>
                </p:cNvPr>
                <p:cNvSpPr/>
                <p:nvPr/>
              </p:nvSpPr>
              <p:spPr>
                <a:xfrm>
                  <a:off x="6865011" y="2483754"/>
                  <a:ext cx="163730" cy="163730"/>
                </a:xfrm>
                <a:custGeom>
                  <a:avLst/>
                  <a:gdLst>
                    <a:gd name="connsiteX0" fmla="*/ 131926 w 163730"/>
                    <a:gd name="connsiteY0" fmla="*/ 146633 h 163730"/>
                    <a:gd name="connsiteX1" fmla="*/ 146633 w 163730"/>
                    <a:gd name="connsiteY1" fmla="*/ 31805 h 163730"/>
                    <a:gd name="connsiteX2" fmla="*/ 31805 w 163730"/>
                    <a:gd name="connsiteY2" fmla="*/ 17097 h 163730"/>
                    <a:gd name="connsiteX3" fmla="*/ 17097 w 163730"/>
                    <a:gd name="connsiteY3" fmla="*/ 131926 h 163730"/>
                    <a:gd name="connsiteX4" fmla="*/ 131926 w 163730"/>
                    <a:gd name="connsiteY4" fmla="*/ 146633 h 163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730" h="163730">
                      <a:moveTo>
                        <a:pt x="131926" y="146633"/>
                      </a:moveTo>
                      <a:cubicBezTo>
                        <a:pt x="167683" y="118972"/>
                        <a:pt x="174295" y="67562"/>
                        <a:pt x="146633" y="31805"/>
                      </a:cubicBezTo>
                      <a:cubicBezTo>
                        <a:pt x="118972" y="-3953"/>
                        <a:pt x="67562" y="-10564"/>
                        <a:pt x="31805" y="17097"/>
                      </a:cubicBezTo>
                      <a:cubicBezTo>
                        <a:pt x="-3953" y="44758"/>
                        <a:pt x="-10564" y="96168"/>
                        <a:pt x="17097" y="131926"/>
                      </a:cubicBezTo>
                      <a:cubicBezTo>
                        <a:pt x="44758" y="167683"/>
                        <a:pt x="96168" y="174295"/>
                        <a:pt x="131926" y="146633"/>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87" name="Freeform: Shape 219">
                  <a:extLst>
                    <a:ext uri="{FF2B5EF4-FFF2-40B4-BE49-F238E27FC236}">
                      <a16:creationId xmlns:a16="http://schemas.microsoft.com/office/drawing/2014/main" id="{A82F97E5-0D7B-B141-A14C-E27ADB2CA018}"/>
                    </a:ext>
                  </a:extLst>
                </p:cNvPr>
                <p:cNvSpPr/>
                <p:nvPr/>
              </p:nvSpPr>
              <p:spPr>
                <a:xfrm>
                  <a:off x="6132956" y="2879340"/>
                  <a:ext cx="86897" cy="201320"/>
                </a:xfrm>
                <a:custGeom>
                  <a:avLst/>
                  <a:gdLst>
                    <a:gd name="connsiteX0" fmla="*/ 0 w 86897"/>
                    <a:gd name="connsiteY0" fmla="*/ 191471 h 201320"/>
                    <a:gd name="connsiteX1" fmla="*/ 51680 w 86897"/>
                    <a:gd name="connsiteY1" fmla="*/ 201321 h 201320"/>
                    <a:gd name="connsiteX2" fmla="*/ 86897 w 86897"/>
                    <a:gd name="connsiteY2" fmla="*/ 9850 h 201320"/>
                    <a:gd name="connsiteX3" fmla="*/ 35218 w 86897"/>
                    <a:gd name="connsiteY3" fmla="*/ 0 h 201320"/>
                    <a:gd name="connsiteX4" fmla="*/ 0 w 86897"/>
                    <a:gd name="connsiteY4" fmla="*/ 191471 h 201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97" h="201320">
                      <a:moveTo>
                        <a:pt x="0" y="191471"/>
                      </a:moveTo>
                      <a:lnTo>
                        <a:pt x="51680" y="201321"/>
                      </a:lnTo>
                      <a:cubicBezTo>
                        <a:pt x="51680" y="201321"/>
                        <a:pt x="33464" y="107947"/>
                        <a:pt x="86897" y="9850"/>
                      </a:cubicBezTo>
                      <a:cubicBezTo>
                        <a:pt x="82040" y="8906"/>
                        <a:pt x="40075" y="945"/>
                        <a:pt x="35218" y="0"/>
                      </a:cubicBezTo>
                      <a:cubicBezTo>
                        <a:pt x="55593" y="111995"/>
                        <a:pt x="0" y="191471"/>
                        <a:pt x="0" y="191471"/>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88" name="Freeform: Shape 220">
                  <a:extLst>
                    <a:ext uri="{FF2B5EF4-FFF2-40B4-BE49-F238E27FC236}">
                      <a16:creationId xmlns:a16="http://schemas.microsoft.com/office/drawing/2014/main" id="{50FF5AF9-7C26-304F-8370-7DAA6744C0B7}"/>
                    </a:ext>
                  </a:extLst>
                </p:cNvPr>
                <p:cNvSpPr/>
                <p:nvPr/>
              </p:nvSpPr>
              <p:spPr>
                <a:xfrm>
                  <a:off x="6041342" y="3065149"/>
                  <a:ext cx="217232" cy="217196"/>
                </a:xfrm>
                <a:custGeom>
                  <a:avLst/>
                  <a:gdLst>
                    <a:gd name="connsiteX0" fmla="*/ 170011 w 217232"/>
                    <a:gd name="connsiteY0" fmla="*/ 198212 h 217196"/>
                    <a:gd name="connsiteX1" fmla="*/ 198212 w 217232"/>
                    <a:gd name="connsiteY1" fmla="*/ 47221 h 217196"/>
                    <a:gd name="connsiteX2" fmla="*/ 47221 w 217232"/>
                    <a:gd name="connsiteY2" fmla="*/ 19020 h 217196"/>
                    <a:gd name="connsiteX3" fmla="*/ 19020 w 217232"/>
                    <a:gd name="connsiteY3" fmla="*/ 170011 h 217196"/>
                    <a:gd name="connsiteX4" fmla="*/ 170011 w 217232"/>
                    <a:gd name="connsiteY4" fmla="*/ 198212 h 217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32" h="217196">
                      <a:moveTo>
                        <a:pt x="170011" y="198212"/>
                      </a:moveTo>
                      <a:cubicBezTo>
                        <a:pt x="219532" y="164344"/>
                        <a:pt x="232080" y="96607"/>
                        <a:pt x="198212" y="47221"/>
                      </a:cubicBezTo>
                      <a:cubicBezTo>
                        <a:pt x="164344" y="-2299"/>
                        <a:pt x="96607" y="-14848"/>
                        <a:pt x="47221" y="19020"/>
                      </a:cubicBezTo>
                      <a:cubicBezTo>
                        <a:pt x="-2299" y="52889"/>
                        <a:pt x="-14848" y="120625"/>
                        <a:pt x="19020" y="170011"/>
                      </a:cubicBezTo>
                      <a:cubicBezTo>
                        <a:pt x="52889" y="219397"/>
                        <a:pt x="120490" y="232080"/>
                        <a:pt x="170011" y="198212"/>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89" name="Freeform: Shape 221">
                  <a:extLst>
                    <a:ext uri="{FF2B5EF4-FFF2-40B4-BE49-F238E27FC236}">
                      <a16:creationId xmlns:a16="http://schemas.microsoft.com/office/drawing/2014/main" id="{4C0558EF-6DBF-F24E-AAED-CA7C953D5BF1}"/>
                    </a:ext>
                  </a:extLst>
                </p:cNvPr>
                <p:cNvSpPr/>
                <p:nvPr/>
              </p:nvSpPr>
              <p:spPr>
                <a:xfrm>
                  <a:off x="6322403" y="2853028"/>
                  <a:ext cx="155540" cy="275408"/>
                </a:xfrm>
                <a:custGeom>
                  <a:avLst/>
                  <a:gdLst>
                    <a:gd name="connsiteX0" fmla="*/ 145728 w 155540"/>
                    <a:gd name="connsiteY0" fmla="*/ 237348 h 275408"/>
                    <a:gd name="connsiteX1" fmla="*/ 117392 w 155540"/>
                    <a:gd name="connsiteY1" fmla="*/ 134799 h 275408"/>
                    <a:gd name="connsiteX2" fmla="*/ 87302 w 155540"/>
                    <a:gd name="connsiteY2" fmla="*/ 125488 h 275408"/>
                    <a:gd name="connsiteX3" fmla="*/ 56402 w 155540"/>
                    <a:gd name="connsiteY3" fmla="*/ 0 h 275408"/>
                    <a:gd name="connsiteX4" fmla="*/ 0 w 155540"/>
                    <a:gd name="connsiteY4" fmla="*/ 15517 h 275408"/>
                    <a:gd name="connsiteX5" fmla="*/ 32789 w 155540"/>
                    <a:gd name="connsiteY5" fmla="*/ 141950 h 275408"/>
                    <a:gd name="connsiteX6" fmla="*/ 14708 w 155540"/>
                    <a:gd name="connsiteY6" fmla="*/ 163135 h 275408"/>
                    <a:gd name="connsiteX7" fmla="*/ 43044 w 155540"/>
                    <a:gd name="connsiteY7" fmla="*/ 265684 h 275408"/>
                    <a:gd name="connsiteX8" fmla="*/ 145728 w 155540"/>
                    <a:gd name="connsiteY8" fmla="*/ 237348 h 27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540" h="275408">
                      <a:moveTo>
                        <a:pt x="145728" y="237348"/>
                      </a:moveTo>
                      <a:cubicBezTo>
                        <a:pt x="166238" y="201186"/>
                        <a:pt x="153554" y="155309"/>
                        <a:pt x="117392" y="134799"/>
                      </a:cubicBezTo>
                      <a:cubicBezTo>
                        <a:pt x="107812" y="129401"/>
                        <a:pt x="97557" y="126433"/>
                        <a:pt x="87302" y="125488"/>
                      </a:cubicBezTo>
                      <a:cubicBezTo>
                        <a:pt x="77452" y="111320"/>
                        <a:pt x="51005" y="112130"/>
                        <a:pt x="56402" y="0"/>
                      </a:cubicBezTo>
                      <a:cubicBezTo>
                        <a:pt x="51140" y="1484"/>
                        <a:pt x="5397" y="14033"/>
                        <a:pt x="0" y="15517"/>
                      </a:cubicBezTo>
                      <a:cubicBezTo>
                        <a:pt x="69491" y="110376"/>
                        <a:pt x="34543" y="128997"/>
                        <a:pt x="32789" y="141950"/>
                      </a:cubicBezTo>
                      <a:cubicBezTo>
                        <a:pt x="25772" y="147752"/>
                        <a:pt x="19430" y="154634"/>
                        <a:pt x="14708" y="163135"/>
                      </a:cubicBezTo>
                      <a:cubicBezTo>
                        <a:pt x="-5802" y="199297"/>
                        <a:pt x="6882" y="245174"/>
                        <a:pt x="43044" y="265684"/>
                      </a:cubicBezTo>
                      <a:cubicBezTo>
                        <a:pt x="79341" y="286059"/>
                        <a:pt x="125218" y="273376"/>
                        <a:pt x="145728" y="237348"/>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90" name="Freeform: Shape 222">
                  <a:extLst>
                    <a:ext uri="{FF2B5EF4-FFF2-40B4-BE49-F238E27FC236}">
                      <a16:creationId xmlns:a16="http://schemas.microsoft.com/office/drawing/2014/main" id="{31A9735B-02CA-2A48-B9B5-AE72B1803909}"/>
                    </a:ext>
                  </a:extLst>
                </p:cNvPr>
                <p:cNvSpPr/>
                <p:nvPr/>
              </p:nvSpPr>
              <p:spPr>
                <a:xfrm>
                  <a:off x="6421714" y="1777810"/>
                  <a:ext cx="240518" cy="320938"/>
                </a:xfrm>
                <a:custGeom>
                  <a:avLst/>
                  <a:gdLst>
                    <a:gd name="connsiteX0" fmla="*/ 125623 w 240518"/>
                    <a:gd name="connsiteY0" fmla="*/ 3305 h 320938"/>
                    <a:gd name="connsiteX1" fmla="*/ 62339 w 240518"/>
                    <a:gd name="connsiteY1" fmla="*/ 114895 h 320938"/>
                    <a:gd name="connsiteX2" fmla="*/ 80016 w 240518"/>
                    <a:gd name="connsiteY2" fmla="*/ 148494 h 320938"/>
                    <a:gd name="connsiteX3" fmla="*/ 0 w 240518"/>
                    <a:gd name="connsiteY3" fmla="*/ 286126 h 320938"/>
                    <a:gd name="connsiteX4" fmla="*/ 61260 w 240518"/>
                    <a:gd name="connsiteY4" fmla="*/ 320939 h 320938"/>
                    <a:gd name="connsiteX5" fmla="*/ 140466 w 240518"/>
                    <a:gd name="connsiteY5" fmla="*/ 180743 h 320938"/>
                    <a:gd name="connsiteX6" fmla="*/ 173929 w 240518"/>
                    <a:gd name="connsiteY6" fmla="*/ 178179 h 320938"/>
                    <a:gd name="connsiteX7" fmla="*/ 237213 w 240518"/>
                    <a:gd name="connsiteY7" fmla="*/ 66589 h 320938"/>
                    <a:gd name="connsiteX8" fmla="*/ 125623 w 240518"/>
                    <a:gd name="connsiteY8" fmla="*/ 3305 h 32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518" h="320938">
                      <a:moveTo>
                        <a:pt x="125623" y="3305"/>
                      </a:moveTo>
                      <a:cubicBezTo>
                        <a:pt x="77317" y="16664"/>
                        <a:pt x="48981" y="66589"/>
                        <a:pt x="62339" y="114895"/>
                      </a:cubicBezTo>
                      <a:cubicBezTo>
                        <a:pt x="65848" y="127714"/>
                        <a:pt x="72055" y="138914"/>
                        <a:pt x="80016" y="148494"/>
                      </a:cubicBezTo>
                      <a:cubicBezTo>
                        <a:pt x="80016" y="148494"/>
                        <a:pt x="100256" y="195046"/>
                        <a:pt x="0" y="286126"/>
                      </a:cubicBezTo>
                      <a:cubicBezTo>
                        <a:pt x="5802" y="289365"/>
                        <a:pt x="55458" y="317566"/>
                        <a:pt x="61260" y="320939"/>
                      </a:cubicBezTo>
                      <a:cubicBezTo>
                        <a:pt x="82849" y="180878"/>
                        <a:pt x="128052" y="190458"/>
                        <a:pt x="140466" y="180743"/>
                      </a:cubicBezTo>
                      <a:cubicBezTo>
                        <a:pt x="151395" y="181822"/>
                        <a:pt x="162595" y="181283"/>
                        <a:pt x="173929" y="178179"/>
                      </a:cubicBezTo>
                      <a:cubicBezTo>
                        <a:pt x="222236" y="164821"/>
                        <a:pt x="250572" y="114895"/>
                        <a:pt x="237213" y="66589"/>
                      </a:cubicBezTo>
                      <a:cubicBezTo>
                        <a:pt x="223855" y="18283"/>
                        <a:pt x="173795" y="-10053"/>
                        <a:pt x="125623" y="3305"/>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91" name="Freeform: Shape 223">
                  <a:extLst>
                    <a:ext uri="{FF2B5EF4-FFF2-40B4-BE49-F238E27FC236}">
                      <a16:creationId xmlns:a16="http://schemas.microsoft.com/office/drawing/2014/main" id="{FB9E295A-B1C4-0B46-9581-C7633FC6EDCE}"/>
                    </a:ext>
                  </a:extLst>
                </p:cNvPr>
                <p:cNvSpPr/>
                <p:nvPr/>
              </p:nvSpPr>
              <p:spPr>
                <a:xfrm>
                  <a:off x="6675929" y="2222934"/>
                  <a:ext cx="219826" cy="125173"/>
                </a:xfrm>
                <a:custGeom>
                  <a:avLst/>
                  <a:gdLst>
                    <a:gd name="connsiteX0" fmla="*/ 191336 w 219826"/>
                    <a:gd name="connsiteY0" fmla="*/ 7376 h 125173"/>
                    <a:gd name="connsiteX1" fmla="*/ 114424 w 219826"/>
                    <a:gd name="connsiteY1" fmla="*/ 28561 h 125173"/>
                    <a:gd name="connsiteX2" fmla="*/ 107407 w 219826"/>
                    <a:gd name="connsiteY2" fmla="*/ 51095 h 125173"/>
                    <a:gd name="connsiteX3" fmla="*/ 0 w 219826"/>
                    <a:gd name="connsiteY3" fmla="*/ 82939 h 125173"/>
                    <a:gd name="connsiteX4" fmla="*/ 11604 w 219826"/>
                    <a:gd name="connsiteY4" fmla="*/ 125173 h 125173"/>
                    <a:gd name="connsiteX5" fmla="*/ 119686 w 219826"/>
                    <a:gd name="connsiteY5" fmla="*/ 91844 h 125173"/>
                    <a:gd name="connsiteX6" fmla="*/ 135473 w 219826"/>
                    <a:gd name="connsiteY6" fmla="*/ 105338 h 125173"/>
                    <a:gd name="connsiteX7" fmla="*/ 212386 w 219826"/>
                    <a:gd name="connsiteY7" fmla="*/ 84153 h 125173"/>
                    <a:gd name="connsiteX8" fmla="*/ 191336 w 219826"/>
                    <a:gd name="connsiteY8" fmla="*/ 7376 h 125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826" h="125173">
                      <a:moveTo>
                        <a:pt x="191336" y="7376"/>
                      </a:moveTo>
                      <a:cubicBezTo>
                        <a:pt x="164214" y="-8006"/>
                        <a:pt x="129806" y="1439"/>
                        <a:pt x="114424" y="28561"/>
                      </a:cubicBezTo>
                      <a:cubicBezTo>
                        <a:pt x="110376" y="35712"/>
                        <a:pt x="108082" y="43403"/>
                        <a:pt x="107407" y="51095"/>
                      </a:cubicBezTo>
                      <a:cubicBezTo>
                        <a:pt x="96747" y="58516"/>
                        <a:pt x="84199" y="86987"/>
                        <a:pt x="0" y="82939"/>
                      </a:cubicBezTo>
                      <a:cubicBezTo>
                        <a:pt x="1079" y="86987"/>
                        <a:pt x="10525" y="121260"/>
                        <a:pt x="11604" y="125173"/>
                      </a:cubicBezTo>
                      <a:cubicBezTo>
                        <a:pt x="82714" y="73089"/>
                        <a:pt x="109971" y="90495"/>
                        <a:pt x="119686" y="91844"/>
                      </a:cubicBezTo>
                      <a:cubicBezTo>
                        <a:pt x="124004" y="97107"/>
                        <a:pt x="129266" y="101830"/>
                        <a:pt x="135473" y="105338"/>
                      </a:cubicBezTo>
                      <a:cubicBezTo>
                        <a:pt x="162595" y="120720"/>
                        <a:pt x="197003" y="111275"/>
                        <a:pt x="212386" y="84153"/>
                      </a:cubicBezTo>
                      <a:cubicBezTo>
                        <a:pt x="227903" y="57167"/>
                        <a:pt x="218322" y="22758"/>
                        <a:pt x="191336" y="7376"/>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92" name="Freeform: Shape 224">
                  <a:extLst>
                    <a:ext uri="{FF2B5EF4-FFF2-40B4-BE49-F238E27FC236}">
                      <a16:creationId xmlns:a16="http://schemas.microsoft.com/office/drawing/2014/main" id="{6355B87C-884E-3C47-81EC-A77E7AB3331D}"/>
                    </a:ext>
                  </a:extLst>
                </p:cNvPr>
                <p:cNvSpPr/>
                <p:nvPr/>
              </p:nvSpPr>
              <p:spPr>
                <a:xfrm>
                  <a:off x="6617773" y="2642937"/>
                  <a:ext cx="265978" cy="202751"/>
                </a:xfrm>
                <a:custGeom>
                  <a:avLst/>
                  <a:gdLst>
                    <a:gd name="connsiteX0" fmla="*/ 262985 w 265978"/>
                    <a:gd name="connsiteY0" fmla="*/ 97557 h 202751"/>
                    <a:gd name="connsiteX1" fmla="*/ 160841 w 265978"/>
                    <a:gd name="connsiteY1" fmla="*/ 39671 h 202751"/>
                    <a:gd name="connsiteX2" fmla="*/ 130076 w 265978"/>
                    <a:gd name="connsiteY2" fmla="*/ 55863 h 202751"/>
                    <a:gd name="connsiteX3" fmla="*/ 36162 w 265978"/>
                    <a:gd name="connsiteY3" fmla="*/ 0 h 202751"/>
                    <a:gd name="connsiteX4" fmla="*/ 0 w 265978"/>
                    <a:gd name="connsiteY4" fmla="*/ 47362 h 202751"/>
                    <a:gd name="connsiteX5" fmla="*/ 100526 w 265978"/>
                    <a:gd name="connsiteY5" fmla="*/ 111185 h 202751"/>
                    <a:gd name="connsiteX6" fmla="*/ 102954 w 265978"/>
                    <a:gd name="connsiteY6" fmla="*/ 141815 h 202751"/>
                    <a:gd name="connsiteX7" fmla="*/ 205099 w 265978"/>
                    <a:gd name="connsiteY7" fmla="*/ 199702 h 202751"/>
                    <a:gd name="connsiteX8" fmla="*/ 262985 w 265978"/>
                    <a:gd name="connsiteY8" fmla="*/ 97557 h 20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978" h="202751">
                      <a:moveTo>
                        <a:pt x="262985" y="97557"/>
                      </a:moveTo>
                      <a:cubicBezTo>
                        <a:pt x="250841" y="53299"/>
                        <a:pt x="205099" y="27392"/>
                        <a:pt x="160841" y="39671"/>
                      </a:cubicBezTo>
                      <a:cubicBezTo>
                        <a:pt x="149102" y="42909"/>
                        <a:pt x="138847" y="48576"/>
                        <a:pt x="130076" y="55863"/>
                      </a:cubicBezTo>
                      <a:cubicBezTo>
                        <a:pt x="111320" y="52489"/>
                        <a:pt x="70435" y="71650"/>
                        <a:pt x="36162" y="0"/>
                      </a:cubicBezTo>
                      <a:cubicBezTo>
                        <a:pt x="33194" y="5262"/>
                        <a:pt x="2968" y="41964"/>
                        <a:pt x="0" y="47362"/>
                      </a:cubicBezTo>
                      <a:cubicBezTo>
                        <a:pt x="102819" y="55728"/>
                        <a:pt x="91755" y="99716"/>
                        <a:pt x="100526" y="111185"/>
                      </a:cubicBezTo>
                      <a:cubicBezTo>
                        <a:pt x="99446" y="121170"/>
                        <a:pt x="100121" y="131425"/>
                        <a:pt x="102954" y="141815"/>
                      </a:cubicBezTo>
                      <a:cubicBezTo>
                        <a:pt x="115098" y="186073"/>
                        <a:pt x="160841" y="211981"/>
                        <a:pt x="205099" y="199702"/>
                      </a:cubicBezTo>
                      <a:cubicBezTo>
                        <a:pt x="249222" y="187423"/>
                        <a:pt x="275129" y="141680"/>
                        <a:pt x="262985" y="97557"/>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93" name="Freeform: Shape 225">
                  <a:extLst>
                    <a:ext uri="{FF2B5EF4-FFF2-40B4-BE49-F238E27FC236}">
                      <a16:creationId xmlns:a16="http://schemas.microsoft.com/office/drawing/2014/main" id="{C747819A-54EF-D74B-8355-754792DE8519}"/>
                    </a:ext>
                  </a:extLst>
                </p:cNvPr>
                <p:cNvSpPr/>
                <p:nvPr/>
              </p:nvSpPr>
              <p:spPr>
                <a:xfrm>
                  <a:off x="6407141" y="2763432"/>
                  <a:ext cx="105787" cy="122384"/>
                </a:xfrm>
                <a:custGeom>
                  <a:avLst/>
                  <a:gdLst>
                    <a:gd name="connsiteX0" fmla="*/ 57752 w 105787"/>
                    <a:gd name="connsiteY0" fmla="*/ 122385 h 122384"/>
                    <a:gd name="connsiteX1" fmla="*/ 105788 w 105787"/>
                    <a:gd name="connsiteY1" fmla="*/ 91350 h 122384"/>
                    <a:gd name="connsiteX2" fmla="*/ 54513 w 105787"/>
                    <a:gd name="connsiteY2" fmla="*/ 0 h 122384"/>
                    <a:gd name="connsiteX3" fmla="*/ 0 w 105787"/>
                    <a:gd name="connsiteY3" fmla="*/ 24018 h 122384"/>
                    <a:gd name="connsiteX4" fmla="*/ 57752 w 105787"/>
                    <a:gd name="connsiteY4" fmla="*/ 122385 h 122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87" h="122384">
                      <a:moveTo>
                        <a:pt x="57752" y="122385"/>
                      </a:moveTo>
                      <a:cubicBezTo>
                        <a:pt x="73269" y="111185"/>
                        <a:pt x="89191" y="100660"/>
                        <a:pt x="105788" y="91350"/>
                      </a:cubicBezTo>
                      <a:cubicBezTo>
                        <a:pt x="88247" y="81230"/>
                        <a:pt x="50330" y="72864"/>
                        <a:pt x="54513" y="0"/>
                      </a:cubicBezTo>
                      <a:cubicBezTo>
                        <a:pt x="49386" y="3238"/>
                        <a:pt x="5262" y="20780"/>
                        <a:pt x="0" y="24018"/>
                      </a:cubicBezTo>
                      <a:cubicBezTo>
                        <a:pt x="75698" y="73944"/>
                        <a:pt x="60855" y="105788"/>
                        <a:pt x="57752" y="122385"/>
                      </a:cubicBezTo>
                      <a:close/>
                    </a:path>
                  </a:pathLst>
                </a:custGeom>
                <a:solidFill>
                  <a:srgbClr val="B35252"/>
                </a:solidFill>
                <a:ln w="1349" cap="flat">
                  <a:noFill/>
                  <a:prstDash val="solid"/>
                  <a:miter/>
                </a:ln>
              </p:spPr>
              <p:txBody>
                <a:bodyPr rtlCol="0" anchor="ctr"/>
                <a:lstStyle/>
                <a:p>
                  <a:endParaRPr lang="en-IN">
                    <a:latin typeface="+mn-lt"/>
                  </a:endParaRPr>
                </a:p>
              </p:txBody>
            </p:sp>
            <p:sp>
              <p:nvSpPr>
                <p:cNvPr id="94" name="Freeform: Shape 226">
                  <a:extLst>
                    <a:ext uri="{FF2B5EF4-FFF2-40B4-BE49-F238E27FC236}">
                      <a16:creationId xmlns:a16="http://schemas.microsoft.com/office/drawing/2014/main" id="{B50A04B2-CC2C-C740-99F1-B96EAAB39D6E}"/>
                    </a:ext>
                  </a:extLst>
                </p:cNvPr>
                <p:cNvSpPr/>
                <p:nvPr/>
              </p:nvSpPr>
              <p:spPr>
                <a:xfrm>
                  <a:off x="5855490" y="2818080"/>
                  <a:ext cx="214452" cy="316646"/>
                </a:xfrm>
                <a:custGeom>
                  <a:avLst/>
                  <a:gdLst>
                    <a:gd name="connsiteX0" fmla="*/ 178965 w 214452"/>
                    <a:gd name="connsiteY0" fmla="*/ 275129 h 316646"/>
                    <a:gd name="connsiteX1" fmla="*/ 194482 w 214452"/>
                    <a:gd name="connsiteY1" fmla="*/ 237483 h 316646"/>
                    <a:gd name="connsiteX2" fmla="*/ 161963 w 214452"/>
                    <a:gd name="connsiteY2" fmla="*/ 146268 h 316646"/>
                    <a:gd name="connsiteX3" fmla="*/ 214452 w 214452"/>
                    <a:gd name="connsiteY3" fmla="*/ 18486 h 316646"/>
                    <a:gd name="connsiteX4" fmla="*/ 172893 w 214452"/>
                    <a:gd name="connsiteY4" fmla="*/ 0 h 316646"/>
                    <a:gd name="connsiteX5" fmla="*/ 92472 w 214452"/>
                    <a:gd name="connsiteY5" fmla="*/ 122385 h 316646"/>
                    <a:gd name="connsiteX6" fmla="*/ 12592 w 214452"/>
                    <a:gd name="connsiteY6" fmla="*/ 172580 h 316646"/>
                    <a:gd name="connsiteX7" fmla="*/ 43 w 214452"/>
                    <a:gd name="connsiteY7" fmla="*/ 218592 h 316646"/>
                    <a:gd name="connsiteX8" fmla="*/ 178965 w 214452"/>
                    <a:gd name="connsiteY8" fmla="*/ 275129 h 316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452" h="316646">
                      <a:moveTo>
                        <a:pt x="178965" y="275129"/>
                      </a:moveTo>
                      <a:cubicBezTo>
                        <a:pt x="187466" y="264335"/>
                        <a:pt x="192728" y="251111"/>
                        <a:pt x="194482" y="237483"/>
                      </a:cubicBezTo>
                      <a:cubicBezTo>
                        <a:pt x="199340" y="196463"/>
                        <a:pt x="184632" y="166103"/>
                        <a:pt x="161963" y="146268"/>
                      </a:cubicBezTo>
                      <a:cubicBezTo>
                        <a:pt x="161963" y="146268"/>
                        <a:pt x="123777" y="131965"/>
                        <a:pt x="214452" y="18486"/>
                      </a:cubicBezTo>
                      <a:cubicBezTo>
                        <a:pt x="207706" y="16057"/>
                        <a:pt x="172893" y="0"/>
                        <a:pt x="172893" y="0"/>
                      </a:cubicBezTo>
                      <a:cubicBezTo>
                        <a:pt x="157240" y="128322"/>
                        <a:pt x="92472" y="122385"/>
                        <a:pt x="92472" y="122385"/>
                      </a:cubicBezTo>
                      <a:cubicBezTo>
                        <a:pt x="63462" y="124004"/>
                        <a:pt x="34046" y="137362"/>
                        <a:pt x="12592" y="172580"/>
                      </a:cubicBezTo>
                      <a:cubicBezTo>
                        <a:pt x="4091" y="186478"/>
                        <a:pt x="-497" y="202400"/>
                        <a:pt x="43" y="218592"/>
                      </a:cubicBezTo>
                      <a:cubicBezTo>
                        <a:pt x="3281" y="313855"/>
                        <a:pt x="117840" y="353121"/>
                        <a:pt x="178965" y="275129"/>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95" name="Freeform: Shape 227">
                  <a:extLst>
                    <a:ext uri="{FF2B5EF4-FFF2-40B4-BE49-F238E27FC236}">
                      <a16:creationId xmlns:a16="http://schemas.microsoft.com/office/drawing/2014/main" id="{DC9F7093-F5AC-134B-B371-1B6E63390CFE}"/>
                    </a:ext>
                  </a:extLst>
                </p:cNvPr>
                <p:cNvSpPr/>
                <p:nvPr/>
              </p:nvSpPr>
              <p:spPr>
                <a:xfrm>
                  <a:off x="6545988" y="2014953"/>
                  <a:ext cx="132507" cy="129674"/>
                </a:xfrm>
                <a:custGeom>
                  <a:avLst/>
                  <a:gdLst>
                    <a:gd name="connsiteX0" fmla="*/ 92295 w 132507"/>
                    <a:gd name="connsiteY0" fmla="*/ 3 h 129674"/>
                    <a:gd name="connsiteX1" fmla="*/ 51410 w 132507"/>
                    <a:gd name="connsiteY1" fmla="*/ 40213 h 129674"/>
                    <a:gd name="connsiteX2" fmla="*/ 54918 w 132507"/>
                    <a:gd name="connsiteY2" fmla="*/ 56945 h 129674"/>
                    <a:gd name="connsiteX3" fmla="*/ 0 w 132507"/>
                    <a:gd name="connsiteY3" fmla="*/ 107140 h 129674"/>
                    <a:gd name="connsiteX4" fmla="*/ 22129 w 132507"/>
                    <a:gd name="connsiteY4" fmla="*/ 129674 h 129674"/>
                    <a:gd name="connsiteX5" fmla="*/ 76912 w 132507"/>
                    <a:gd name="connsiteY5" fmla="*/ 78264 h 129674"/>
                    <a:gd name="connsiteX6" fmla="*/ 91620 w 132507"/>
                    <a:gd name="connsiteY6" fmla="*/ 81233 h 129674"/>
                    <a:gd name="connsiteX7" fmla="*/ 132505 w 132507"/>
                    <a:gd name="connsiteY7" fmla="*/ 41023 h 129674"/>
                    <a:gd name="connsiteX8" fmla="*/ 92295 w 132507"/>
                    <a:gd name="connsiteY8" fmla="*/ 3 h 129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507" h="129674">
                      <a:moveTo>
                        <a:pt x="92295" y="3"/>
                      </a:moveTo>
                      <a:cubicBezTo>
                        <a:pt x="69896" y="-267"/>
                        <a:pt x="51545" y="17814"/>
                        <a:pt x="51410" y="40213"/>
                      </a:cubicBezTo>
                      <a:cubicBezTo>
                        <a:pt x="51410" y="46150"/>
                        <a:pt x="52624" y="51818"/>
                        <a:pt x="54918" y="56945"/>
                      </a:cubicBezTo>
                      <a:cubicBezTo>
                        <a:pt x="50870" y="65311"/>
                        <a:pt x="54378" y="80288"/>
                        <a:pt x="0" y="107140"/>
                      </a:cubicBezTo>
                      <a:cubicBezTo>
                        <a:pt x="2024" y="109299"/>
                        <a:pt x="20105" y="127515"/>
                        <a:pt x="22129" y="129674"/>
                      </a:cubicBezTo>
                      <a:cubicBezTo>
                        <a:pt x="48576" y="72058"/>
                        <a:pt x="70435" y="80963"/>
                        <a:pt x="76912" y="78264"/>
                      </a:cubicBezTo>
                      <a:cubicBezTo>
                        <a:pt x="81500" y="80154"/>
                        <a:pt x="86358" y="81233"/>
                        <a:pt x="91620" y="81233"/>
                      </a:cubicBezTo>
                      <a:cubicBezTo>
                        <a:pt x="114019" y="81503"/>
                        <a:pt x="132370" y="63422"/>
                        <a:pt x="132505" y="41023"/>
                      </a:cubicBezTo>
                      <a:cubicBezTo>
                        <a:pt x="132775" y="18624"/>
                        <a:pt x="114694" y="273"/>
                        <a:pt x="92295" y="3"/>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96" name="Freeform: Shape 228">
                  <a:extLst>
                    <a:ext uri="{FF2B5EF4-FFF2-40B4-BE49-F238E27FC236}">
                      <a16:creationId xmlns:a16="http://schemas.microsoft.com/office/drawing/2014/main" id="{9E0D8666-A22A-5348-9C52-1FDA95BB6251}"/>
                    </a:ext>
                  </a:extLst>
                </p:cNvPr>
                <p:cNvSpPr/>
                <p:nvPr/>
              </p:nvSpPr>
              <p:spPr>
                <a:xfrm>
                  <a:off x="6465438" y="2114407"/>
                  <a:ext cx="217232" cy="217232"/>
                </a:xfrm>
                <a:custGeom>
                  <a:avLst/>
                  <a:gdLst>
                    <a:gd name="connsiteX0" fmla="*/ 170011 w 217232"/>
                    <a:gd name="connsiteY0" fmla="*/ 198212 h 217232"/>
                    <a:gd name="connsiteX1" fmla="*/ 198212 w 217232"/>
                    <a:gd name="connsiteY1" fmla="*/ 47221 h 217232"/>
                    <a:gd name="connsiteX2" fmla="*/ 47221 w 217232"/>
                    <a:gd name="connsiteY2" fmla="*/ 19020 h 217232"/>
                    <a:gd name="connsiteX3" fmla="*/ 19020 w 217232"/>
                    <a:gd name="connsiteY3" fmla="*/ 170011 h 217232"/>
                    <a:gd name="connsiteX4" fmla="*/ 170011 w 217232"/>
                    <a:gd name="connsiteY4" fmla="*/ 198212 h 217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232" h="217232">
                      <a:moveTo>
                        <a:pt x="170011" y="198212"/>
                      </a:moveTo>
                      <a:cubicBezTo>
                        <a:pt x="219532" y="164344"/>
                        <a:pt x="232080" y="96607"/>
                        <a:pt x="198212" y="47221"/>
                      </a:cubicBezTo>
                      <a:cubicBezTo>
                        <a:pt x="164344" y="-2299"/>
                        <a:pt x="96607" y="-14848"/>
                        <a:pt x="47221" y="19020"/>
                      </a:cubicBezTo>
                      <a:cubicBezTo>
                        <a:pt x="-2299" y="52889"/>
                        <a:pt x="-14848" y="120625"/>
                        <a:pt x="19020" y="170011"/>
                      </a:cubicBezTo>
                      <a:cubicBezTo>
                        <a:pt x="52889" y="219532"/>
                        <a:pt x="120625" y="232080"/>
                        <a:pt x="170011" y="198212"/>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97" name="Freeform: Shape 229">
                  <a:extLst>
                    <a:ext uri="{FF2B5EF4-FFF2-40B4-BE49-F238E27FC236}">
                      <a16:creationId xmlns:a16="http://schemas.microsoft.com/office/drawing/2014/main" id="{F647A3A8-52AC-5C42-9015-AC96E4DD4F21}"/>
                    </a:ext>
                  </a:extLst>
                </p:cNvPr>
                <p:cNvSpPr/>
                <p:nvPr/>
              </p:nvSpPr>
              <p:spPr>
                <a:xfrm>
                  <a:off x="5618314" y="2544254"/>
                  <a:ext cx="229257" cy="149194"/>
                </a:xfrm>
                <a:custGeom>
                  <a:avLst/>
                  <a:gdLst>
                    <a:gd name="connsiteX0" fmla="*/ 37786 w 229257"/>
                    <a:gd name="connsiteY0" fmla="*/ 139433 h 149194"/>
                    <a:gd name="connsiteX1" fmla="*/ 139526 w 229257"/>
                    <a:gd name="connsiteY1" fmla="*/ 111367 h 149194"/>
                    <a:gd name="connsiteX2" fmla="*/ 148837 w 229257"/>
                    <a:gd name="connsiteY2" fmla="*/ 81546 h 149194"/>
                    <a:gd name="connsiteX3" fmla="*/ 229257 w 229257"/>
                    <a:gd name="connsiteY3" fmla="*/ 66164 h 149194"/>
                    <a:gd name="connsiteX4" fmla="*/ 213875 w 229257"/>
                    <a:gd name="connsiteY4" fmla="*/ 10301 h 149194"/>
                    <a:gd name="connsiteX5" fmla="*/ 132510 w 229257"/>
                    <a:gd name="connsiteY5" fmla="*/ 27708 h 149194"/>
                    <a:gd name="connsiteX6" fmla="*/ 111595 w 229257"/>
                    <a:gd name="connsiteY6" fmla="*/ 9762 h 149194"/>
                    <a:gd name="connsiteX7" fmla="*/ 9855 w 229257"/>
                    <a:gd name="connsiteY7" fmla="*/ 37828 h 149194"/>
                    <a:gd name="connsiteX8" fmla="*/ 37786 w 229257"/>
                    <a:gd name="connsiteY8" fmla="*/ 139433 h 14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57" h="149194">
                      <a:moveTo>
                        <a:pt x="37786" y="139433"/>
                      </a:moveTo>
                      <a:cubicBezTo>
                        <a:pt x="73679" y="159808"/>
                        <a:pt x="119151" y="147259"/>
                        <a:pt x="139526" y="111367"/>
                      </a:cubicBezTo>
                      <a:cubicBezTo>
                        <a:pt x="144924" y="101921"/>
                        <a:pt x="147892" y="91666"/>
                        <a:pt x="148837" y="81546"/>
                      </a:cubicBezTo>
                      <a:cubicBezTo>
                        <a:pt x="162870" y="71831"/>
                        <a:pt x="117937" y="60767"/>
                        <a:pt x="229257" y="66164"/>
                      </a:cubicBezTo>
                      <a:cubicBezTo>
                        <a:pt x="227773" y="60902"/>
                        <a:pt x="215224" y="15564"/>
                        <a:pt x="213875" y="10301"/>
                      </a:cubicBezTo>
                      <a:cubicBezTo>
                        <a:pt x="119826" y="79253"/>
                        <a:pt x="145329" y="29327"/>
                        <a:pt x="132510" y="27708"/>
                      </a:cubicBezTo>
                      <a:cubicBezTo>
                        <a:pt x="126843" y="20691"/>
                        <a:pt x="119826" y="14484"/>
                        <a:pt x="111595" y="9762"/>
                      </a:cubicBezTo>
                      <a:cubicBezTo>
                        <a:pt x="75703" y="-10613"/>
                        <a:pt x="30230" y="1936"/>
                        <a:pt x="9855" y="37828"/>
                      </a:cubicBezTo>
                      <a:cubicBezTo>
                        <a:pt x="-10655" y="73450"/>
                        <a:pt x="1894" y="119058"/>
                        <a:pt x="37786" y="139433"/>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98" name="Freeform: Shape 230">
                  <a:extLst>
                    <a:ext uri="{FF2B5EF4-FFF2-40B4-BE49-F238E27FC236}">
                      <a16:creationId xmlns:a16="http://schemas.microsoft.com/office/drawing/2014/main" id="{AC795C1B-B093-5649-87BC-AE61BB7F4AA2}"/>
                    </a:ext>
                  </a:extLst>
                </p:cNvPr>
                <p:cNvSpPr/>
                <p:nvPr/>
              </p:nvSpPr>
              <p:spPr>
                <a:xfrm>
                  <a:off x="5689036" y="2094537"/>
                  <a:ext cx="230724" cy="172879"/>
                </a:xfrm>
                <a:custGeom>
                  <a:avLst/>
                  <a:gdLst>
                    <a:gd name="connsiteX0" fmla="*/ 2012 w 230724"/>
                    <a:gd name="connsiteY0" fmla="*/ 97181 h 172879"/>
                    <a:gd name="connsiteX1" fmla="*/ 88775 w 230724"/>
                    <a:gd name="connsiteY1" fmla="*/ 146432 h 172879"/>
                    <a:gd name="connsiteX2" fmla="*/ 201444 w 230724"/>
                    <a:gd name="connsiteY2" fmla="*/ 172879 h 172879"/>
                    <a:gd name="connsiteX3" fmla="*/ 230725 w 230724"/>
                    <a:gd name="connsiteY3" fmla="*/ 121334 h 172879"/>
                    <a:gd name="connsiteX4" fmla="*/ 142073 w 230724"/>
                    <a:gd name="connsiteY4" fmla="*/ 52653 h 172879"/>
                    <a:gd name="connsiteX5" fmla="*/ 55311 w 230724"/>
                    <a:gd name="connsiteY5" fmla="*/ 3402 h 172879"/>
                    <a:gd name="connsiteX6" fmla="*/ 2012 w 230724"/>
                    <a:gd name="connsiteY6" fmla="*/ 97181 h 17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724" h="172879">
                      <a:moveTo>
                        <a:pt x="2012" y="97181"/>
                      </a:moveTo>
                      <a:cubicBezTo>
                        <a:pt x="11323" y="136717"/>
                        <a:pt x="50049" y="158711"/>
                        <a:pt x="88775" y="146432"/>
                      </a:cubicBezTo>
                      <a:cubicBezTo>
                        <a:pt x="99030" y="143194"/>
                        <a:pt x="131953" y="92594"/>
                        <a:pt x="201444" y="172879"/>
                      </a:cubicBezTo>
                      <a:cubicBezTo>
                        <a:pt x="204143" y="168021"/>
                        <a:pt x="227891" y="126192"/>
                        <a:pt x="230725" y="121334"/>
                      </a:cubicBezTo>
                      <a:cubicBezTo>
                        <a:pt x="120214" y="107301"/>
                        <a:pt x="144232" y="61829"/>
                        <a:pt x="142073" y="52653"/>
                      </a:cubicBezTo>
                      <a:cubicBezTo>
                        <a:pt x="132763" y="13118"/>
                        <a:pt x="94037" y="-8876"/>
                        <a:pt x="55311" y="3402"/>
                      </a:cubicBezTo>
                      <a:cubicBezTo>
                        <a:pt x="16585" y="15681"/>
                        <a:pt x="-7298" y="57646"/>
                        <a:pt x="2012" y="97181"/>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99" name="Freeform: Shape 231">
                  <a:extLst>
                    <a:ext uri="{FF2B5EF4-FFF2-40B4-BE49-F238E27FC236}">
                      <a16:creationId xmlns:a16="http://schemas.microsoft.com/office/drawing/2014/main" id="{4F042025-12A1-444F-9F34-C0AC74145554}"/>
                    </a:ext>
                  </a:extLst>
                </p:cNvPr>
                <p:cNvSpPr/>
                <p:nvPr/>
              </p:nvSpPr>
              <p:spPr>
                <a:xfrm>
                  <a:off x="6035837" y="1755810"/>
                  <a:ext cx="162831" cy="295037"/>
                </a:xfrm>
                <a:custGeom>
                  <a:avLst/>
                  <a:gdLst>
                    <a:gd name="connsiteX0" fmla="*/ 10222 w 162831"/>
                    <a:gd name="connsiteY0" fmla="*/ 39608 h 295037"/>
                    <a:gd name="connsiteX1" fmla="*/ 39637 w 162831"/>
                    <a:gd name="connsiteY1" fmla="*/ 146071 h 295037"/>
                    <a:gd name="connsiteX2" fmla="*/ 70942 w 162831"/>
                    <a:gd name="connsiteY2" fmla="*/ 155786 h 295037"/>
                    <a:gd name="connsiteX3" fmla="*/ 104135 w 162831"/>
                    <a:gd name="connsiteY3" fmla="*/ 295038 h 295037"/>
                    <a:gd name="connsiteX4" fmla="*/ 162832 w 162831"/>
                    <a:gd name="connsiteY4" fmla="*/ 278846 h 295037"/>
                    <a:gd name="connsiteX5" fmla="*/ 127614 w 162831"/>
                    <a:gd name="connsiteY5" fmla="*/ 138650 h 295037"/>
                    <a:gd name="connsiteX6" fmla="*/ 146370 w 162831"/>
                    <a:gd name="connsiteY6" fmla="*/ 116655 h 295037"/>
                    <a:gd name="connsiteX7" fmla="*/ 116954 w 162831"/>
                    <a:gd name="connsiteY7" fmla="*/ 10193 h 295037"/>
                    <a:gd name="connsiteX8" fmla="*/ 10222 w 162831"/>
                    <a:gd name="connsiteY8" fmla="*/ 39608 h 295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831" h="295037">
                      <a:moveTo>
                        <a:pt x="10222" y="39608"/>
                      </a:moveTo>
                      <a:cubicBezTo>
                        <a:pt x="-11098" y="77120"/>
                        <a:pt x="1991" y="124751"/>
                        <a:pt x="39637" y="146071"/>
                      </a:cubicBezTo>
                      <a:cubicBezTo>
                        <a:pt x="49622" y="151738"/>
                        <a:pt x="60282" y="154707"/>
                        <a:pt x="70942" y="155786"/>
                      </a:cubicBezTo>
                      <a:cubicBezTo>
                        <a:pt x="81197" y="170494"/>
                        <a:pt x="109803" y="178455"/>
                        <a:pt x="104135" y="295038"/>
                      </a:cubicBezTo>
                      <a:cubicBezTo>
                        <a:pt x="109668" y="293553"/>
                        <a:pt x="157299" y="280330"/>
                        <a:pt x="162832" y="278846"/>
                      </a:cubicBezTo>
                      <a:cubicBezTo>
                        <a:pt x="90642" y="180479"/>
                        <a:pt x="125860" y="152008"/>
                        <a:pt x="127614" y="138650"/>
                      </a:cubicBezTo>
                      <a:cubicBezTo>
                        <a:pt x="135035" y="132712"/>
                        <a:pt x="141512" y="125426"/>
                        <a:pt x="146370" y="116655"/>
                      </a:cubicBezTo>
                      <a:cubicBezTo>
                        <a:pt x="167689" y="79144"/>
                        <a:pt x="154601" y="31377"/>
                        <a:pt x="116954" y="10193"/>
                      </a:cubicBezTo>
                      <a:cubicBezTo>
                        <a:pt x="79443" y="-11127"/>
                        <a:pt x="31676" y="2097"/>
                        <a:pt x="10222" y="39608"/>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100" name="Freeform: Shape 232">
                  <a:extLst>
                    <a:ext uri="{FF2B5EF4-FFF2-40B4-BE49-F238E27FC236}">
                      <a16:creationId xmlns:a16="http://schemas.microsoft.com/office/drawing/2014/main" id="{523C7E26-7251-D045-B493-0C396BEE425D}"/>
                    </a:ext>
                  </a:extLst>
                </p:cNvPr>
                <p:cNvSpPr/>
                <p:nvPr/>
              </p:nvSpPr>
              <p:spPr>
                <a:xfrm>
                  <a:off x="5913541" y="1912406"/>
                  <a:ext cx="149114" cy="212925"/>
                </a:xfrm>
                <a:custGeom>
                  <a:avLst/>
                  <a:gdLst>
                    <a:gd name="connsiteX0" fmla="*/ 2981 w 149114"/>
                    <a:gd name="connsiteY0" fmla="*/ 39940 h 212925"/>
                    <a:gd name="connsiteX1" fmla="*/ 39953 w 149114"/>
                    <a:gd name="connsiteY1" fmla="*/ 113479 h 212925"/>
                    <a:gd name="connsiteX2" fmla="*/ 64241 w 149114"/>
                    <a:gd name="connsiteY2" fmla="*/ 116043 h 212925"/>
                    <a:gd name="connsiteX3" fmla="*/ 108635 w 149114"/>
                    <a:gd name="connsiteY3" fmla="*/ 212925 h 212925"/>
                    <a:gd name="connsiteX4" fmla="*/ 149115 w 149114"/>
                    <a:gd name="connsiteY4" fmla="*/ 192550 h 212925"/>
                    <a:gd name="connsiteX5" fmla="*/ 102967 w 149114"/>
                    <a:gd name="connsiteY5" fmla="*/ 95263 h 212925"/>
                    <a:gd name="connsiteX6" fmla="*/ 113492 w 149114"/>
                    <a:gd name="connsiteY6" fmla="*/ 76507 h 212925"/>
                    <a:gd name="connsiteX7" fmla="*/ 76520 w 149114"/>
                    <a:gd name="connsiteY7" fmla="*/ 2969 h 212925"/>
                    <a:gd name="connsiteX8" fmla="*/ 2981 w 149114"/>
                    <a:gd name="connsiteY8" fmla="*/ 39940 h 2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114" h="212925">
                      <a:moveTo>
                        <a:pt x="2981" y="39940"/>
                      </a:moveTo>
                      <a:cubicBezTo>
                        <a:pt x="-7139" y="70435"/>
                        <a:pt x="9323" y="103359"/>
                        <a:pt x="39953" y="113479"/>
                      </a:cubicBezTo>
                      <a:cubicBezTo>
                        <a:pt x="48049" y="116178"/>
                        <a:pt x="56280" y="116853"/>
                        <a:pt x="64241" y="116043"/>
                      </a:cubicBezTo>
                      <a:cubicBezTo>
                        <a:pt x="73822" y="125219"/>
                        <a:pt x="95951" y="126973"/>
                        <a:pt x="108635" y="212925"/>
                      </a:cubicBezTo>
                      <a:cubicBezTo>
                        <a:pt x="112413" y="211036"/>
                        <a:pt x="145336" y="194439"/>
                        <a:pt x="149115" y="192550"/>
                      </a:cubicBezTo>
                      <a:cubicBezTo>
                        <a:pt x="82053" y="131156"/>
                        <a:pt x="103642" y="105248"/>
                        <a:pt x="102967" y="95263"/>
                      </a:cubicBezTo>
                      <a:cubicBezTo>
                        <a:pt x="107420" y="89866"/>
                        <a:pt x="111198" y="83659"/>
                        <a:pt x="113492" y="76507"/>
                      </a:cubicBezTo>
                      <a:cubicBezTo>
                        <a:pt x="123612" y="46012"/>
                        <a:pt x="107150" y="13089"/>
                        <a:pt x="76520" y="2969"/>
                      </a:cubicBezTo>
                      <a:cubicBezTo>
                        <a:pt x="46025" y="-7151"/>
                        <a:pt x="13102" y="9445"/>
                        <a:pt x="2981" y="39940"/>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101" name="Freeform: Shape 233">
                  <a:extLst>
                    <a:ext uri="{FF2B5EF4-FFF2-40B4-BE49-F238E27FC236}">
                      <a16:creationId xmlns:a16="http://schemas.microsoft.com/office/drawing/2014/main" id="{36F89096-B99C-0543-988A-4ACE11E13E0E}"/>
                    </a:ext>
                  </a:extLst>
                </p:cNvPr>
                <p:cNvSpPr/>
                <p:nvPr/>
              </p:nvSpPr>
              <p:spPr>
                <a:xfrm>
                  <a:off x="6684700" y="2395414"/>
                  <a:ext cx="108373" cy="57455"/>
                </a:xfrm>
                <a:custGeom>
                  <a:avLst/>
                  <a:gdLst>
                    <a:gd name="connsiteX0" fmla="*/ 98367 w 108373"/>
                    <a:gd name="connsiteY0" fmla="*/ 6936 h 57455"/>
                    <a:gd name="connsiteX1" fmla="*/ 58021 w 108373"/>
                    <a:gd name="connsiteY1" fmla="*/ 10039 h 57455"/>
                    <a:gd name="connsiteX2" fmla="*/ 52354 w 108373"/>
                    <a:gd name="connsiteY2" fmla="*/ 20564 h 57455"/>
                    <a:gd name="connsiteX3" fmla="*/ 0 w 108373"/>
                    <a:gd name="connsiteY3" fmla="*/ 22723 h 57455"/>
                    <a:gd name="connsiteX4" fmla="*/ 1754 w 108373"/>
                    <a:gd name="connsiteY4" fmla="*/ 44987 h 57455"/>
                    <a:gd name="connsiteX5" fmla="*/ 54648 w 108373"/>
                    <a:gd name="connsiteY5" fmla="*/ 42153 h 57455"/>
                    <a:gd name="connsiteX6" fmla="*/ 61260 w 108373"/>
                    <a:gd name="connsiteY6" fmla="*/ 50519 h 57455"/>
                    <a:gd name="connsiteX7" fmla="*/ 101605 w 108373"/>
                    <a:gd name="connsiteY7" fmla="*/ 47416 h 57455"/>
                    <a:gd name="connsiteX8" fmla="*/ 98367 w 108373"/>
                    <a:gd name="connsiteY8" fmla="*/ 6936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373" h="57455">
                      <a:moveTo>
                        <a:pt x="98367" y="6936"/>
                      </a:moveTo>
                      <a:cubicBezTo>
                        <a:pt x="86358" y="-3454"/>
                        <a:pt x="68276" y="-1970"/>
                        <a:pt x="58021" y="10039"/>
                      </a:cubicBezTo>
                      <a:cubicBezTo>
                        <a:pt x="55323" y="13278"/>
                        <a:pt x="53434" y="16786"/>
                        <a:pt x="52354" y="20564"/>
                      </a:cubicBezTo>
                      <a:cubicBezTo>
                        <a:pt x="46417" y="23263"/>
                        <a:pt x="41425" y="32978"/>
                        <a:pt x="0" y="22723"/>
                      </a:cubicBezTo>
                      <a:cubicBezTo>
                        <a:pt x="135" y="24882"/>
                        <a:pt x="1484" y="42828"/>
                        <a:pt x="1754" y="44987"/>
                      </a:cubicBezTo>
                      <a:cubicBezTo>
                        <a:pt x="42234" y="25961"/>
                        <a:pt x="49925" y="40669"/>
                        <a:pt x="54648" y="42153"/>
                      </a:cubicBezTo>
                      <a:cubicBezTo>
                        <a:pt x="56267" y="45257"/>
                        <a:pt x="58426" y="48091"/>
                        <a:pt x="61260" y="50519"/>
                      </a:cubicBezTo>
                      <a:cubicBezTo>
                        <a:pt x="73269" y="60909"/>
                        <a:pt x="91350" y="59425"/>
                        <a:pt x="101605" y="47416"/>
                      </a:cubicBezTo>
                      <a:cubicBezTo>
                        <a:pt x="111725" y="35407"/>
                        <a:pt x="110376" y="17326"/>
                        <a:pt x="98367" y="6936"/>
                      </a:cubicBezTo>
                      <a:close/>
                    </a:path>
                  </a:pathLst>
                </a:custGeom>
                <a:solidFill>
                  <a:srgbClr val="B35252"/>
                </a:solidFill>
                <a:ln w="1349" cap="flat">
                  <a:noFill/>
                  <a:prstDash val="solid"/>
                  <a:miter/>
                </a:ln>
              </p:spPr>
              <p:txBody>
                <a:bodyPr rtlCol="0" anchor="ctr"/>
                <a:lstStyle/>
                <a:p>
                  <a:endParaRPr lang="en-IN">
                    <a:latin typeface="+mn-lt"/>
                  </a:endParaRPr>
                </a:p>
              </p:txBody>
            </p:sp>
            <p:sp>
              <p:nvSpPr>
                <p:cNvPr id="102" name="Freeform: Shape 234">
                  <a:extLst>
                    <a:ext uri="{FF2B5EF4-FFF2-40B4-BE49-F238E27FC236}">
                      <a16:creationId xmlns:a16="http://schemas.microsoft.com/office/drawing/2014/main" id="{0DA5A3C7-EE40-6D43-BF55-A49E0B6D8138}"/>
                    </a:ext>
                  </a:extLst>
                </p:cNvPr>
                <p:cNvSpPr/>
                <p:nvPr/>
              </p:nvSpPr>
              <p:spPr>
                <a:xfrm>
                  <a:off x="5832846" y="2763432"/>
                  <a:ext cx="132387" cy="139132"/>
                </a:xfrm>
                <a:custGeom>
                  <a:avLst/>
                  <a:gdLst>
                    <a:gd name="connsiteX0" fmla="*/ 70588 w 132387"/>
                    <a:gd name="connsiteY0" fmla="*/ 135068 h 139132"/>
                    <a:gd name="connsiteX1" fmla="*/ 100274 w 132387"/>
                    <a:gd name="connsiteY1" fmla="*/ 81635 h 139132"/>
                    <a:gd name="connsiteX2" fmla="*/ 96226 w 132387"/>
                    <a:gd name="connsiteY2" fmla="*/ 58021 h 139132"/>
                    <a:gd name="connsiteX3" fmla="*/ 132388 w 132387"/>
                    <a:gd name="connsiteY3" fmla="*/ 20645 h 139132"/>
                    <a:gd name="connsiteX4" fmla="*/ 115251 w 132387"/>
                    <a:gd name="connsiteY4" fmla="*/ 0 h 139132"/>
                    <a:gd name="connsiteX5" fmla="*/ 79494 w 132387"/>
                    <a:gd name="connsiteY5" fmla="*/ 42909 h 139132"/>
                    <a:gd name="connsiteX6" fmla="*/ 23631 w 132387"/>
                    <a:gd name="connsiteY6" fmla="*/ 46282 h 139132"/>
                    <a:gd name="connsiteX7" fmla="*/ 18 w 132387"/>
                    <a:gd name="connsiteY7" fmla="*/ 87032 h 139132"/>
                    <a:gd name="connsiteX8" fmla="*/ 70588 w 132387"/>
                    <a:gd name="connsiteY8" fmla="*/ 135068 h 139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387" h="139132">
                      <a:moveTo>
                        <a:pt x="70588" y="135068"/>
                      </a:moveTo>
                      <a:cubicBezTo>
                        <a:pt x="91503" y="126433"/>
                        <a:pt x="102972" y="104034"/>
                        <a:pt x="100274" y="81635"/>
                      </a:cubicBezTo>
                      <a:cubicBezTo>
                        <a:pt x="99464" y="74888"/>
                        <a:pt x="96226" y="58021"/>
                        <a:pt x="96226" y="58021"/>
                      </a:cubicBezTo>
                      <a:cubicBezTo>
                        <a:pt x="96226" y="58021"/>
                        <a:pt x="93122" y="44393"/>
                        <a:pt x="132388" y="20645"/>
                      </a:cubicBezTo>
                      <a:cubicBezTo>
                        <a:pt x="129419" y="18351"/>
                        <a:pt x="115251" y="0"/>
                        <a:pt x="115251" y="0"/>
                      </a:cubicBezTo>
                      <a:cubicBezTo>
                        <a:pt x="86241" y="46552"/>
                        <a:pt x="79494" y="42909"/>
                        <a:pt x="79494" y="42909"/>
                      </a:cubicBezTo>
                      <a:cubicBezTo>
                        <a:pt x="55880" y="36297"/>
                        <a:pt x="36855" y="38051"/>
                        <a:pt x="23631" y="46282"/>
                      </a:cubicBezTo>
                      <a:cubicBezTo>
                        <a:pt x="9598" y="55053"/>
                        <a:pt x="423" y="70435"/>
                        <a:pt x="18" y="87032"/>
                      </a:cubicBezTo>
                      <a:cubicBezTo>
                        <a:pt x="-927" y="123599"/>
                        <a:pt x="35640" y="149506"/>
                        <a:pt x="70588" y="135068"/>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103" name="Freeform: Shape 235">
                  <a:extLst>
                    <a:ext uri="{FF2B5EF4-FFF2-40B4-BE49-F238E27FC236}">
                      <a16:creationId xmlns:a16="http://schemas.microsoft.com/office/drawing/2014/main" id="{149B1D8C-BD12-3442-A449-9FB68A585708}"/>
                    </a:ext>
                  </a:extLst>
                </p:cNvPr>
                <p:cNvSpPr/>
                <p:nvPr/>
              </p:nvSpPr>
              <p:spPr>
                <a:xfrm>
                  <a:off x="5661903" y="2362140"/>
                  <a:ext cx="173524" cy="85412"/>
                </a:xfrm>
                <a:custGeom>
                  <a:avLst/>
                  <a:gdLst>
                    <a:gd name="connsiteX0" fmla="*/ 8231 w 173524"/>
                    <a:gd name="connsiteY0" fmla="*/ 0 h 85412"/>
                    <a:gd name="connsiteX1" fmla="*/ 0 w 173524"/>
                    <a:gd name="connsiteY1" fmla="*/ 64228 h 85412"/>
                    <a:gd name="connsiteX2" fmla="*/ 165294 w 173524"/>
                    <a:gd name="connsiteY2" fmla="*/ 85413 h 85412"/>
                    <a:gd name="connsiteX3" fmla="*/ 173525 w 173524"/>
                    <a:gd name="connsiteY3" fmla="*/ 21185 h 85412"/>
                    <a:gd name="connsiteX4" fmla="*/ 8231 w 173524"/>
                    <a:gd name="connsiteY4" fmla="*/ 0 h 8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524" h="85412">
                      <a:moveTo>
                        <a:pt x="8231" y="0"/>
                      </a:moveTo>
                      <a:lnTo>
                        <a:pt x="0" y="64228"/>
                      </a:lnTo>
                      <a:cubicBezTo>
                        <a:pt x="0" y="64228"/>
                        <a:pt x="80420" y="31305"/>
                        <a:pt x="165294" y="85413"/>
                      </a:cubicBezTo>
                      <a:cubicBezTo>
                        <a:pt x="166103" y="79341"/>
                        <a:pt x="172715" y="27257"/>
                        <a:pt x="173525" y="21185"/>
                      </a:cubicBezTo>
                      <a:cubicBezTo>
                        <a:pt x="77047" y="58831"/>
                        <a:pt x="8231" y="0"/>
                        <a:pt x="8231" y="0"/>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04" name="Freeform: Shape 236">
                  <a:extLst>
                    <a:ext uri="{FF2B5EF4-FFF2-40B4-BE49-F238E27FC236}">
                      <a16:creationId xmlns:a16="http://schemas.microsoft.com/office/drawing/2014/main" id="{85443740-B8A5-B244-A6DE-B36A671A1535}"/>
                    </a:ext>
                  </a:extLst>
                </p:cNvPr>
                <p:cNvSpPr/>
                <p:nvPr/>
              </p:nvSpPr>
              <p:spPr>
                <a:xfrm>
                  <a:off x="5452482" y="2263229"/>
                  <a:ext cx="223728" cy="223769"/>
                </a:xfrm>
                <a:custGeom>
                  <a:avLst/>
                  <a:gdLst>
                    <a:gd name="connsiteX0" fmla="*/ 180276 w 223728"/>
                    <a:gd name="connsiteY0" fmla="*/ 200381 h 223769"/>
                    <a:gd name="connsiteX1" fmla="*/ 200381 w 223728"/>
                    <a:gd name="connsiteY1" fmla="*/ 43453 h 223769"/>
                    <a:gd name="connsiteX2" fmla="*/ 43453 w 223728"/>
                    <a:gd name="connsiteY2" fmla="*/ 23348 h 223769"/>
                    <a:gd name="connsiteX3" fmla="*/ 23348 w 223728"/>
                    <a:gd name="connsiteY3" fmla="*/ 180276 h 223769"/>
                    <a:gd name="connsiteX4" fmla="*/ 180276 w 223728"/>
                    <a:gd name="connsiteY4" fmla="*/ 200381 h 223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28" h="223769">
                      <a:moveTo>
                        <a:pt x="180276" y="200381"/>
                      </a:moveTo>
                      <a:cubicBezTo>
                        <a:pt x="229122" y="162599"/>
                        <a:pt x="238162" y="92299"/>
                        <a:pt x="200381" y="43453"/>
                      </a:cubicBezTo>
                      <a:cubicBezTo>
                        <a:pt x="162599" y="-5393"/>
                        <a:pt x="92299" y="-14433"/>
                        <a:pt x="43453" y="23348"/>
                      </a:cubicBezTo>
                      <a:cubicBezTo>
                        <a:pt x="-5393" y="61129"/>
                        <a:pt x="-14434" y="131430"/>
                        <a:pt x="23348" y="180276"/>
                      </a:cubicBezTo>
                      <a:cubicBezTo>
                        <a:pt x="61129" y="229257"/>
                        <a:pt x="131430" y="238162"/>
                        <a:pt x="180276" y="200381"/>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05" name="Freeform: Shape 237">
                  <a:extLst>
                    <a:ext uri="{FF2B5EF4-FFF2-40B4-BE49-F238E27FC236}">
                      <a16:creationId xmlns:a16="http://schemas.microsoft.com/office/drawing/2014/main" id="{50881ACF-0E10-5641-BD00-13101100335B}"/>
                    </a:ext>
                  </a:extLst>
                </p:cNvPr>
                <p:cNvSpPr/>
                <p:nvPr/>
              </p:nvSpPr>
              <p:spPr>
                <a:xfrm>
                  <a:off x="6259254" y="1819437"/>
                  <a:ext cx="111455" cy="209147"/>
                </a:xfrm>
                <a:custGeom>
                  <a:avLst/>
                  <a:gdLst>
                    <a:gd name="connsiteX0" fmla="*/ 111455 w 111455"/>
                    <a:gd name="connsiteY0" fmla="*/ 11065 h 209147"/>
                    <a:gd name="connsiteX1" fmla="*/ 25368 w 111455"/>
                    <a:gd name="connsiteY1" fmla="*/ 0 h 209147"/>
                    <a:gd name="connsiteX2" fmla="*/ 0 w 111455"/>
                    <a:gd name="connsiteY2" fmla="*/ 198082 h 209147"/>
                    <a:gd name="connsiteX3" fmla="*/ 86088 w 111455"/>
                    <a:gd name="connsiteY3" fmla="*/ 209147 h 209147"/>
                    <a:gd name="connsiteX4" fmla="*/ 111455 w 111455"/>
                    <a:gd name="connsiteY4" fmla="*/ 11065 h 2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55" h="209147">
                      <a:moveTo>
                        <a:pt x="111455" y="11065"/>
                      </a:moveTo>
                      <a:lnTo>
                        <a:pt x="25368" y="0"/>
                      </a:lnTo>
                      <a:cubicBezTo>
                        <a:pt x="25368" y="0"/>
                        <a:pt x="70975" y="97152"/>
                        <a:pt x="0" y="198082"/>
                      </a:cubicBezTo>
                      <a:cubicBezTo>
                        <a:pt x="8096" y="199162"/>
                        <a:pt x="77992" y="208068"/>
                        <a:pt x="86088" y="209147"/>
                      </a:cubicBezTo>
                      <a:cubicBezTo>
                        <a:pt x="34003" y="92564"/>
                        <a:pt x="111455" y="11065"/>
                        <a:pt x="111455" y="11065"/>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06" name="Freeform: Shape 238">
                  <a:extLst>
                    <a:ext uri="{FF2B5EF4-FFF2-40B4-BE49-F238E27FC236}">
                      <a16:creationId xmlns:a16="http://schemas.microsoft.com/office/drawing/2014/main" id="{F369207E-1DBD-BE45-8C68-16536E577C0C}"/>
                    </a:ext>
                  </a:extLst>
                </p:cNvPr>
                <p:cNvSpPr/>
                <p:nvPr/>
              </p:nvSpPr>
              <p:spPr>
                <a:xfrm>
                  <a:off x="6247895" y="1656597"/>
                  <a:ext cx="180996" cy="185290"/>
                </a:xfrm>
                <a:custGeom>
                  <a:avLst/>
                  <a:gdLst>
                    <a:gd name="connsiteX0" fmla="*/ 145618 w 180996"/>
                    <a:gd name="connsiteY0" fmla="*/ 165808 h 185290"/>
                    <a:gd name="connsiteX1" fmla="*/ 162215 w 180996"/>
                    <a:gd name="connsiteY1" fmla="*/ 35732 h 185290"/>
                    <a:gd name="connsiteX2" fmla="*/ 35378 w 180996"/>
                    <a:gd name="connsiteY2" fmla="*/ 19540 h 185290"/>
                    <a:gd name="connsiteX3" fmla="*/ 18781 w 180996"/>
                    <a:gd name="connsiteY3" fmla="*/ 149616 h 185290"/>
                    <a:gd name="connsiteX4" fmla="*/ 145618 w 180996"/>
                    <a:gd name="connsiteY4" fmla="*/ 165808 h 18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96" h="185290">
                      <a:moveTo>
                        <a:pt x="145618" y="165808"/>
                      </a:moveTo>
                      <a:cubicBezTo>
                        <a:pt x="185289" y="134369"/>
                        <a:pt x="192710" y="76212"/>
                        <a:pt x="162215" y="35732"/>
                      </a:cubicBezTo>
                      <a:cubicBezTo>
                        <a:pt x="131720" y="-4613"/>
                        <a:pt x="74913" y="-11899"/>
                        <a:pt x="35378" y="19540"/>
                      </a:cubicBezTo>
                      <a:cubicBezTo>
                        <a:pt x="-4293" y="50980"/>
                        <a:pt x="-11714" y="109136"/>
                        <a:pt x="18781" y="149616"/>
                      </a:cubicBezTo>
                      <a:cubicBezTo>
                        <a:pt x="49276" y="189961"/>
                        <a:pt x="106083" y="197113"/>
                        <a:pt x="145618" y="165808"/>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07" name="Freeform: Shape 239">
                  <a:extLst>
                    <a:ext uri="{FF2B5EF4-FFF2-40B4-BE49-F238E27FC236}">
                      <a16:creationId xmlns:a16="http://schemas.microsoft.com/office/drawing/2014/main" id="{91F17C58-6C0B-C947-8C8C-2487F21CF357}"/>
                    </a:ext>
                  </a:extLst>
                </p:cNvPr>
                <p:cNvSpPr/>
                <p:nvPr/>
              </p:nvSpPr>
              <p:spPr>
                <a:xfrm>
                  <a:off x="6496602" y="2775576"/>
                  <a:ext cx="143974" cy="171635"/>
                </a:xfrm>
                <a:custGeom>
                  <a:avLst/>
                  <a:gdLst>
                    <a:gd name="connsiteX0" fmla="*/ 93644 w 143974"/>
                    <a:gd name="connsiteY0" fmla="*/ 171635 h 171635"/>
                    <a:gd name="connsiteX1" fmla="*/ 143974 w 143974"/>
                    <a:gd name="connsiteY1" fmla="*/ 137227 h 171635"/>
                    <a:gd name="connsiteX2" fmla="*/ 50330 w 143974"/>
                    <a:gd name="connsiteY2" fmla="*/ 0 h 171635"/>
                    <a:gd name="connsiteX3" fmla="*/ 0 w 143974"/>
                    <a:gd name="connsiteY3" fmla="*/ 34408 h 171635"/>
                    <a:gd name="connsiteX4" fmla="*/ 93644 w 143974"/>
                    <a:gd name="connsiteY4" fmla="*/ 171635 h 171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974" h="171635">
                      <a:moveTo>
                        <a:pt x="93644" y="171635"/>
                      </a:moveTo>
                      <a:lnTo>
                        <a:pt x="143974" y="137227"/>
                      </a:lnTo>
                      <a:cubicBezTo>
                        <a:pt x="143974" y="137227"/>
                        <a:pt x="68141" y="97692"/>
                        <a:pt x="50330" y="0"/>
                      </a:cubicBezTo>
                      <a:cubicBezTo>
                        <a:pt x="45608" y="3238"/>
                        <a:pt x="4723" y="31035"/>
                        <a:pt x="0" y="34408"/>
                      </a:cubicBezTo>
                      <a:cubicBezTo>
                        <a:pt x="89731" y="82984"/>
                        <a:pt x="93644" y="171635"/>
                        <a:pt x="93644" y="171635"/>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08" name="Freeform: Shape 240">
                  <a:extLst>
                    <a:ext uri="{FF2B5EF4-FFF2-40B4-BE49-F238E27FC236}">
                      <a16:creationId xmlns:a16="http://schemas.microsoft.com/office/drawing/2014/main" id="{2740B5BB-0C43-A643-8CA0-DE7808CADF0B}"/>
                    </a:ext>
                  </a:extLst>
                </p:cNvPr>
                <p:cNvSpPr/>
                <p:nvPr/>
              </p:nvSpPr>
              <p:spPr>
                <a:xfrm>
                  <a:off x="6608327" y="2076620"/>
                  <a:ext cx="254889" cy="182969"/>
                </a:xfrm>
                <a:custGeom>
                  <a:avLst/>
                  <a:gdLst>
                    <a:gd name="connsiteX0" fmla="*/ 254889 w 254889"/>
                    <a:gd name="connsiteY0" fmla="*/ 57347 h 182969"/>
                    <a:gd name="connsiteX1" fmla="*/ 222505 w 254889"/>
                    <a:gd name="connsiteY1" fmla="*/ 0 h 182969"/>
                    <a:gd name="connsiteX2" fmla="*/ 0 w 254889"/>
                    <a:gd name="connsiteY2" fmla="*/ 125623 h 182969"/>
                    <a:gd name="connsiteX3" fmla="*/ 32384 w 254889"/>
                    <a:gd name="connsiteY3" fmla="*/ 182970 h 182969"/>
                    <a:gd name="connsiteX4" fmla="*/ 254889 w 254889"/>
                    <a:gd name="connsiteY4" fmla="*/ 57347 h 182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889" h="182969">
                      <a:moveTo>
                        <a:pt x="254889" y="57347"/>
                      </a:moveTo>
                      <a:lnTo>
                        <a:pt x="222505" y="0"/>
                      </a:lnTo>
                      <a:cubicBezTo>
                        <a:pt x="222505" y="0"/>
                        <a:pt x="142895" y="94993"/>
                        <a:pt x="0" y="125623"/>
                      </a:cubicBezTo>
                      <a:cubicBezTo>
                        <a:pt x="3103" y="131021"/>
                        <a:pt x="29281" y="177573"/>
                        <a:pt x="32384" y="182970"/>
                      </a:cubicBezTo>
                      <a:cubicBezTo>
                        <a:pt x="128996" y="70570"/>
                        <a:pt x="254889" y="57347"/>
                        <a:pt x="254889" y="57347"/>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09" name="Freeform: Shape 241">
                  <a:extLst>
                    <a:ext uri="{FF2B5EF4-FFF2-40B4-BE49-F238E27FC236}">
                      <a16:creationId xmlns:a16="http://schemas.microsoft.com/office/drawing/2014/main" id="{5A9C8C49-CB59-454B-8951-852875F3B497}"/>
                    </a:ext>
                  </a:extLst>
                </p:cNvPr>
                <p:cNvSpPr/>
                <p:nvPr/>
              </p:nvSpPr>
              <p:spPr>
                <a:xfrm>
                  <a:off x="5784558" y="1972452"/>
                  <a:ext cx="185938" cy="197542"/>
                </a:xfrm>
                <a:custGeom>
                  <a:avLst/>
                  <a:gdLst>
                    <a:gd name="connsiteX0" fmla="*/ 142760 w 185938"/>
                    <a:gd name="connsiteY0" fmla="*/ 197543 h 197542"/>
                    <a:gd name="connsiteX1" fmla="*/ 185938 w 185938"/>
                    <a:gd name="connsiteY1" fmla="*/ 158682 h 197542"/>
                    <a:gd name="connsiteX2" fmla="*/ 43179 w 185938"/>
                    <a:gd name="connsiteY2" fmla="*/ 0 h 197542"/>
                    <a:gd name="connsiteX3" fmla="*/ 0 w 185938"/>
                    <a:gd name="connsiteY3" fmla="*/ 38861 h 197542"/>
                    <a:gd name="connsiteX4" fmla="*/ 142760 w 185938"/>
                    <a:gd name="connsiteY4" fmla="*/ 197543 h 19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38" h="197542">
                      <a:moveTo>
                        <a:pt x="142760" y="197543"/>
                      </a:moveTo>
                      <a:lnTo>
                        <a:pt x="185938" y="158682"/>
                      </a:lnTo>
                      <a:cubicBezTo>
                        <a:pt x="185938" y="158682"/>
                        <a:pt x="92564" y="112400"/>
                        <a:pt x="43179" y="0"/>
                      </a:cubicBezTo>
                      <a:cubicBezTo>
                        <a:pt x="39131" y="3643"/>
                        <a:pt x="4048" y="35218"/>
                        <a:pt x="0" y="38861"/>
                      </a:cubicBezTo>
                      <a:cubicBezTo>
                        <a:pt x="110915" y="95668"/>
                        <a:pt x="142760" y="197543"/>
                        <a:pt x="142760" y="197543"/>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10" name="Freeform: Shape 242">
                  <a:extLst>
                    <a:ext uri="{FF2B5EF4-FFF2-40B4-BE49-F238E27FC236}">
                      <a16:creationId xmlns:a16="http://schemas.microsoft.com/office/drawing/2014/main" id="{59D982AA-2206-4041-B5EA-57CBE9A102F3}"/>
                    </a:ext>
                  </a:extLst>
                </p:cNvPr>
                <p:cNvSpPr/>
                <p:nvPr/>
              </p:nvSpPr>
              <p:spPr>
                <a:xfrm>
                  <a:off x="5819371" y="2015226"/>
                  <a:ext cx="881925" cy="881925"/>
                </a:xfrm>
                <a:custGeom>
                  <a:avLst/>
                  <a:gdLst>
                    <a:gd name="connsiteX0" fmla="*/ 881926 w 881925"/>
                    <a:gd name="connsiteY0" fmla="*/ 440963 h 881925"/>
                    <a:gd name="connsiteX1" fmla="*/ 440963 w 881925"/>
                    <a:gd name="connsiteY1" fmla="*/ 881926 h 881925"/>
                    <a:gd name="connsiteX2" fmla="*/ 0 w 881925"/>
                    <a:gd name="connsiteY2" fmla="*/ 440963 h 881925"/>
                    <a:gd name="connsiteX3" fmla="*/ 440963 w 881925"/>
                    <a:gd name="connsiteY3" fmla="*/ 0 h 881925"/>
                    <a:gd name="connsiteX4" fmla="*/ 881926 w 881925"/>
                    <a:gd name="connsiteY4" fmla="*/ 440963 h 88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925" h="881925">
                      <a:moveTo>
                        <a:pt x="881926" y="440963"/>
                      </a:moveTo>
                      <a:cubicBezTo>
                        <a:pt x="881926" y="684500"/>
                        <a:pt x="684500" y="881926"/>
                        <a:pt x="440963" y="881926"/>
                      </a:cubicBezTo>
                      <a:cubicBezTo>
                        <a:pt x="197426" y="881926"/>
                        <a:pt x="0" y="684500"/>
                        <a:pt x="0" y="440963"/>
                      </a:cubicBezTo>
                      <a:cubicBezTo>
                        <a:pt x="0" y="197426"/>
                        <a:pt x="197426" y="0"/>
                        <a:pt x="440963" y="0"/>
                      </a:cubicBezTo>
                      <a:cubicBezTo>
                        <a:pt x="684500" y="0"/>
                        <a:pt x="881926" y="197426"/>
                        <a:pt x="881926" y="440963"/>
                      </a:cubicBezTo>
                      <a:close/>
                    </a:path>
                  </a:pathLst>
                </a:custGeom>
                <a:solidFill>
                  <a:schemeClr val="accent3">
                    <a:lumMod val="75000"/>
                  </a:schemeClr>
                </a:solidFill>
                <a:ln w="1349" cap="flat">
                  <a:noFill/>
                  <a:prstDash val="solid"/>
                  <a:miter/>
                </a:ln>
              </p:spPr>
              <p:txBody>
                <a:bodyPr rtlCol="0" anchor="ctr"/>
                <a:lstStyle/>
                <a:p>
                  <a:endParaRPr lang="en-IN">
                    <a:latin typeface="+mn-lt"/>
                  </a:endParaRPr>
                </a:p>
              </p:txBody>
            </p:sp>
            <p:sp>
              <p:nvSpPr>
                <p:cNvPr id="111" name="Freeform: Shape 243">
                  <a:extLst>
                    <a:ext uri="{FF2B5EF4-FFF2-40B4-BE49-F238E27FC236}">
                      <a16:creationId xmlns:a16="http://schemas.microsoft.com/office/drawing/2014/main" id="{9CB75190-5AAA-AD46-889B-62AEEC5ED77B}"/>
                    </a:ext>
                  </a:extLst>
                </p:cNvPr>
                <p:cNvSpPr/>
                <p:nvPr/>
              </p:nvSpPr>
              <p:spPr>
                <a:xfrm>
                  <a:off x="6561419" y="2905431"/>
                  <a:ext cx="211884" cy="211920"/>
                </a:xfrm>
                <a:custGeom>
                  <a:avLst/>
                  <a:gdLst>
                    <a:gd name="connsiteX0" fmla="*/ 210043 w 211884"/>
                    <a:gd name="connsiteY0" fmla="*/ 125575 h 211920"/>
                    <a:gd name="connsiteX1" fmla="*/ 125575 w 211884"/>
                    <a:gd name="connsiteY1" fmla="*/ 1841 h 211920"/>
                    <a:gd name="connsiteX2" fmla="*/ 1841 w 211884"/>
                    <a:gd name="connsiteY2" fmla="*/ 86309 h 211920"/>
                    <a:gd name="connsiteX3" fmla="*/ 86309 w 211884"/>
                    <a:gd name="connsiteY3" fmla="*/ 210043 h 211920"/>
                    <a:gd name="connsiteX4" fmla="*/ 210043 w 211884"/>
                    <a:gd name="connsiteY4" fmla="*/ 125575 h 21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884" h="211920">
                      <a:moveTo>
                        <a:pt x="210043" y="125575"/>
                      </a:moveTo>
                      <a:cubicBezTo>
                        <a:pt x="220838" y="68093"/>
                        <a:pt x="183057" y="12636"/>
                        <a:pt x="125575" y="1841"/>
                      </a:cubicBezTo>
                      <a:cubicBezTo>
                        <a:pt x="68093" y="-8954"/>
                        <a:pt x="12636" y="28828"/>
                        <a:pt x="1841" y="86309"/>
                      </a:cubicBezTo>
                      <a:cubicBezTo>
                        <a:pt x="-8954" y="143791"/>
                        <a:pt x="28828" y="199249"/>
                        <a:pt x="86309" y="210043"/>
                      </a:cubicBezTo>
                      <a:cubicBezTo>
                        <a:pt x="143656" y="220973"/>
                        <a:pt x="199114" y="183057"/>
                        <a:pt x="210043" y="125575"/>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12" name="Freeform: Shape 244">
                  <a:extLst>
                    <a:ext uri="{FF2B5EF4-FFF2-40B4-BE49-F238E27FC236}">
                      <a16:creationId xmlns:a16="http://schemas.microsoft.com/office/drawing/2014/main" id="{1347DDEA-3280-A441-BD15-9168B3E23BCE}"/>
                    </a:ext>
                  </a:extLst>
                </p:cNvPr>
                <p:cNvSpPr/>
                <p:nvPr/>
              </p:nvSpPr>
              <p:spPr>
                <a:xfrm>
                  <a:off x="5704137" y="2669249"/>
                  <a:ext cx="213464" cy="161380"/>
                </a:xfrm>
                <a:custGeom>
                  <a:avLst/>
                  <a:gdLst>
                    <a:gd name="connsiteX0" fmla="*/ 0 w 213464"/>
                    <a:gd name="connsiteY0" fmla="*/ 111725 h 161380"/>
                    <a:gd name="connsiteX1" fmla="*/ 30225 w 213464"/>
                    <a:gd name="connsiteY1" fmla="*/ 161381 h 161380"/>
                    <a:gd name="connsiteX2" fmla="*/ 213465 w 213464"/>
                    <a:gd name="connsiteY2" fmla="*/ 49656 h 161380"/>
                    <a:gd name="connsiteX3" fmla="*/ 183240 w 213464"/>
                    <a:gd name="connsiteY3" fmla="*/ 0 h 161380"/>
                    <a:gd name="connsiteX4" fmla="*/ 0 w 213464"/>
                    <a:gd name="connsiteY4" fmla="*/ 111725 h 16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464" h="161380">
                      <a:moveTo>
                        <a:pt x="0" y="111725"/>
                      </a:moveTo>
                      <a:lnTo>
                        <a:pt x="30225" y="161381"/>
                      </a:lnTo>
                      <a:cubicBezTo>
                        <a:pt x="30225" y="161381"/>
                        <a:pt x="93374" y="77857"/>
                        <a:pt x="213465" y="49656"/>
                      </a:cubicBezTo>
                      <a:lnTo>
                        <a:pt x="183240" y="0"/>
                      </a:lnTo>
                      <a:cubicBezTo>
                        <a:pt x="106328" y="99041"/>
                        <a:pt x="0" y="111725"/>
                        <a:pt x="0" y="111725"/>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13" name="Freeform: Shape 245">
                  <a:extLst>
                    <a:ext uri="{FF2B5EF4-FFF2-40B4-BE49-F238E27FC236}">
                      <a16:creationId xmlns:a16="http://schemas.microsoft.com/office/drawing/2014/main" id="{19302A29-0B47-9F43-A1B2-3C29F0955D38}"/>
                    </a:ext>
                  </a:extLst>
                </p:cNvPr>
                <p:cNvSpPr/>
                <p:nvPr/>
              </p:nvSpPr>
              <p:spPr>
                <a:xfrm>
                  <a:off x="5540369" y="2752199"/>
                  <a:ext cx="206096" cy="206079"/>
                </a:xfrm>
                <a:custGeom>
                  <a:avLst/>
                  <a:gdLst>
                    <a:gd name="connsiteX0" fmla="*/ 200201 w 206096"/>
                    <a:gd name="connsiteY0" fmla="*/ 137396 h 206079"/>
                    <a:gd name="connsiteX1" fmla="*/ 116946 w 206096"/>
                    <a:gd name="connsiteY1" fmla="*/ 978 h 206079"/>
                    <a:gd name="connsiteX2" fmla="*/ 5896 w 206096"/>
                    <a:gd name="connsiteY2" fmla="*/ 68715 h 206079"/>
                    <a:gd name="connsiteX3" fmla="*/ 89150 w 206096"/>
                    <a:gd name="connsiteY3" fmla="*/ 205133 h 206079"/>
                    <a:gd name="connsiteX4" fmla="*/ 200201 w 206096"/>
                    <a:gd name="connsiteY4" fmla="*/ 137396 h 206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096" h="206079">
                      <a:moveTo>
                        <a:pt x="200201" y="137396"/>
                      </a:moveTo>
                      <a:cubicBezTo>
                        <a:pt x="221790" y="75597"/>
                        <a:pt x="181850" y="10019"/>
                        <a:pt x="116946" y="978"/>
                      </a:cubicBezTo>
                      <a:cubicBezTo>
                        <a:pt x="68910" y="-5768"/>
                        <a:pt x="21953" y="22973"/>
                        <a:pt x="5896" y="68715"/>
                      </a:cubicBezTo>
                      <a:cubicBezTo>
                        <a:pt x="-15693" y="130515"/>
                        <a:pt x="24247" y="196093"/>
                        <a:pt x="89150" y="205133"/>
                      </a:cubicBezTo>
                      <a:cubicBezTo>
                        <a:pt x="137187" y="211745"/>
                        <a:pt x="184278" y="183139"/>
                        <a:pt x="200201" y="137396"/>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14" name="Freeform: Shape 246">
                  <a:extLst>
                    <a:ext uri="{FF2B5EF4-FFF2-40B4-BE49-F238E27FC236}">
                      <a16:creationId xmlns:a16="http://schemas.microsoft.com/office/drawing/2014/main" id="{DF7DFD62-0F1C-BA46-BC8B-2D3F71D7194F}"/>
                    </a:ext>
                  </a:extLst>
                </p:cNvPr>
                <p:cNvSpPr/>
                <p:nvPr/>
              </p:nvSpPr>
              <p:spPr>
                <a:xfrm>
                  <a:off x="6803262" y="1954327"/>
                  <a:ext cx="201004" cy="201004"/>
                </a:xfrm>
                <a:custGeom>
                  <a:avLst/>
                  <a:gdLst>
                    <a:gd name="connsiteX0" fmla="*/ 197317 w 201004"/>
                    <a:gd name="connsiteY0" fmla="*/ 127421 h 201004"/>
                    <a:gd name="connsiteX1" fmla="*/ 127421 w 201004"/>
                    <a:gd name="connsiteY1" fmla="*/ 3687 h 201004"/>
                    <a:gd name="connsiteX2" fmla="*/ 3687 w 201004"/>
                    <a:gd name="connsiteY2" fmla="*/ 73583 h 201004"/>
                    <a:gd name="connsiteX3" fmla="*/ 73583 w 201004"/>
                    <a:gd name="connsiteY3" fmla="*/ 197317 h 201004"/>
                    <a:gd name="connsiteX4" fmla="*/ 197317 w 201004"/>
                    <a:gd name="connsiteY4" fmla="*/ 127421 h 201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004" h="201004">
                      <a:moveTo>
                        <a:pt x="197317" y="127421"/>
                      </a:moveTo>
                      <a:cubicBezTo>
                        <a:pt x="212160" y="73988"/>
                        <a:pt x="180855" y="18530"/>
                        <a:pt x="127421" y="3687"/>
                      </a:cubicBezTo>
                      <a:cubicBezTo>
                        <a:pt x="73988" y="-11155"/>
                        <a:pt x="18530" y="20149"/>
                        <a:pt x="3687" y="73583"/>
                      </a:cubicBezTo>
                      <a:cubicBezTo>
                        <a:pt x="-11155" y="127017"/>
                        <a:pt x="20149" y="182474"/>
                        <a:pt x="73583" y="197317"/>
                      </a:cubicBezTo>
                      <a:cubicBezTo>
                        <a:pt x="127017" y="212160"/>
                        <a:pt x="182474" y="180855"/>
                        <a:pt x="197317" y="127421"/>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15" name="Freeform: Shape 247">
                  <a:extLst>
                    <a:ext uri="{FF2B5EF4-FFF2-40B4-BE49-F238E27FC236}">
                      <a16:creationId xmlns:a16="http://schemas.microsoft.com/office/drawing/2014/main" id="{A2488249-B320-3D4B-9D19-4CE7C4ADCC32}"/>
                    </a:ext>
                  </a:extLst>
                </p:cNvPr>
                <p:cNvSpPr/>
                <p:nvPr/>
              </p:nvSpPr>
              <p:spPr>
                <a:xfrm>
                  <a:off x="5682286" y="1845217"/>
                  <a:ext cx="172834" cy="172821"/>
                </a:xfrm>
                <a:custGeom>
                  <a:avLst/>
                  <a:gdLst>
                    <a:gd name="connsiteX0" fmla="*/ 172707 w 172834"/>
                    <a:gd name="connsiteY0" fmla="*/ 90937 h 172821"/>
                    <a:gd name="connsiteX1" fmla="*/ 90937 w 172834"/>
                    <a:gd name="connsiteY1" fmla="*/ 127 h 172821"/>
                    <a:gd name="connsiteX2" fmla="*/ 127 w 172834"/>
                    <a:gd name="connsiteY2" fmla="*/ 81897 h 172821"/>
                    <a:gd name="connsiteX3" fmla="*/ 81897 w 172834"/>
                    <a:gd name="connsiteY3" fmla="*/ 172707 h 172821"/>
                    <a:gd name="connsiteX4" fmla="*/ 172707 w 172834"/>
                    <a:gd name="connsiteY4" fmla="*/ 90937 h 172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834" h="172821">
                      <a:moveTo>
                        <a:pt x="172707" y="90937"/>
                      </a:moveTo>
                      <a:cubicBezTo>
                        <a:pt x="175271" y="43306"/>
                        <a:pt x="138704" y="2556"/>
                        <a:pt x="90937" y="127"/>
                      </a:cubicBezTo>
                      <a:cubicBezTo>
                        <a:pt x="43306" y="-2437"/>
                        <a:pt x="2556" y="34130"/>
                        <a:pt x="127" y="81897"/>
                      </a:cubicBezTo>
                      <a:cubicBezTo>
                        <a:pt x="-2437" y="129528"/>
                        <a:pt x="34130" y="170278"/>
                        <a:pt x="81897" y="172707"/>
                      </a:cubicBezTo>
                      <a:cubicBezTo>
                        <a:pt x="129528" y="175136"/>
                        <a:pt x="170278" y="138569"/>
                        <a:pt x="172707" y="90937"/>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16" name="Freeform: Shape 248">
                  <a:extLst>
                    <a:ext uri="{FF2B5EF4-FFF2-40B4-BE49-F238E27FC236}">
                      <a16:creationId xmlns:a16="http://schemas.microsoft.com/office/drawing/2014/main" id="{445CECB6-1899-374B-B4CE-444AEB9CBED2}"/>
                    </a:ext>
                  </a:extLst>
                </p:cNvPr>
                <p:cNvSpPr/>
                <p:nvPr/>
              </p:nvSpPr>
              <p:spPr>
                <a:xfrm>
                  <a:off x="6286376" y="2664781"/>
                  <a:ext cx="63014" cy="93658"/>
                </a:xfrm>
                <a:custGeom>
                  <a:avLst/>
                  <a:gdLst>
                    <a:gd name="connsiteX0" fmla="*/ 2159 w 63014"/>
                    <a:gd name="connsiteY0" fmla="*/ 93659 h 93658"/>
                    <a:gd name="connsiteX1" fmla="*/ 63014 w 63014"/>
                    <a:gd name="connsiteY1" fmla="*/ 91905 h 93658"/>
                    <a:gd name="connsiteX2" fmla="*/ 60855 w 63014"/>
                    <a:gd name="connsiteY2" fmla="*/ 13778 h 93658"/>
                    <a:gd name="connsiteX3" fmla="*/ 0 w 63014"/>
                    <a:gd name="connsiteY3" fmla="*/ 15532 h 93658"/>
                    <a:gd name="connsiteX4" fmla="*/ 2159 w 63014"/>
                    <a:gd name="connsiteY4" fmla="*/ 93659 h 93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14" h="93658">
                      <a:moveTo>
                        <a:pt x="2159" y="93659"/>
                      </a:moveTo>
                      <a:lnTo>
                        <a:pt x="63014" y="91905"/>
                      </a:lnTo>
                      <a:cubicBezTo>
                        <a:pt x="63014" y="91905"/>
                        <a:pt x="21724" y="57632"/>
                        <a:pt x="60855" y="13778"/>
                      </a:cubicBezTo>
                      <a:cubicBezTo>
                        <a:pt x="50735" y="-5787"/>
                        <a:pt x="1349" y="-3898"/>
                        <a:pt x="0" y="15532"/>
                      </a:cubicBezTo>
                      <a:cubicBezTo>
                        <a:pt x="47766" y="56957"/>
                        <a:pt x="2159" y="93659"/>
                        <a:pt x="2159" y="93659"/>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17" name="Freeform: Shape 249">
                  <a:extLst>
                    <a:ext uri="{FF2B5EF4-FFF2-40B4-BE49-F238E27FC236}">
                      <a16:creationId xmlns:a16="http://schemas.microsoft.com/office/drawing/2014/main" id="{BEC55770-DCC5-8F49-AF81-620964DA3277}"/>
                    </a:ext>
                  </a:extLst>
                </p:cNvPr>
                <p:cNvSpPr/>
                <p:nvPr/>
              </p:nvSpPr>
              <p:spPr>
                <a:xfrm>
                  <a:off x="6209329" y="2105361"/>
                  <a:ext cx="60057" cy="78583"/>
                </a:xfrm>
                <a:custGeom>
                  <a:avLst/>
                  <a:gdLst>
                    <a:gd name="connsiteX0" fmla="*/ 37647 w 60057"/>
                    <a:gd name="connsiteY0" fmla="*/ 0 h 78583"/>
                    <a:gd name="connsiteX1" fmla="*/ 0 w 60057"/>
                    <a:gd name="connsiteY1" fmla="*/ 14168 h 78583"/>
                    <a:gd name="connsiteX2" fmla="*/ 21994 w 60057"/>
                    <a:gd name="connsiteY2" fmla="*/ 73134 h 78583"/>
                    <a:gd name="connsiteX3" fmla="*/ 59641 w 60057"/>
                    <a:gd name="connsiteY3" fmla="*/ 58966 h 78583"/>
                    <a:gd name="connsiteX4" fmla="*/ 37647 w 60057"/>
                    <a:gd name="connsiteY4" fmla="*/ 0 h 78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57" h="78583">
                      <a:moveTo>
                        <a:pt x="37647" y="0"/>
                      </a:moveTo>
                      <a:lnTo>
                        <a:pt x="0" y="14168"/>
                      </a:lnTo>
                      <a:cubicBezTo>
                        <a:pt x="0" y="14168"/>
                        <a:pt x="34948" y="31574"/>
                        <a:pt x="21994" y="73134"/>
                      </a:cubicBezTo>
                      <a:cubicBezTo>
                        <a:pt x="33599" y="85953"/>
                        <a:pt x="63959" y="74079"/>
                        <a:pt x="59641" y="58966"/>
                      </a:cubicBezTo>
                      <a:cubicBezTo>
                        <a:pt x="18891" y="37647"/>
                        <a:pt x="37647" y="0"/>
                        <a:pt x="37647" y="0"/>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18" name="Freeform: Shape 250">
                  <a:extLst>
                    <a:ext uri="{FF2B5EF4-FFF2-40B4-BE49-F238E27FC236}">
                      <a16:creationId xmlns:a16="http://schemas.microsoft.com/office/drawing/2014/main" id="{AE6B68D6-402A-7048-A536-6CDACABBF773}"/>
                    </a:ext>
                  </a:extLst>
                </p:cNvPr>
                <p:cNvSpPr/>
                <p:nvPr/>
              </p:nvSpPr>
              <p:spPr>
                <a:xfrm>
                  <a:off x="5937707" y="2159200"/>
                  <a:ext cx="73395" cy="69950"/>
                </a:xfrm>
                <a:custGeom>
                  <a:avLst/>
                  <a:gdLst>
                    <a:gd name="connsiteX0" fmla="*/ 26852 w 73395"/>
                    <a:gd name="connsiteY0" fmla="*/ 0 h 69950"/>
                    <a:gd name="connsiteX1" fmla="*/ 0 w 73395"/>
                    <a:gd name="connsiteY1" fmla="*/ 29955 h 69950"/>
                    <a:gd name="connsiteX2" fmla="*/ 43988 w 73395"/>
                    <a:gd name="connsiteY2" fmla="*/ 69221 h 69950"/>
                    <a:gd name="connsiteX3" fmla="*/ 70840 w 73395"/>
                    <a:gd name="connsiteY3" fmla="*/ 39266 h 69950"/>
                    <a:gd name="connsiteX4" fmla="*/ 26852 w 73395"/>
                    <a:gd name="connsiteY4" fmla="*/ 0 h 69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95" h="69950">
                      <a:moveTo>
                        <a:pt x="26852" y="0"/>
                      </a:moveTo>
                      <a:lnTo>
                        <a:pt x="0" y="29955"/>
                      </a:lnTo>
                      <a:cubicBezTo>
                        <a:pt x="0" y="29955"/>
                        <a:pt x="37781" y="27931"/>
                        <a:pt x="43988" y="69221"/>
                      </a:cubicBezTo>
                      <a:cubicBezTo>
                        <a:pt x="59371" y="74483"/>
                        <a:pt x="80825" y="49925"/>
                        <a:pt x="70840" y="39266"/>
                      </a:cubicBezTo>
                      <a:cubicBezTo>
                        <a:pt x="26312" y="40885"/>
                        <a:pt x="26852" y="0"/>
                        <a:pt x="26852" y="0"/>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19" name="Freeform: Shape 251">
                  <a:extLst>
                    <a:ext uri="{FF2B5EF4-FFF2-40B4-BE49-F238E27FC236}">
                      <a16:creationId xmlns:a16="http://schemas.microsoft.com/office/drawing/2014/main" id="{0ED67E90-B262-114D-AD61-243F2AAD4BE4}"/>
                    </a:ext>
                  </a:extLst>
                </p:cNvPr>
                <p:cNvSpPr/>
                <p:nvPr/>
              </p:nvSpPr>
              <p:spPr>
                <a:xfrm>
                  <a:off x="6406634" y="2607854"/>
                  <a:ext cx="74442" cy="69950"/>
                </a:xfrm>
                <a:custGeom>
                  <a:avLst/>
                  <a:gdLst>
                    <a:gd name="connsiteX0" fmla="*/ 27899 w 74442"/>
                    <a:gd name="connsiteY0" fmla="*/ 0 h 69950"/>
                    <a:gd name="connsiteX1" fmla="*/ 1047 w 74442"/>
                    <a:gd name="connsiteY1" fmla="*/ 29955 h 69950"/>
                    <a:gd name="connsiteX2" fmla="*/ 45035 w 74442"/>
                    <a:gd name="connsiteY2" fmla="*/ 69221 h 69950"/>
                    <a:gd name="connsiteX3" fmla="*/ 71887 w 74442"/>
                    <a:gd name="connsiteY3" fmla="*/ 39266 h 69950"/>
                    <a:gd name="connsiteX4" fmla="*/ 27899 w 74442"/>
                    <a:gd name="connsiteY4" fmla="*/ 0 h 69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42" h="69950">
                      <a:moveTo>
                        <a:pt x="27899" y="0"/>
                      </a:moveTo>
                      <a:cubicBezTo>
                        <a:pt x="5095" y="4858"/>
                        <a:pt x="-3136" y="15113"/>
                        <a:pt x="1047" y="29955"/>
                      </a:cubicBezTo>
                      <a:cubicBezTo>
                        <a:pt x="1047" y="29955"/>
                        <a:pt x="38828" y="27931"/>
                        <a:pt x="45035" y="69221"/>
                      </a:cubicBezTo>
                      <a:cubicBezTo>
                        <a:pt x="60418" y="74483"/>
                        <a:pt x="81872" y="49925"/>
                        <a:pt x="71887" y="39266"/>
                      </a:cubicBezTo>
                      <a:cubicBezTo>
                        <a:pt x="27359" y="40885"/>
                        <a:pt x="27899" y="0"/>
                        <a:pt x="27899" y="0"/>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20" name="Freeform: Shape 252">
                  <a:extLst>
                    <a:ext uri="{FF2B5EF4-FFF2-40B4-BE49-F238E27FC236}">
                      <a16:creationId xmlns:a16="http://schemas.microsoft.com/office/drawing/2014/main" id="{2B3DB1DE-251D-9344-874B-1F4F495B2609}"/>
                    </a:ext>
                  </a:extLst>
                </p:cNvPr>
                <p:cNvSpPr/>
                <p:nvPr/>
              </p:nvSpPr>
              <p:spPr>
                <a:xfrm>
                  <a:off x="6553646" y="2439456"/>
                  <a:ext cx="64570" cy="53299"/>
                </a:xfrm>
                <a:custGeom>
                  <a:avLst/>
                  <a:gdLst>
                    <a:gd name="connsiteX0" fmla="*/ 2058 w 64570"/>
                    <a:gd name="connsiteY0" fmla="*/ 14978 h 53299"/>
                    <a:gd name="connsiteX1" fmla="*/ 14337 w 64570"/>
                    <a:gd name="connsiteY1" fmla="*/ 53299 h 53299"/>
                    <a:gd name="connsiteX2" fmla="*/ 60619 w 64570"/>
                    <a:gd name="connsiteY2" fmla="*/ 38457 h 53299"/>
                    <a:gd name="connsiteX3" fmla="*/ 48340 w 64570"/>
                    <a:gd name="connsiteY3" fmla="*/ 136 h 53299"/>
                    <a:gd name="connsiteX4" fmla="*/ 2058 w 64570"/>
                    <a:gd name="connsiteY4" fmla="*/ 14978 h 53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570" h="53299">
                      <a:moveTo>
                        <a:pt x="2058" y="14978"/>
                      </a:moveTo>
                      <a:cubicBezTo>
                        <a:pt x="-3070" y="36298"/>
                        <a:pt x="1518" y="48712"/>
                        <a:pt x="14337" y="53299"/>
                      </a:cubicBezTo>
                      <a:cubicBezTo>
                        <a:pt x="14337" y="53299"/>
                        <a:pt x="27290" y="21185"/>
                        <a:pt x="60619" y="38457"/>
                      </a:cubicBezTo>
                      <a:cubicBezTo>
                        <a:pt x="70469" y="28607"/>
                        <a:pt x="60214" y="-2293"/>
                        <a:pt x="48340" y="136"/>
                      </a:cubicBezTo>
                      <a:cubicBezTo>
                        <a:pt x="32418" y="37647"/>
                        <a:pt x="2058" y="14978"/>
                        <a:pt x="2058" y="14978"/>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21" name="Freeform: Shape 253">
                  <a:extLst>
                    <a:ext uri="{FF2B5EF4-FFF2-40B4-BE49-F238E27FC236}">
                      <a16:creationId xmlns:a16="http://schemas.microsoft.com/office/drawing/2014/main" id="{2B1910F2-E564-374B-A896-AF06704C3E82}"/>
                    </a:ext>
                  </a:extLst>
                </p:cNvPr>
                <p:cNvSpPr/>
                <p:nvPr/>
              </p:nvSpPr>
              <p:spPr>
                <a:xfrm>
                  <a:off x="5999507" y="2414359"/>
                  <a:ext cx="54869" cy="52893"/>
                </a:xfrm>
                <a:custGeom>
                  <a:avLst/>
                  <a:gdLst>
                    <a:gd name="connsiteX0" fmla="*/ 17002 w 54869"/>
                    <a:gd name="connsiteY0" fmla="*/ 0 h 52893"/>
                    <a:gd name="connsiteX1" fmla="*/ 0 w 54869"/>
                    <a:gd name="connsiteY1" fmla="*/ 36432 h 52893"/>
                    <a:gd name="connsiteX2" fmla="*/ 35353 w 54869"/>
                    <a:gd name="connsiteY2" fmla="*/ 52894 h 52893"/>
                    <a:gd name="connsiteX3" fmla="*/ 52354 w 54869"/>
                    <a:gd name="connsiteY3" fmla="*/ 16462 h 52893"/>
                    <a:gd name="connsiteX4" fmla="*/ 17002 w 54869"/>
                    <a:gd name="connsiteY4" fmla="*/ 0 h 52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69" h="52893">
                      <a:moveTo>
                        <a:pt x="17002" y="0"/>
                      </a:moveTo>
                      <a:lnTo>
                        <a:pt x="0" y="36432"/>
                      </a:lnTo>
                      <a:cubicBezTo>
                        <a:pt x="0" y="36432"/>
                        <a:pt x="27257" y="19700"/>
                        <a:pt x="35353" y="52894"/>
                      </a:cubicBezTo>
                      <a:cubicBezTo>
                        <a:pt x="46957" y="51275"/>
                        <a:pt x="60585" y="21724"/>
                        <a:pt x="52354" y="16462"/>
                      </a:cubicBezTo>
                      <a:cubicBezTo>
                        <a:pt x="19970" y="35353"/>
                        <a:pt x="17002" y="0"/>
                        <a:pt x="17002" y="0"/>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22" name="Freeform: Shape 254">
                  <a:extLst>
                    <a:ext uri="{FF2B5EF4-FFF2-40B4-BE49-F238E27FC236}">
                      <a16:creationId xmlns:a16="http://schemas.microsoft.com/office/drawing/2014/main" id="{27CC7FD3-7199-344C-BAD4-96C76118430A}"/>
                    </a:ext>
                  </a:extLst>
                </p:cNvPr>
                <p:cNvSpPr/>
                <p:nvPr/>
              </p:nvSpPr>
              <p:spPr>
                <a:xfrm>
                  <a:off x="6411426" y="2104956"/>
                  <a:ext cx="72087" cy="79366"/>
                </a:xfrm>
                <a:custGeom>
                  <a:avLst/>
                  <a:gdLst>
                    <a:gd name="connsiteX0" fmla="*/ 72088 w 72087"/>
                    <a:gd name="connsiteY0" fmla="*/ 22534 h 79366"/>
                    <a:gd name="connsiteX1" fmla="*/ 44831 w 72087"/>
                    <a:gd name="connsiteY1" fmla="*/ 0 h 79366"/>
                    <a:gd name="connsiteX2" fmla="*/ 1248 w 72087"/>
                    <a:gd name="connsiteY2" fmla="*/ 52759 h 79366"/>
                    <a:gd name="connsiteX3" fmla="*/ 28504 w 72087"/>
                    <a:gd name="connsiteY3" fmla="*/ 75293 h 79366"/>
                    <a:gd name="connsiteX4" fmla="*/ 72088 w 72087"/>
                    <a:gd name="connsiteY4" fmla="*/ 22534 h 79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87" h="79366">
                      <a:moveTo>
                        <a:pt x="72088" y="22534"/>
                      </a:moveTo>
                      <a:lnTo>
                        <a:pt x="44831" y="0"/>
                      </a:lnTo>
                      <a:cubicBezTo>
                        <a:pt x="44831" y="0"/>
                        <a:pt x="43077" y="38861"/>
                        <a:pt x="1248" y="52759"/>
                      </a:cubicBezTo>
                      <a:cubicBezTo>
                        <a:pt x="-5499" y="69761"/>
                        <a:pt x="16765" y="87572"/>
                        <a:pt x="28504" y="75293"/>
                      </a:cubicBezTo>
                      <a:cubicBezTo>
                        <a:pt x="31338" y="29281"/>
                        <a:pt x="72088" y="22534"/>
                        <a:pt x="72088" y="22534"/>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23" name="Freeform: Shape 255">
                  <a:extLst>
                    <a:ext uri="{FF2B5EF4-FFF2-40B4-BE49-F238E27FC236}">
                      <a16:creationId xmlns:a16="http://schemas.microsoft.com/office/drawing/2014/main" id="{C6AC9EB4-CC33-ED4C-84BD-FF1F5DAD6008}"/>
                    </a:ext>
                  </a:extLst>
                </p:cNvPr>
                <p:cNvSpPr/>
                <p:nvPr/>
              </p:nvSpPr>
              <p:spPr>
                <a:xfrm>
                  <a:off x="6323117" y="2358497"/>
                  <a:ext cx="101430" cy="92706"/>
                </a:xfrm>
                <a:custGeom>
                  <a:avLst/>
                  <a:gdLst>
                    <a:gd name="connsiteX0" fmla="*/ 101431 w 101430"/>
                    <a:gd name="connsiteY0" fmla="*/ 52894 h 92706"/>
                    <a:gd name="connsiteX1" fmla="*/ 71071 w 101430"/>
                    <a:gd name="connsiteY1" fmla="*/ 0 h 92706"/>
                    <a:gd name="connsiteX2" fmla="*/ 3334 w 101430"/>
                    <a:gd name="connsiteY2" fmla="*/ 38861 h 92706"/>
                    <a:gd name="connsiteX3" fmla="*/ 33694 w 101430"/>
                    <a:gd name="connsiteY3" fmla="*/ 91755 h 92706"/>
                    <a:gd name="connsiteX4" fmla="*/ 101431 w 101430"/>
                    <a:gd name="connsiteY4" fmla="*/ 52894 h 92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430" h="92706">
                      <a:moveTo>
                        <a:pt x="101431" y="52894"/>
                      </a:moveTo>
                      <a:lnTo>
                        <a:pt x="71071" y="0"/>
                      </a:lnTo>
                      <a:cubicBezTo>
                        <a:pt x="71071" y="0"/>
                        <a:pt x="60411" y="52624"/>
                        <a:pt x="3334" y="38861"/>
                      </a:cubicBezTo>
                      <a:cubicBezTo>
                        <a:pt x="-9080" y="57077"/>
                        <a:pt x="15883" y="99581"/>
                        <a:pt x="33694" y="91755"/>
                      </a:cubicBezTo>
                      <a:cubicBezTo>
                        <a:pt x="47458" y="30090"/>
                        <a:pt x="101431" y="52894"/>
                        <a:pt x="101431" y="52894"/>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24" name="Freeform: Shape 256">
                  <a:extLst>
                    <a:ext uri="{FF2B5EF4-FFF2-40B4-BE49-F238E27FC236}">
                      <a16:creationId xmlns:a16="http://schemas.microsoft.com/office/drawing/2014/main" id="{65C54761-5D61-D449-B10B-6DDDCFBE9C7B}"/>
                    </a:ext>
                  </a:extLst>
                </p:cNvPr>
                <p:cNvSpPr/>
                <p:nvPr/>
              </p:nvSpPr>
              <p:spPr>
                <a:xfrm>
                  <a:off x="5886837" y="2562526"/>
                  <a:ext cx="89082" cy="84997"/>
                </a:xfrm>
                <a:custGeom>
                  <a:avLst/>
                  <a:gdLst>
                    <a:gd name="connsiteX0" fmla="*/ 0 w 89082"/>
                    <a:gd name="connsiteY0" fmla="*/ 31024 h 84997"/>
                    <a:gd name="connsiteX1" fmla="*/ 28201 w 89082"/>
                    <a:gd name="connsiteY1" fmla="*/ 84998 h 84997"/>
                    <a:gd name="connsiteX2" fmla="*/ 86492 w 89082"/>
                    <a:gd name="connsiteY2" fmla="*/ 54503 h 84997"/>
                    <a:gd name="connsiteX3" fmla="*/ 58291 w 89082"/>
                    <a:gd name="connsiteY3" fmla="*/ 529 h 84997"/>
                    <a:gd name="connsiteX4" fmla="*/ 0 w 89082"/>
                    <a:gd name="connsiteY4" fmla="*/ 31024 h 84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82" h="84997">
                      <a:moveTo>
                        <a:pt x="0" y="31024"/>
                      </a:moveTo>
                      <a:lnTo>
                        <a:pt x="28201" y="84998"/>
                      </a:lnTo>
                      <a:cubicBezTo>
                        <a:pt x="28201" y="84998"/>
                        <a:pt x="36027" y="35342"/>
                        <a:pt x="86492" y="54503"/>
                      </a:cubicBezTo>
                      <a:cubicBezTo>
                        <a:pt x="96882" y="38176"/>
                        <a:pt x="73674" y="-5273"/>
                        <a:pt x="58291" y="529"/>
                      </a:cubicBezTo>
                      <a:cubicBezTo>
                        <a:pt x="48036" y="58551"/>
                        <a:pt x="0" y="31024"/>
                        <a:pt x="0" y="31024"/>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25" name="Freeform: Shape 257">
                  <a:extLst>
                    <a:ext uri="{FF2B5EF4-FFF2-40B4-BE49-F238E27FC236}">
                      <a16:creationId xmlns:a16="http://schemas.microsoft.com/office/drawing/2014/main" id="{0DA2F8BF-DC37-3F42-9DD2-6CA92BB2CFE1}"/>
                    </a:ext>
                  </a:extLst>
                </p:cNvPr>
                <p:cNvSpPr/>
                <p:nvPr/>
              </p:nvSpPr>
              <p:spPr>
                <a:xfrm>
                  <a:off x="6109183" y="1935775"/>
                  <a:ext cx="180996" cy="185348"/>
                </a:xfrm>
                <a:custGeom>
                  <a:avLst/>
                  <a:gdLst>
                    <a:gd name="connsiteX0" fmla="*/ 145618 w 180996"/>
                    <a:gd name="connsiteY0" fmla="*/ 165808 h 185348"/>
                    <a:gd name="connsiteX1" fmla="*/ 162215 w 180996"/>
                    <a:gd name="connsiteY1" fmla="*/ 35732 h 185348"/>
                    <a:gd name="connsiteX2" fmla="*/ 35378 w 180996"/>
                    <a:gd name="connsiteY2" fmla="*/ 19540 h 185348"/>
                    <a:gd name="connsiteX3" fmla="*/ 18781 w 180996"/>
                    <a:gd name="connsiteY3" fmla="*/ 149616 h 185348"/>
                    <a:gd name="connsiteX4" fmla="*/ 145618 w 180996"/>
                    <a:gd name="connsiteY4" fmla="*/ 165808 h 185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996" h="185348">
                      <a:moveTo>
                        <a:pt x="145618" y="165808"/>
                      </a:moveTo>
                      <a:cubicBezTo>
                        <a:pt x="185289" y="134369"/>
                        <a:pt x="192710" y="76212"/>
                        <a:pt x="162215" y="35732"/>
                      </a:cubicBezTo>
                      <a:cubicBezTo>
                        <a:pt x="131720" y="-4613"/>
                        <a:pt x="74913" y="-11899"/>
                        <a:pt x="35378" y="19540"/>
                      </a:cubicBezTo>
                      <a:cubicBezTo>
                        <a:pt x="-4293" y="50980"/>
                        <a:pt x="-11714" y="109136"/>
                        <a:pt x="18781" y="149616"/>
                      </a:cubicBezTo>
                      <a:cubicBezTo>
                        <a:pt x="49141" y="189961"/>
                        <a:pt x="105948" y="197248"/>
                        <a:pt x="145618" y="165808"/>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26" name="Freeform: Shape 258">
                  <a:extLst>
                    <a:ext uri="{FF2B5EF4-FFF2-40B4-BE49-F238E27FC236}">
                      <a16:creationId xmlns:a16="http://schemas.microsoft.com/office/drawing/2014/main" id="{3A5E7DF0-974F-AA4D-AE8C-DB1106B1D5CD}"/>
                    </a:ext>
                  </a:extLst>
                </p:cNvPr>
                <p:cNvSpPr/>
                <p:nvPr/>
              </p:nvSpPr>
              <p:spPr>
                <a:xfrm>
                  <a:off x="6350847" y="2246682"/>
                  <a:ext cx="218377" cy="223628"/>
                </a:xfrm>
                <a:custGeom>
                  <a:avLst/>
                  <a:gdLst>
                    <a:gd name="connsiteX0" fmla="*/ 175711 w 218377"/>
                    <a:gd name="connsiteY0" fmla="*/ 200061 h 223628"/>
                    <a:gd name="connsiteX1" fmla="*/ 195816 w 218377"/>
                    <a:gd name="connsiteY1" fmla="*/ 43133 h 223628"/>
                    <a:gd name="connsiteX2" fmla="*/ 42667 w 218377"/>
                    <a:gd name="connsiteY2" fmla="*/ 23568 h 223628"/>
                    <a:gd name="connsiteX3" fmla="*/ 22561 w 218377"/>
                    <a:gd name="connsiteY3" fmla="*/ 180496 h 223628"/>
                    <a:gd name="connsiteX4" fmla="*/ 175711 w 218377"/>
                    <a:gd name="connsiteY4" fmla="*/ 200061 h 223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377" h="223628">
                      <a:moveTo>
                        <a:pt x="175711" y="200061"/>
                      </a:moveTo>
                      <a:cubicBezTo>
                        <a:pt x="223478" y="162145"/>
                        <a:pt x="232518" y="91844"/>
                        <a:pt x="195816" y="43133"/>
                      </a:cubicBezTo>
                      <a:cubicBezTo>
                        <a:pt x="159114" y="-5578"/>
                        <a:pt x="90568" y="-14348"/>
                        <a:pt x="42667" y="23568"/>
                      </a:cubicBezTo>
                      <a:cubicBezTo>
                        <a:pt x="-5100" y="61484"/>
                        <a:pt x="-14140" y="131785"/>
                        <a:pt x="22561" y="180496"/>
                      </a:cubicBezTo>
                      <a:cubicBezTo>
                        <a:pt x="59263" y="229207"/>
                        <a:pt x="127810" y="237977"/>
                        <a:pt x="175711" y="200061"/>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27" name="Freeform: Shape 259">
                  <a:extLst>
                    <a:ext uri="{FF2B5EF4-FFF2-40B4-BE49-F238E27FC236}">
                      <a16:creationId xmlns:a16="http://schemas.microsoft.com/office/drawing/2014/main" id="{827B5470-4924-934C-954E-22DB101688F6}"/>
                    </a:ext>
                  </a:extLst>
                </p:cNvPr>
                <p:cNvSpPr/>
                <p:nvPr/>
              </p:nvSpPr>
              <p:spPr>
                <a:xfrm>
                  <a:off x="6205492" y="2748286"/>
                  <a:ext cx="218979" cy="223091"/>
                </a:xfrm>
                <a:custGeom>
                  <a:avLst/>
                  <a:gdLst>
                    <a:gd name="connsiteX0" fmla="*/ 153748 w 218979"/>
                    <a:gd name="connsiteY0" fmla="*/ 212824 h 223091"/>
                    <a:gd name="connsiteX1" fmla="*/ 209610 w 218979"/>
                    <a:gd name="connsiteY1" fmla="*/ 64802 h 223091"/>
                    <a:gd name="connsiteX2" fmla="*/ 65231 w 218979"/>
                    <a:gd name="connsiteY2" fmla="*/ 10289 h 223091"/>
                    <a:gd name="connsiteX3" fmla="*/ 9369 w 218979"/>
                    <a:gd name="connsiteY3" fmla="*/ 158311 h 223091"/>
                    <a:gd name="connsiteX4" fmla="*/ 153748 w 218979"/>
                    <a:gd name="connsiteY4" fmla="*/ 212824 h 223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979" h="223091">
                      <a:moveTo>
                        <a:pt x="153748" y="212824"/>
                      </a:moveTo>
                      <a:cubicBezTo>
                        <a:pt x="209071" y="187052"/>
                        <a:pt x="234033" y="120799"/>
                        <a:pt x="209610" y="64802"/>
                      </a:cubicBezTo>
                      <a:cubicBezTo>
                        <a:pt x="185187" y="8804"/>
                        <a:pt x="120554" y="-15484"/>
                        <a:pt x="65231" y="10289"/>
                      </a:cubicBezTo>
                      <a:cubicBezTo>
                        <a:pt x="9909" y="36061"/>
                        <a:pt x="-15054" y="102313"/>
                        <a:pt x="9369" y="158311"/>
                      </a:cubicBezTo>
                      <a:cubicBezTo>
                        <a:pt x="33792" y="214173"/>
                        <a:pt x="98425" y="238596"/>
                        <a:pt x="153748" y="212824"/>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28" name="Freeform: Shape 260">
                  <a:extLst>
                    <a:ext uri="{FF2B5EF4-FFF2-40B4-BE49-F238E27FC236}">
                      <a16:creationId xmlns:a16="http://schemas.microsoft.com/office/drawing/2014/main" id="{F7AEB1E7-ECE5-7C49-B9D7-53684DAF9853}"/>
                    </a:ext>
                  </a:extLst>
                </p:cNvPr>
                <p:cNvSpPr/>
                <p:nvPr/>
              </p:nvSpPr>
              <p:spPr>
                <a:xfrm>
                  <a:off x="6076630" y="2199106"/>
                  <a:ext cx="218979" cy="223170"/>
                </a:xfrm>
                <a:custGeom>
                  <a:avLst/>
                  <a:gdLst>
                    <a:gd name="connsiteX0" fmla="*/ 153748 w 218979"/>
                    <a:gd name="connsiteY0" fmla="*/ 212824 h 223170"/>
                    <a:gd name="connsiteX1" fmla="*/ 209610 w 218979"/>
                    <a:gd name="connsiteY1" fmla="*/ 64802 h 223170"/>
                    <a:gd name="connsiteX2" fmla="*/ 65231 w 218979"/>
                    <a:gd name="connsiteY2" fmla="*/ 10289 h 223170"/>
                    <a:gd name="connsiteX3" fmla="*/ 9369 w 218979"/>
                    <a:gd name="connsiteY3" fmla="*/ 158311 h 223170"/>
                    <a:gd name="connsiteX4" fmla="*/ 153748 w 218979"/>
                    <a:gd name="connsiteY4" fmla="*/ 212824 h 223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979" h="223170">
                      <a:moveTo>
                        <a:pt x="153748" y="212824"/>
                      </a:moveTo>
                      <a:cubicBezTo>
                        <a:pt x="209071" y="187052"/>
                        <a:pt x="234033" y="120799"/>
                        <a:pt x="209610" y="64802"/>
                      </a:cubicBezTo>
                      <a:cubicBezTo>
                        <a:pt x="185187" y="8804"/>
                        <a:pt x="120554" y="-15484"/>
                        <a:pt x="65231" y="10289"/>
                      </a:cubicBezTo>
                      <a:cubicBezTo>
                        <a:pt x="9909" y="36061"/>
                        <a:pt x="-15054" y="102313"/>
                        <a:pt x="9369" y="158311"/>
                      </a:cubicBezTo>
                      <a:cubicBezTo>
                        <a:pt x="33792" y="214308"/>
                        <a:pt x="98425" y="238731"/>
                        <a:pt x="153748" y="212824"/>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29" name="Freeform: Shape 261">
                  <a:extLst>
                    <a:ext uri="{FF2B5EF4-FFF2-40B4-BE49-F238E27FC236}">
                      <a16:creationId xmlns:a16="http://schemas.microsoft.com/office/drawing/2014/main" id="{EB5DD67F-D3D3-D14E-B77C-80E4DFA1BDFD}"/>
                    </a:ext>
                  </a:extLst>
                </p:cNvPr>
                <p:cNvSpPr/>
                <p:nvPr/>
              </p:nvSpPr>
              <p:spPr>
                <a:xfrm>
                  <a:off x="5709746" y="2553307"/>
                  <a:ext cx="218979" cy="223112"/>
                </a:xfrm>
                <a:custGeom>
                  <a:avLst/>
                  <a:gdLst>
                    <a:gd name="connsiteX0" fmla="*/ 153748 w 218979"/>
                    <a:gd name="connsiteY0" fmla="*/ 212824 h 223112"/>
                    <a:gd name="connsiteX1" fmla="*/ 209610 w 218979"/>
                    <a:gd name="connsiteY1" fmla="*/ 64802 h 223112"/>
                    <a:gd name="connsiteX2" fmla="*/ 65231 w 218979"/>
                    <a:gd name="connsiteY2" fmla="*/ 10289 h 223112"/>
                    <a:gd name="connsiteX3" fmla="*/ 9369 w 218979"/>
                    <a:gd name="connsiteY3" fmla="*/ 158311 h 223112"/>
                    <a:gd name="connsiteX4" fmla="*/ 153748 w 218979"/>
                    <a:gd name="connsiteY4" fmla="*/ 212824 h 223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979" h="223112">
                      <a:moveTo>
                        <a:pt x="153748" y="212824"/>
                      </a:moveTo>
                      <a:cubicBezTo>
                        <a:pt x="209071" y="187052"/>
                        <a:pt x="234033" y="120799"/>
                        <a:pt x="209610" y="64802"/>
                      </a:cubicBezTo>
                      <a:cubicBezTo>
                        <a:pt x="185187" y="8804"/>
                        <a:pt x="120554" y="-15484"/>
                        <a:pt x="65231" y="10289"/>
                      </a:cubicBezTo>
                      <a:cubicBezTo>
                        <a:pt x="9909" y="36061"/>
                        <a:pt x="-15054" y="102313"/>
                        <a:pt x="9369" y="158311"/>
                      </a:cubicBezTo>
                      <a:cubicBezTo>
                        <a:pt x="33792" y="214308"/>
                        <a:pt x="98425" y="238596"/>
                        <a:pt x="153748" y="212824"/>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30" name="Freeform: Shape 262">
                  <a:extLst>
                    <a:ext uri="{FF2B5EF4-FFF2-40B4-BE49-F238E27FC236}">
                      <a16:creationId xmlns:a16="http://schemas.microsoft.com/office/drawing/2014/main" id="{EE8043D4-DFBF-7044-9AB1-EDC32E03BF05}"/>
                    </a:ext>
                  </a:extLst>
                </p:cNvPr>
                <p:cNvSpPr/>
                <p:nvPr/>
              </p:nvSpPr>
              <p:spPr>
                <a:xfrm>
                  <a:off x="6009104" y="2552758"/>
                  <a:ext cx="176998" cy="180356"/>
                </a:xfrm>
                <a:custGeom>
                  <a:avLst/>
                  <a:gdLst>
                    <a:gd name="connsiteX0" fmla="*/ 124257 w 176998"/>
                    <a:gd name="connsiteY0" fmla="*/ 172083 h 180356"/>
                    <a:gd name="connsiteX1" fmla="*/ 169459 w 176998"/>
                    <a:gd name="connsiteY1" fmla="*/ 52397 h 180356"/>
                    <a:gd name="connsiteX2" fmla="*/ 52742 w 176998"/>
                    <a:gd name="connsiteY2" fmla="*/ 8273 h 180356"/>
                    <a:gd name="connsiteX3" fmla="*/ 7539 w 176998"/>
                    <a:gd name="connsiteY3" fmla="*/ 127960 h 180356"/>
                    <a:gd name="connsiteX4" fmla="*/ 124257 w 176998"/>
                    <a:gd name="connsiteY4" fmla="*/ 172083 h 1803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998" h="180356">
                      <a:moveTo>
                        <a:pt x="124257" y="172083"/>
                      </a:moveTo>
                      <a:cubicBezTo>
                        <a:pt x="168920" y="151168"/>
                        <a:pt x="189160" y="97599"/>
                        <a:pt x="169459" y="52397"/>
                      </a:cubicBezTo>
                      <a:cubicBezTo>
                        <a:pt x="149759" y="7194"/>
                        <a:pt x="97405" y="-12506"/>
                        <a:pt x="52742" y="8273"/>
                      </a:cubicBezTo>
                      <a:cubicBezTo>
                        <a:pt x="8079" y="29188"/>
                        <a:pt x="-12161" y="82757"/>
                        <a:pt x="7539" y="127960"/>
                      </a:cubicBezTo>
                      <a:cubicBezTo>
                        <a:pt x="27239" y="173162"/>
                        <a:pt x="79594" y="192863"/>
                        <a:pt x="124257" y="172083"/>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31" name="Freeform: Shape 263">
                  <a:extLst>
                    <a:ext uri="{FF2B5EF4-FFF2-40B4-BE49-F238E27FC236}">
                      <a16:creationId xmlns:a16="http://schemas.microsoft.com/office/drawing/2014/main" id="{B9B8743B-1EDA-C84D-95C5-A020A2DACA61}"/>
                    </a:ext>
                  </a:extLst>
                </p:cNvPr>
                <p:cNvSpPr/>
                <p:nvPr/>
              </p:nvSpPr>
              <p:spPr>
                <a:xfrm>
                  <a:off x="5855010" y="2295305"/>
                  <a:ext cx="176998" cy="180414"/>
                </a:xfrm>
                <a:custGeom>
                  <a:avLst/>
                  <a:gdLst>
                    <a:gd name="connsiteX0" fmla="*/ 124257 w 176998"/>
                    <a:gd name="connsiteY0" fmla="*/ 172083 h 180414"/>
                    <a:gd name="connsiteX1" fmla="*/ 169459 w 176998"/>
                    <a:gd name="connsiteY1" fmla="*/ 52397 h 180414"/>
                    <a:gd name="connsiteX2" fmla="*/ 52742 w 176998"/>
                    <a:gd name="connsiteY2" fmla="*/ 8273 h 180414"/>
                    <a:gd name="connsiteX3" fmla="*/ 7539 w 176998"/>
                    <a:gd name="connsiteY3" fmla="*/ 127960 h 180414"/>
                    <a:gd name="connsiteX4" fmla="*/ 124257 w 176998"/>
                    <a:gd name="connsiteY4" fmla="*/ 172083 h 180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998" h="180414">
                      <a:moveTo>
                        <a:pt x="124257" y="172083"/>
                      </a:moveTo>
                      <a:cubicBezTo>
                        <a:pt x="168920" y="151168"/>
                        <a:pt x="189160" y="97599"/>
                        <a:pt x="169459" y="52397"/>
                      </a:cubicBezTo>
                      <a:cubicBezTo>
                        <a:pt x="149759" y="7194"/>
                        <a:pt x="97405" y="-12506"/>
                        <a:pt x="52742" y="8273"/>
                      </a:cubicBezTo>
                      <a:cubicBezTo>
                        <a:pt x="8079" y="29188"/>
                        <a:pt x="-12161" y="82757"/>
                        <a:pt x="7539" y="127960"/>
                      </a:cubicBezTo>
                      <a:cubicBezTo>
                        <a:pt x="27239" y="173162"/>
                        <a:pt x="79594" y="192998"/>
                        <a:pt x="124257" y="172083"/>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32" name="Freeform: Shape 264">
                  <a:extLst>
                    <a:ext uri="{FF2B5EF4-FFF2-40B4-BE49-F238E27FC236}">
                      <a16:creationId xmlns:a16="http://schemas.microsoft.com/office/drawing/2014/main" id="{E8483699-D0F3-C34E-AE06-C99DEA014F6E}"/>
                    </a:ext>
                  </a:extLst>
                </p:cNvPr>
                <p:cNvSpPr/>
                <p:nvPr/>
              </p:nvSpPr>
              <p:spPr>
                <a:xfrm>
                  <a:off x="6444373" y="2632714"/>
                  <a:ext cx="154923" cy="157807"/>
                </a:xfrm>
                <a:custGeom>
                  <a:avLst/>
                  <a:gdLst>
                    <a:gd name="connsiteX0" fmla="*/ 108766 w 154923"/>
                    <a:gd name="connsiteY0" fmla="*/ 150554 h 157807"/>
                    <a:gd name="connsiteX1" fmla="*/ 148302 w 154923"/>
                    <a:gd name="connsiteY1" fmla="*/ 45845 h 157807"/>
                    <a:gd name="connsiteX2" fmla="*/ 46157 w 154923"/>
                    <a:gd name="connsiteY2" fmla="*/ 7254 h 157807"/>
                    <a:gd name="connsiteX3" fmla="*/ 6621 w 154923"/>
                    <a:gd name="connsiteY3" fmla="*/ 111963 h 157807"/>
                    <a:gd name="connsiteX4" fmla="*/ 108766 w 154923"/>
                    <a:gd name="connsiteY4" fmla="*/ 150554 h 157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923" h="157807">
                      <a:moveTo>
                        <a:pt x="108766" y="150554"/>
                      </a:moveTo>
                      <a:cubicBezTo>
                        <a:pt x="147897" y="132338"/>
                        <a:pt x="165573" y="85516"/>
                        <a:pt x="148302" y="45845"/>
                      </a:cubicBezTo>
                      <a:cubicBezTo>
                        <a:pt x="131030" y="6310"/>
                        <a:pt x="85288" y="-10962"/>
                        <a:pt x="46157" y="7254"/>
                      </a:cubicBezTo>
                      <a:cubicBezTo>
                        <a:pt x="7026" y="25470"/>
                        <a:pt x="-10650" y="72292"/>
                        <a:pt x="6621" y="111963"/>
                      </a:cubicBezTo>
                      <a:cubicBezTo>
                        <a:pt x="23893" y="151498"/>
                        <a:pt x="69636" y="168770"/>
                        <a:pt x="108766" y="150554"/>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33" name="Freeform: Shape 265">
                  <a:extLst>
                    <a:ext uri="{FF2B5EF4-FFF2-40B4-BE49-F238E27FC236}">
                      <a16:creationId xmlns:a16="http://schemas.microsoft.com/office/drawing/2014/main" id="{8995F8B2-2164-1A4F-BD52-F72BA044FC1C}"/>
                    </a:ext>
                  </a:extLst>
                </p:cNvPr>
                <p:cNvSpPr/>
                <p:nvPr/>
              </p:nvSpPr>
              <p:spPr>
                <a:xfrm>
                  <a:off x="6209267" y="2482611"/>
                  <a:ext cx="98489" cy="100325"/>
                </a:xfrm>
                <a:custGeom>
                  <a:avLst/>
                  <a:gdLst>
                    <a:gd name="connsiteX0" fmla="*/ 69147 w 98489"/>
                    <a:gd name="connsiteY0" fmla="*/ 95692 h 100325"/>
                    <a:gd name="connsiteX1" fmla="*/ 94245 w 98489"/>
                    <a:gd name="connsiteY1" fmla="*/ 29170 h 100325"/>
                    <a:gd name="connsiteX2" fmla="*/ 29342 w 98489"/>
                    <a:gd name="connsiteY2" fmla="*/ 4612 h 100325"/>
                    <a:gd name="connsiteX3" fmla="*/ 4244 w 98489"/>
                    <a:gd name="connsiteY3" fmla="*/ 71134 h 100325"/>
                    <a:gd name="connsiteX4" fmla="*/ 69147 w 98489"/>
                    <a:gd name="connsiteY4" fmla="*/ 95692 h 100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89" h="100325">
                      <a:moveTo>
                        <a:pt x="69147" y="95692"/>
                      </a:moveTo>
                      <a:cubicBezTo>
                        <a:pt x="93975" y="84088"/>
                        <a:pt x="105310" y="54267"/>
                        <a:pt x="94245" y="29170"/>
                      </a:cubicBezTo>
                      <a:cubicBezTo>
                        <a:pt x="83315" y="4072"/>
                        <a:pt x="54170" y="-6993"/>
                        <a:pt x="29342" y="4612"/>
                      </a:cubicBezTo>
                      <a:cubicBezTo>
                        <a:pt x="4514" y="16216"/>
                        <a:pt x="-6820" y="46036"/>
                        <a:pt x="4244" y="71134"/>
                      </a:cubicBezTo>
                      <a:cubicBezTo>
                        <a:pt x="15174" y="96367"/>
                        <a:pt x="44320" y="107296"/>
                        <a:pt x="69147" y="95692"/>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34" name="Freeform: Shape 266">
                  <a:extLst>
                    <a:ext uri="{FF2B5EF4-FFF2-40B4-BE49-F238E27FC236}">
                      <a16:creationId xmlns:a16="http://schemas.microsoft.com/office/drawing/2014/main" id="{C64EEC18-14BF-A74C-98CC-DEEF4EC5ECAF}"/>
                    </a:ext>
                  </a:extLst>
                </p:cNvPr>
                <p:cNvSpPr/>
                <p:nvPr/>
              </p:nvSpPr>
              <p:spPr>
                <a:xfrm>
                  <a:off x="6447425" y="2044347"/>
                  <a:ext cx="98489" cy="100245"/>
                </a:xfrm>
                <a:custGeom>
                  <a:avLst/>
                  <a:gdLst>
                    <a:gd name="connsiteX0" fmla="*/ 69148 w 98489"/>
                    <a:gd name="connsiteY0" fmla="*/ 95692 h 100245"/>
                    <a:gd name="connsiteX1" fmla="*/ 94245 w 98489"/>
                    <a:gd name="connsiteY1" fmla="*/ 29170 h 100245"/>
                    <a:gd name="connsiteX2" fmla="*/ 29342 w 98489"/>
                    <a:gd name="connsiteY2" fmla="*/ 4612 h 100245"/>
                    <a:gd name="connsiteX3" fmla="*/ 4244 w 98489"/>
                    <a:gd name="connsiteY3" fmla="*/ 71134 h 100245"/>
                    <a:gd name="connsiteX4" fmla="*/ 69148 w 98489"/>
                    <a:gd name="connsiteY4" fmla="*/ 95692 h 100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89" h="100245">
                      <a:moveTo>
                        <a:pt x="69148" y="95692"/>
                      </a:moveTo>
                      <a:cubicBezTo>
                        <a:pt x="93975" y="84088"/>
                        <a:pt x="105310" y="54267"/>
                        <a:pt x="94245" y="29170"/>
                      </a:cubicBezTo>
                      <a:cubicBezTo>
                        <a:pt x="83316" y="4072"/>
                        <a:pt x="54170" y="-6993"/>
                        <a:pt x="29342" y="4612"/>
                      </a:cubicBezTo>
                      <a:cubicBezTo>
                        <a:pt x="4514" y="16216"/>
                        <a:pt x="-6820" y="46036"/>
                        <a:pt x="4244" y="71134"/>
                      </a:cubicBezTo>
                      <a:cubicBezTo>
                        <a:pt x="15174" y="96232"/>
                        <a:pt x="44185" y="107161"/>
                        <a:pt x="69148" y="95692"/>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35" name="Freeform: Shape 267">
                  <a:extLst>
                    <a:ext uri="{FF2B5EF4-FFF2-40B4-BE49-F238E27FC236}">
                      <a16:creationId xmlns:a16="http://schemas.microsoft.com/office/drawing/2014/main" id="{6C35420E-6AE2-A54E-890C-9B5078A56B52}"/>
                    </a:ext>
                  </a:extLst>
                </p:cNvPr>
                <p:cNvSpPr/>
                <p:nvPr/>
              </p:nvSpPr>
              <p:spPr>
                <a:xfrm>
                  <a:off x="6006793" y="2768885"/>
                  <a:ext cx="73055" cy="78746"/>
                </a:xfrm>
                <a:custGeom>
                  <a:avLst/>
                  <a:gdLst>
                    <a:gd name="connsiteX0" fmla="*/ 0 w 73055"/>
                    <a:gd name="connsiteY0" fmla="*/ 55538 h 78746"/>
                    <a:gd name="connsiteX1" fmla="*/ 26717 w 73055"/>
                    <a:gd name="connsiteY1" fmla="*/ 78746 h 78746"/>
                    <a:gd name="connsiteX2" fmla="*/ 71650 w 73055"/>
                    <a:gd name="connsiteY2" fmla="*/ 27067 h 78746"/>
                    <a:gd name="connsiteX3" fmla="*/ 44933 w 73055"/>
                    <a:gd name="connsiteY3" fmla="*/ 3858 h 78746"/>
                    <a:gd name="connsiteX4" fmla="*/ 0 w 73055"/>
                    <a:gd name="connsiteY4" fmla="*/ 55538 h 78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055" h="78746">
                      <a:moveTo>
                        <a:pt x="0" y="55538"/>
                      </a:moveTo>
                      <a:lnTo>
                        <a:pt x="26717" y="78746"/>
                      </a:lnTo>
                      <a:cubicBezTo>
                        <a:pt x="26717" y="78746"/>
                        <a:pt x="29416" y="39885"/>
                        <a:pt x="71650" y="27067"/>
                      </a:cubicBezTo>
                      <a:cubicBezTo>
                        <a:pt x="78801" y="10200"/>
                        <a:pt x="56942" y="-8151"/>
                        <a:pt x="44933" y="3858"/>
                      </a:cubicBezTo>
                      <a:cubicBezTo>
                        <a:pt x="40750" y="49870"/>
                        <a:pt x="0" y="55538"/>
                        <a:pt x="0" y="55538"/>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36" name="Freeform: Shape 268">
                  <a:extLst>
                    <a:ext uri="{FF2B5EF4-FFF2-40B4-BE49-F238E27FC236}">
                      <a16:creationId xmlns:a16="http://schemas.microsoft.com/office/drawing/2014/main" id="{95539DB2-EC1C-D74F-B4E2-BADF104BC743}"/>
                    </a:ext>
                  </a:extLst>
                </p:cNvPr>
                <p:cNvSpPr/>
                <p:nvPr/>
              </p:nvSpPr>
              <p:spPr>
                <a:xfrm>
                  <a:off x="5943548" y="2807031"/>
                  <a:ext cx="98560" cy="100226"/>
                </a:xfrm>
                <a:custGeom>
                  <a:avLst/>
                  <a:gdLst>
                    <a:gd name="connsiteX0" fmla="*/ 30457 w 98560"/>
                    <a:gd name="connsiteY0" fmla="*/ 4168 h 100226"/>
                    <a:gd name="connsiteX1" fmla="*/ 3740 w 98560"/>
                    <a:gd name="connsiteY1" fmla="*/ 70016 h 100226"/>
                    <a:gd name="connsiteX2" fmla="*/ 68103 w 98560"/>
                    <a:gd name="connsiteY2" fmla="*/ 96058 h 100226"/>
                    <a:gd name="connsiteX3" fmla="*/ 94820 w 98560"/>
                    <a:gd name="connsiteY3" fmla="*/ 30210 h 100226"/>
                    <a:gd name="connsiteX4" fmla="*/ 30457 w 98560"/>
                    <a:gd name="connsiteY4" fmla="*/ 4168 h 100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60" h="100226">
                      <a:moveTo>
                        <a:pt x="30457" y="4168"/>
                      </a:moveTo>
                      <a:cubicBezTo>
                        <a:pt x="5359" y="15098"/>
                        <a:pt x="-6650" y="44648"/>
                        <a:pt x="3740" y="70016"/>
                      </a:cubicBezTo>
                      <a:cubicBezTo>
                        <a:pt x="14130" y="95383"/>
                        <a:pt x="42871" y="107122"/>
                        <a:pt x="68103" y="96058"/>
                      </a:cubicBezTo>
                      <a:cubicBezTo>
                        <a:pt x="93201" y="85128"/>
                        <a:pt x="105210" y="55578"/>
                        <a:pt x="94820" y="30210"/>
                      </a:cubicBezTo>
                      <a:cubicBezTo>
                        <a:pt x="84430" y="4843"/>
                        <a:pt x="55554" y="-6896"/>
                        <a:pt x="30457" y="4168"/>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37" name="Freeform: Shape 269">
                  <a:extLst>
                    <a:ext uri="{FF2B5EF4-FFF2-40B4-BE49-F238E27FC236}">
                      <a16:creationId xmlns:a16="http://schemas.microsoft.com/office/drawing/2014/main" id="{B9996BDD-EAAB-0F41-B7B8-E9558AE38DBD}"/>
                    </a:ext>
                  </a:extLst>
                </p:cNvPr>
                <p:cNvSpPr/>
                <p:nvPr/>
              </p:nvSpPr>
              <p:spPr>
                <a:xfrm>
                  <a:off x="6587022" y="2560627"/>
                  <a:ext cx="107258" cy="68141"/>
                </a:xfrm>
                <a:custGeom>
                  <a:avLst/>
                  <a:gdLst>
                    <a:gd name="connsiteX0" fmla="*/ 94304 w 107258"/>
                    <a:gd name="connsiteY0" fmla="*/ 68141 h 68141"/>
                    <a:gd name="connsiteX1" fmla="*/ 107258 w 107258"/>
                    <a:gd name="connsiteY1" fmla="*/ 24963 h 68141"/>
                    <a:gd name="connsiteX2" fmla="*/ 23869 w 107258"/>
                    <a:gd name="connsiteY2" fmla="*/ 0 h 68141"/>
                    <a:gd name="connsiteX3" fmla="*/ 10915 w 107258"/>
                    <a:gd name="connsiteY3" fmla="*/ 43179 h 68141"/>
                    <a:gd name="connsiteX4" fmla="*/ 94304 w 107258"/>
                    <a:gd name="connsiteY4" fmla="*/ 68141 h 68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58" h="68141">
                      <a:moveTo>
                        <a:pt x="94304" y="68141"/>
                      </a:moveTo>
                      <a:lnTo>
                        <a:pt x="107258" y="24963"/>
                      </a:lnTo>
                      <a:cubicBezTo>
                        <a:pt x="107258" y="24963"/>
                        <a:pt x="60841" y="42234"/>
                        <a:pt x="23869" y="0"/>
                      </a:cubicBezTo>
                      <a:cubicBezTo>
                        <a:pt x="661" y="405"/>
                        <a:pt x="-9325" y="35488"/>
                        <a:pt x="10915" y="43179"/>
                      </a:cubicBezTo>
                      <a:cubicBezTo>
                        <a:pt x="66373" y="23748"/>
                        <a:pt x="94304" y="68141"/>
                        <a:pt x="94304" y="68141"/>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38" name="Freeform: Shape 270">
                  <a:extLst>
                    <a:ext uri="{FF2B5EF4-FFF2-40B4-BE49-F238E27FC236}">
                      <a16:creationId xmlns:a16="http://schemas.microsoft.com/office/drawing/2014/main" id="{CED96CBD-00E6-B846-830C-E33353206A0A}"/>
                    </a:ext>
                  </a:extLst>
                </p:cNvPr>
                <p:cNvSpPr/>
                <p:nvPr/>
              </p:nvSpPr>
              <p:spPr>
                <a:xfrm>
                  <a:off x="6614437" y="2547845"/>
                  <a:ext cx="127943" cy="124875"/>
                </a:xfrm>
                <a:custGeom>
                  <a:avLst/>
                  <a:gdLst>
                    <a:gd name="connsiteX0" fmla="*/ 20472 w 127943"/>
                    <a:gd name="connsiteY0" fmla="*/ 108315 h 124875"/>
                    <a:gd name="connsiteX1" fmla="*/ 110878 w 127943"/>
                    <a:gd name="connsiteY1" fmla="*/ 104807 h 124875"/>
                    <a:gd name="connsiteX2" fmla="*/ 107370 w 127943"/>
                    <a:gd name="connsiteY2" fmla="*/ 16560 h 124875"/>
                    <a:gd name="connsiteX3" fmla="*/ 16964 w 127943"/>
                    <a:gd name="connsiteY3" fmla="*/ 20069 h 124875"/>
                    <a:gd name="connsiteX4" fmla="*/ 20472 w 127943"/>
                    <a:gd name="connsiteY4" fmla="*/ 108315 h 12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943" h="124875">
                      <a:moveTo>
                        <a:pt x="20472" y="108315"/>
                      </a:moveTo>
                      <a:cubicBezTo>
                        <a:pt x="46380" y="131659"/>
                        <a:pt x="86860" y="130175"/>
                        <a:pt x="110878" y="104807"/>
                      </a:cubicBezTo>
                      <a:cubicBezTo>
                        <a:pt x="134896" y="79440"/>
                        <a:pt x="133412" y="39904"/>
                        <a:pt x="107370" y="16560"/>
                      </a:cubicBezTo>
                      <a:cubicBezTo>
                        <a:pt x="81462" y="-6783"/>
                        <a:pt x="40982" y="-5299"/>
                        <a:pt x="16964" y="20069"/>
                      </a:cubicBezTo>
                      <a:cubicBezTo>
                        <a:pt x="-6919" y="45436"/>
                        <a:pt x="-5435" y="84972"/>
                        <a:pt x="20472" y="108315"/>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39" name="Freeform: Shape 271">
                  <a:extLst>
                    <a:ext uri="{FF2B5EF4-FFF2-40B4-BE49-F238E27FC236}">
                      <a16:creationId xmlns:a16="http://schemas.microsoft.com/office/drawing/2014/main" id="{1A725973-5998-0942-ADAF-8DA7AEC7046C}"/>
                    </a:ext>
                  </a:extLst>
                </p:cNvPr>
                <p:cNvSpPr/>
                <p:nvPr/>
              </p:nvSpPr>
              <p:spPr>
                <a:xfrm>
                  <a:off x="6603055" y="2358394"/>
                  <a:ext cx="154923" cy="157829"/>
                </a:xfrm>
                <a:custGeom>
                  <a:avLst/>
                  <a:gdLst>
                    <a:gd name="connsiteX0" fmla="*/ 108766 w 154923"/>
                    <a:gd name="connsiteY0" fmla="*/ 150554 h 157829"/>
                    <a:gd name="connsiteX1" fmla="*/ 148302 w 154923"/>
                    <a:gd name="connsiteY1" fmla="*/ 45845 h 157829"/>
                    <a:gd name="connsiteX2" fmla="*/ 46157 w 154923"/>
                    <a:gd name="connsiteY2" fmla="*/ 7254 h 157829"/>
                    <a:gd name="connsiteX3" fmla="*/ 6622 w 154923"/>
                    <a:gd name="connsiteY3" fmla="*/ 111963 h 157829"/>
                    <a:gd name="connsiteX4" fmla="*/ 108766 w 154923"/>
                    <a:gd name="connsiteY4" fmla="*/ 150554 h 157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923" h="157829">
                      <a:moveTo>
                        <a:pt x="108766" y="150554"/>
                      </a:moveTo>
                      <a:cubicBezTo>
                        <a:pt x="147897" y="132338"/>
                        <a:pt x="165573" y="85516"/>
                        <a:pt x="148302" y="45845"/>
                      </a:cubicBezTo>
                      <a:cubicBezTo>
                        <a:pt x="131030" y="6310"/>
                        <a:pt x="85288" y="-10962"/>
                        <a:pt x="46157" y="7254"/>
                      </a:cubicBezTo>
                      <a:cubicBezTo>
                        <a:pt x="7026" y="25470"/>
                        <a:pt x="-10650" y="72292"/>
                        <a:pt x="6622" y="111963"/>
                      </a:cubicBezTo>
                      <a:cubicBezTo>
                        <a:pt x="24028" y="151633"/>
                        <a:pt x="69770" y="168770"/>
                        <a:pt x="108766" y="150554"/>
                      </a:cubicBezTo>
                      <a:close/>
                    </a:path>
                  </a:pathLst>
                </a:custGeom>
                <a:solidFill>
                  <a:schemeClr val="accent3"/>
                </a:solidFill>
                <a:ln w="1349" cap="flat">
                  <a:noFill/>
                  <a:prstDash val="solid"/>
                  <a:miter/>
                </a:ln>
              </p:spPr>
              <p:txBody>
                <a:bodyPr rtlCol="0" anchor="ctr"/>
                <a:lstStyle/>
                <a:p>
                  <a:endParaRPr lang="en-IN">
                    <a:latin typeface="+mn-lt"/>
                  </a:endParaRPr>
                </a:p>
              </p:txBody>
            </p:sp>
            <p:sp>
              <p:nvSpPr>
                <p:cNvPr id="140" name="Freeform: Shape 272">
                  <a:extLst>
                    <a:ext uri="{FF2B5EF4-FFF2-40B4-BE49-F238E27FC236}">
                      <a16:creationId xmlns:a16="http://schemas.microsoft.com/office/drawing/2014/main" id="{A31F63A9-478C-5F4E-B251-C29F843C0CA8}"/>
                    </a:ext>
                  </a:extLst>
                </p:cNvPr>
                <p:cNvSpPr/>
                <p:nvPr/>
              </p:nvSpPr>
              <p:spPr>
                <a:xfrm>
                  <a:off x="5815853" y="2059921"/>
                  <a:ext cx="154923" cy="157807"/>
                </a:xfrm>
                <a:custGeom>
                  <a:avLst/>
                  <a:gdLst>
                    <a:gd name="connsiteX0" fmla="*/ 108766 w 154923"/>
                    <a:gd name="connsiteY0" fmla="*/ 150554 h 157807"/>
                    <a:gd name="connsiteX1" fmla="*/ 148302 w 154923"/>
                    <a:gd name="connsiteY1" fmla="*/ 45845 h 157807"/>
                    <a:gd name="connsiteX2" fmla="*/ 46157 w 154923"/>
                    <a:gd name="connsiteY2" fmla="*/ 7254 h 157807"/>
                    <a:gd name="connsiteX3" fmla="*/ 6622 w 154923"/>
                    <a:gd name="connsiteY3" fmla="*/ 111963 h 157807"/>
                    <a:gd name="connsiteX4" fmla="*/ 108766 w 154923"/>
                    <a:gd name="connsiteY4" fmla="*/ 150554 h 157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923" h="157807">
                      <a:moveTo>
                        <a:pt x="108766" y="150554"/>
                      </a:moveTo>
                      <a:cubicBezTo>
                        <a:pt x="147897" y="132338"/>
                        <a:pt x="165573" y="85516"/>
                        <a:pt x="148302" y="45845"/>
                      </a:cubicBezTo>
                      <a:cubicBezTo>
                        <a:pt x="131030" y="6310"/>
                        <a:pt x="85288" y="-10962"/>
                        <a:pt x="46157" y="7254"/>
                      </a:cubicBezTo>
                      <a:cubicBezTo>
                        <a:pt x="7026" y="25470"/>
                        <a:pt x="-10650" y="72292"/>
                        <a:pt x="6622" y="111963"/>
                      </a:cubicBezTo>
                      <a:cubicBezTo>
                        <a:pt x="24028" y="151498"/>
                        <a:pt x="69635" y="168770"/>
                        <a:pt x="108766" y="150554"/>
                      </a:cubicBezTo>
                      <a:close/>
                    </a:path>
                  </a:pathLst>
                </a:custGeom>
                <a:solidFill>
                  <a:schemeClr val="accent3"/>
                </a:solidFill>
                <a:ln w="1349" cap="flat">
                  <a:noFill/>
                  <a:prstDash val="solid"/>
                  <a:miter/>
                </a:ln>
              </p:spPr>
              <p:txBody>
                <a:bodyPr rtlCol="0" anchor="ctr"/>
                <a:lstStyle/>
                <a:p>
                  <a:endParaRPr lang="en-IN">
                    <a:latin typeface="+mn-lt"/>
                  </a:endParaRPr>
                </a:p>
              </p:txBody>
            </p:sp>
          </p:grpSp>
        </p:grpSp>
      </p:grpSp>
      <p:sp>
        <p:nvSpPr>
          <p:cNvPr id="342" name="TextBox 341">
            <a:extLst>
              <a:ext uri="{FF2B5EF4-FFF2-40B4-BE49-F238E27FC236}">
                <a16:creationId xmlns:a16="http://schemas.microsoft.com/office/drawing/2014/main" id="{136DD62C-50D4-BE4A-BF55-F0B60B863C1D}"/>
              </a:ext>
            </a:extLst>
          </p:cNvPr>
          <p:cNvSpPr txBox="1"/>
          <p:nvPr/>
        </p:nvSpPr>
        <p:spPr>
          <a:xfrm>
            <a:off x="392191" y="2004322"/>
            <a:ext cx="3322460" cy="995465"/>
          </a:xfrm>
          <a:prstGeom prst="rect">
            <a:avLst/>
          </a:prstGeom>
          <a:noFill/>
        </p:spPr>
        <p:txBody>
          <a:bodyPr wrap="square" lIns="0" tIns="0" rIns="0" bIns="0" rtlCol="0" anchor="t">
            <a:spAutoFit/>
          </a:bodyPr>
          <a:lstStyle/>
          <a:p>
            <a:pPr>
              <a:lnSpc>
                <a:spcPct val="117000"/>
              </a:lnSpc>
              <a:spcBef>
                <a:spcPts val="0"/>
              </a:spcBef>
              <a:spcAft>
                <a:spcPts val="0"/>
              </a:spcAft>
            </a:pPr>
            <a:r>
              <a:rPr lang="en-US" sz="800" dirty="0">
                <a:latin typeface="+mn-lt"/>
                <a:cs typeface="Arial"/>
              </a:rPr>
              <a:t>The pandemic brought with it multiple challenges for organizations as well as solution providers. However, it made organizations realize the importance of future-proofing their HR strategies and ensuring employee resiliency. Some of the key challenges that COVID-19 posed are:</a:t>
            </a:r>
          </a:p>
          <a:p>
            <a:pPr marL="118872" marR="0" indent="-118872">
              <a:lnSpc>
                <a:spcPct val="117000"/>
              </a:lnSpc>
              <a:spcBef>
                <a:spcPts val="0"/>
              </a:spcBef>
              <a:spcAft>
                <a:spcPts val="0"/>
              </a:spcAft>
              <a:buClr>
                <a:schemeClr val="accent2"/>
              </a:buClr>
              <a:buSzPct val="70000"/>
              <a:buFont typeface="Wingdings" panose="05000000000000000000" pitchFamily="2" charset="2"/>
              <a:buChar char="l"/>
              <a:defRPr/>
            </a:pPr>
            <a:r>
              <a:rPr lang="en-US" sz="800" b="1" dirty="0">
                <a:latin typeface="+mn-lt"/>
                <a:cs typeface="+mn-cs"/>
              </a:rPr>
              <a:t>Organizational culture and values alignment</a:t>
            </a:r>
            <a:endParaRPr lang="en-US" sz="800" dirty="0">
              <a:latin typeface="+mn-lt"/>
              <a:cs typeface="+mn-cs"/>
            </a:endParaRPr>
          </a:p>
          <a:p>
            <a:pPr marL="118872" marR="0" indent="-118872">
              <a:lnSpc>
                <a:spcPct val="117000"/>
              </a:lnSpc>
              <a:spcBef>
                <a:spcPts val="0"/>
              </a:spcBef>
              <a:spcAft>
                <a:spcPts val="0"/>
              </a:spcAft>
              <a:buClr>
                <a:schemeClr val="accent2"/>
              </a:buClr>
              <a:buSzPct val="70000"/>
              <a:buFont typeface="Wingdings" panose="05000000000000000000" pitchFamily="2" charset="2"/>
              <a:buChar char="l"/>
              <a:defRPr/>
            </a:pPr>
            <a:r>
              <a:rPr lang="en-US" sz="800" b="1" dirty="0">
                <a:latin typeface="+mn-lt"/>
                <a:cs typeface="+mn-cs"/>
              </a:rPr>
              <a:t>Employee experience</a:t>
            </a:r>
            <a:endParaRPr lang="en-US" sz="800" dirty="0">
              <a:latin typeface="+mn-lt"/>
              <a:cs typeface="+mn-cs"/>
            </a:endParaRPr>
          </a:p>
          <a:p>
            <a:pPr marL="118872" marR="0" indent="-118872">
              <a:lnSpc>
                <a:spcPct val="117000"/>
              </a:lnSpc>
              <a:spcBef>
                <a:spcPts val="0"/>
              </a:spcBef>
              <a:spcAft>
                <a:spcPts val="0"/>
              </a:spcAft>
              <a:buClr>
                <a:schemeClr val="accent2"/>
              </a:buClr>
              <a:buSzPct val="70000"/>
              <a:buFont typeface="Wingdings" panose="05000000000000000000" pitchFamily="2" charset="2"/>
              <a:buChar char="l"/>
              <a:defRPr/>
            </a:pPr>
            <a:r>
              <a:rPr lang="en-US" sz="800" b="1" dirty="0">
                <a:latin typeface="+mn-lt"/>
                <a:cs typeface="+mn-cs"/>
              </a:rPr>
              <a:t>Recognition culture</a:t>
            </a:r>
            <a:endParaRPr lang="en-US" sz="800" dirty="0">
              <a:latin typeface="+mn-lt"/>
              <a:cs typeface="+mn-cs"/>
            </a:endParaRPr>
          </a:p>
        </p:txBody>
      </p:sp>
      <p:sp>
        <p:nvSpPr>
          <p:cNvPr id="343" name="TextBox 342">
            <a:extLst>
              <a:ext uri="{FF2B5EF4-FFF2-40B4-BE49-F238E27FC236}">
                <a16:creationId xmlns:a16="http://schemas.microsoft.com/office/drawing/2014/main" id="{05D34117-F7EA-0F46-9D79-3899ABA205F8}"/>
              </a:ext>
            </a:extLst>
          </p:cNvPr>
          <p:cNvSpPr txBox="1"/>
          <p:nvPr/>
        </p:nvSpPr>
        <p:spPr>
          <a:xfrm>
            <a:off x="6177659" y="1941704"/>
            <a:ext cx="2238599" cy="123111"/>
          </a:xfrm>
          <a:prstGeom prst="rect">
            <a:avLst/>
          </a:prstGeom>
          <a:solidFill>
            <a:schemeClr val="bg1"/>
          </a:solidFill>
        </p:spPr>
        <p:txBody>
          <a:bodyPr wrap="square" lIns="0" tIns="0" rIns="0" bIns="0" rtlCol="0" anchor="t" anchorCtr="0">
            <a:spAutoFit/>
          </a:bodyPr>
          <a:lstStyle/>
          <a:p>
            <a:r>
              <a:rPr lang="en-US" sz="800" dirty="0"/>
              <a:t>2020; Split of active deals/clients</a:t>
            </a:r>
            <a:endParaRPr lang="en-US" sz="800" b="1" baseline="30000" dirty="0"/>
          </a:p>
        </p:txBody>
      </p:sp>
      <p:grpSp>
        <p:nvGrpSpPr>
          <p:cNvPr id="344" name="Graphic 7">
            <a:extLst>
              <a:ext uri="{FF2B5EF4-FFF2-40B4-BE49-F238E27FC236}">
                <a16:creationId xmlns:a16="http://schemas.microsoft.com/office/drawing/2014/main" id="{6172A576-8366-BA48-873E-44DA56EEE84C}"/>
              </a:ext>
            </a:extLst>
          </p:cNvPr>
          <p:cNvGrpSpPr/>
          <p:nvPr/>
        </p:nvGrpSpPr>
        <p:grpSpPr>
          <a:xfrm>
            <a:off x="10007582" y="2103939"/>
            <a:ext cx="1097597" cy="1097547"/>
            <a:chOff x="-702913" y="2635709"/>
            <a:chExt cx="612871" cy="612843"/>
          </a:xfrm>
          <a:solidFill>
            <a:schemeClr val="accent2"/>
          </a:solidFill>
        </p:grpSpPr>
        <p:sp>
          <p:nvSpPr>
            <p:cNvPr id="345" name="Graphic 7">
              <a:extLst>
                <a:ext uri="{FF2B5EF4-FFF2-40B4-BE49-F238E27FC236}">
                  <a16:creationId xmlns:a16="http://schemas.microsoft.com/office/drawing/2014/main" id="{D0BB3254-E5F8-A44C-BCD0-29AFB21496A3}"/>
                </a:ext>
              </a:extLst>
            </p:cNvPr>
            <p:cNvSpPr/>
            <p:nvPr/>
          </p:nvSpPr>
          <p:spPr>
            <a:xfrm>
              <a:off x="-702913" y="2635709"/>
              <a:ext cx="612871" cy="612843"/>
            </a:xfrm>
            <a:custGeom>
              <a:avLst/>
              <a:gdLst>
                <a:gd name="connsiteX0" fmla="*/ 603442 w 612871"/>
                <a:gd name="connsiteY0" fmla="*/ 537899 h 612843"/>
                <a:gd name="connsiteX1" fmla="*/ 592128 w 612871"/>
                <a:gd name="connsiteY1" fmla="*/ 537899 h 612843"/>
                <a:gd name="connsiteX2" fmla="*/ 592128 w 612871"/>
                <a:gd name="connsiteY2" fmla="*/ 203016 h 612843"/>
                <a:gd name="connsiteX3" fmla="*/ 588356 w 612871"/>
                <a:gd name="connsiteY3" fmla="*/ 195427 h 612843"/>
                <a:gd name="connsiteX4" fmla="*/ 489354 w 612871"/>
                <a:gd name="connsiteY4" fmla="*/ 110995 h 612843"/>
                <a:gd name="connsiteX5" fmla="*/ 478982 w 612871"/>
                <a:gd name="connsiteY5" fmla="*/ 110046 h 612843"/>
                <a:gd name="connsiteX6" fmla="*/ 473325 w 612871"/>
                <a:gd name="connsiteY6" fmla="*/ 118584 h 612843"/>
                <a:gd name="connsiteX7" fmla="*/ 473325 w 612871"/>
                <a:gd name="connsiteY7" fmla="*/ 537899 h 612843"/>
                <a:gd name="connsiteX8" fmla="*/ 450696 w 612871"/>
                <a:gd name="connsiteY8" fmla="*/ 537899 h 612843"/>
                <a:gd name="connsiteX9" fmla="*/ 450696 w 612871"/>
                <a:gd name="connsiteY9" fmla="*/ 9487 h 612843"/>
                <a:gd name="connsiteX10" fmla="*/ 441267 w 612871"/>
                <a:gd name="connsiteY10" fmla="*/ 0 h 612843"/>
                <a:gd name="connsiteX11" fmla="*/ 170661 w 612871"/>
                <a:gd name="connsiteY11" fmla="*/ 0 h 612843"/>
                <a:gd name="connsiteX12" fmla="*/ 161232 w 612871"/>
                <a:gd name="connsiteY12" fmla="*/ 9487 h 612843"/>
                <a:gd name="connsiteX13" fmla="*/ 161232 w 612871"/>
                <a:gd name="connsiteY13" fmla="*/ 537899 h 612843"/>
                <a:gd name="connsiteX14" fmla="*/ 138603 w 612871"/>
                <a:gd name="connsiteY14" fmla="*/ 537899 h 612843"/>
                <a:gd name="connsiteX15" fmla="*/ 138603 w 612871"/>
                <a:gd name="connsiteY15" fmla="*/ 118584 h 612843"/>
                <a:gd name="connsiteX16" fmla="*/ 132946 w 612871"/>
                <a:gd name="connsiteY16" fmla="*/ 110046 h 612843"/>
                <a:gd name="connsiteX17" fmla="*/ 122574 w 612871"/>
                <a:gd name="connsiteY17" fmla="*/ 110995 h 612843"/>
                <a:gd name="connsiteX18" fmla="*/ 23572 w 612871"/>
                <a:gd name="connsiteY18" fmla="*/ 195427 h 612843"/>
                <a:gd name="connsiteX19" fmla="*/ 19800 w 612871"/>
                <a:gd name="connsiteY19" fmla="*/ 203016 h 612843"/>
                <a:gd name="connsiteX20" fmla="*/ 19800 w 612871"/>
                <a:gd name="connsiteY20" fmla="*/ 538847 h 612843"/>
                <a:gd name="connsiteX21" fmla="*/ 9429 w 612871"/>
                <a:gd name="connsiteY21" fmla="*/ 538847 h 612843"/>
                <a:gd name="connsiteX22" fmla="*/ 0 w 612871"/>
                <a:gd name="connsiteY22" fmla="*/ 548334 h 612843"/>
                <a:gd name="connsiteX23" fmla="*/ 0 w 612871"/>
                <a:gd name="connsiteY23" fmla="*/ 603357 h 612843"/>
                <a:gd name="connsiteX24" fmla="*/ 9429 w 612871"/>
                <a:gd name="connsiteY24" fmla="*/ 612844 h 612843"/>
                <a:gd name="connsiteX25" fmla="*/ 603442 w 612871"/>
                <a:gd name="connsiteY25" fmla="*/ 612844 h 612843"/>
                <a:gd name="connsiteX26" fmla="*/ 612871 w 612871"/>
                <a:gd name="connsiteY26" fmla="*/ 603357 h 612843"/>
                <a:gd name="connsiteX27" fmla="*/ 612871 w 612871"/>
                <a:gd name="connsiteY27" fmla="*/ 548334 h 612843"/>
                <a:gd name="connsiteX28" fmla="*/ 603442 w 612871"/>
                <a:gd name="connsiteY28" fmla="*/ 537899 h 612843"/>
                <a:gd name="connsiteX29" fmla="*/ 493126 w 612871"/>
                <a:gd name="connsiteY29" fmla="*/ 139455 h 612843"/>
                <a:gd name="connsiteX30" fmla="*/ 573270 w 612871"/>
                <a:gd name="connsiteY30" fmla="*/ 207760 h 612843"/>
                <a:gd name="connsiteX31" fmla="*/ 573270 w 612871"/>
                <a:gd name="connsiteY31" fmla="*/ 538847 h 612843"/>
                <a:gd name="connsiteX32" fmla="*/ 493126 w 612871"/>
                <a:gd name="connsiteY32" fmla="*/ 538847 h 612843"/>
                <a:gd name="connsiteX33" fmla="*/ 493126 w 612871"/>
                <a:gd name="connsiteY33" fmla="*/ 139455 h 612843"/>
                <a:gd name="connsiteX34" fmla="*/ 180090 w 612871"/>
                <a:gd name="connsiteY34" fmla="*/ 18973 h 612843"/>
                <a:gd name="connsiteX35" fmla="*/ 432781 w 612871"/>
                <a:gd name="connsiteY35" fmla="*/ 18973 h 612843"/>
                <a:gd name="connsiteX36" fmla="*/ 432781 w 612871"/>
                <a:gd name="connsiteY36" fmla="*/ 537899 h 612843"/>
                <a:gd name="connsiteX37" fmla="*/ 180090 w 612871"/>
                <a:gd name="connsiteY37" fmla="*/ 537899 h 612843"/>
                <a:gd name="connsiteX38" fmla="*/ 180090 w 612871"/>
                <a:gd name="connsiteY38" fmla="*/ 18973 h 612843"/>
                <a:gd name="connsiteX39" fmla="*/ 39601 w 612871"/>
                <a:gd name="connsiteY39" fmla="*/ 206811 h 612843"/>
                <a:gd name="connsiteX40" fmla="*/ 119746 w 612871"/>
                <a:gd name="connsiteY40" fmla="*/ 138507 h 612843"/>
                <a:gd name="connsiteX41" fmla="*/ 119746 w 612871"/>
                <a:gd name="connsiteY41" fmla="*/ 537899 h 612843"/>
                <a:gd name="connsiteX42" fmla="*/ 39601 w 612871"/>
                <a:gd name="connsiteY42" fmla="*/ 537899 h 612843"/>
                <a:gd name="connsiteX43" fmla="*/ 39601 w 612871"/>
                <a:gd name="connsiteY43" fmla="*/ 206811 h 612843"/>
                <a:gd name="connsiteX44" fmla="*/ 594014 w 612871"/>
                <a:gd name="connsiteY44" fmla="*/ 593870 h 612843"/>
                <a:gd name="connsiteX45" fmla="*/ 18858 w 612871"/>
                <a:gd name="connsiteY45" fmla="*/ 593870 h 612843"/>
                <a:gd name="connsiteX46" fmla="*/ 18858 w 612871"/>
                <a:gd name="connsiteY46" fmla="*/ 557821 h 612843"/>
                <a:gd name="connsiteX47" fmla="*/ 594014 w 612871"/>
                <a:gd name="connsiteY47" fmla="*/ 557821 h 612843"/>
                <a:gd name="connsiteX48" fmla="*/ 594014 w 612871"/>
                <a:gd name="connsiteY48" fmla="*/ 593870 h 612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12871" h="612843">
                  <a:moveTo>
                    <a:pt x="603442" y="537899"/>
                  </a:moveTo>
                  <a:lnTo>
                    <a:pt x="592128" y="537899"/>
                  </a:lnTo>
                  <a:lnTo>
                    <a:pt x="592128" y="203016"/>
                  </a:lnTo>
                  <a:cubicBezTo>
                    <a:pt x="592128" y="200170"/>
                    <a:pt x="591185" y="197324"/>
                    <a:pt x="588356" y="195427"/>
                  </a:cubicBezTo>
                  <a:lnTo>
                    <a:pt x="489354" y="110995"/>
                  </a:lnTo>
                  <a:cubicBezTo>
                    <a:pt x="486525" y="108149"/>
                    <a:pt x="482754" y="108149"/>
                    <a:pt x="478982" y="110046"/>
                  </a:cubicBezTo>
                  <a:cubicBezTo>
                    <a:pt x="475211" y="111944"/>
                    <a:pt x="473325" y="114790"/>
                    <a:pt x="473325" y="118584"/>
                  </a:cubicBezTo>
                  <a:lnTo>
                    <a:pt x="473325" y="537899"/>
                  </a:lnTo>
                  <a:lnTo>
                    <a:pt x="450696" y="537899"/>
                  </a:lnTo>
                  <a:lnTo>
                    <a:pt x="450696" y="9487"/>
                  </a:lnTo>
                  <a:cubicBezTo>
                    <a:pt x="450696" y="3795"/>
                    <a:pt x="446925" y="0"/>
                    <a:pt x="441267" y="0"/>
                  </a:cubicBezTo>
                  <a:lnTo>
                    <a:pt x="170661" y="0"/>
                  </a:lnTo>
                  <a:cubicBezTo>
                    <a:pt x="165004" y="0"/>
                    <a:pt x="161232" y="3795"/>
                    <a:pt x="161232" y="9487"/>
                  </a:cubicBezTo>
                  <a:lnTo>
                    <a:pt x="161232" y="537899"/>
                  </a:lnTo>
                  <a:lnTo>
                    <a:pt x="138603" y="537899"/>
                  </a:lnTo>
                  <a:lnTo>
                    <a:pt x="138603" y="118584"/>
                  </a:lnTo>
                  <a:cubicBezTo>
                    <a:pt x="138603" y="114790"/>
                    <a:pt x="136717" y="111944"/>
                    <a:pt x="132946" y="110046"/>
                  </a:cubicBezTo>
                  <a:cubicBezTo>
                    <a:pt x="129174" y="108149"/>
                    <a:pt x="125403" y="109098"/>
                    <a:pt x="122574" y="110995"/>
                  </a:cubicBezTo>
                  <a:lnTo>
                    <a:pt x="23572" y="195427"/>
                  </a:lnTo>
                  <a:cubicBezTo>
                    <a:pt x="21686" y="197324"/>
                    <a:pt x="19800" y="200170"/>
                    <a:pt x="19800" y="203016"/>
                  </a:cubicBezTo>
                  <a:lnTo>
                    <a:pt x="19800" y="538847"/>
                  </a:lnTo>
                  <a:lnTo>
                    <a:pt x="9429" y="538847"/>
                  </a:lnTo>
                  <a:cubicBezTo>
                    <a:pt x="3772" y="538847"/>
                    <a:pt x="0" y="542642"/>
                    <a:pt x="0" y="548334"/>
                  </a:cubicBezTo>
                  <a:lnTo>
                    <a:pt x="0" y="603357"/>
                  </a:lnTo>
                  <a:cubicBezTo>
                    <a:pt x="0" y="609049"/>
                    <a:pt x="3772" y="612844"/>
                    <a:pt x="9429" y="612844"/>
                  </a:cubicBezTo>
                  <a:lnTo>
                    <a:pt x="603442" y="612844"/>
                  </a:lnTo>
                  <a:cubicBezTo>
                    <a:pt x="609100" y="612844"/>
                    <a:pt x="612871" y="609049"/>
                    <a:pt x="612871" y="603357"/>
                  </a:cubicBezTo>
                  <a:lnTo>
                    <a:pt x="612871" y="548334"/>
                  </a:lnTo>
                  <a:cubicBezTo>
                    <a:pt x="612871" y="542642"/>
                    <a:pt x="609100" y="537899"/>
                    <a:pt x="603442" y="537899"/>
                  </a:cubicBezTo>
                  <a:close/>
                  <a:moveTo>
                    <a:pt x="493126" y="139455"/>
                  </a:moveTo>
                  <a:lnTo>
                    <a:pt x="573270" y="207760"/>
                  </a:lnTo>
                  <a:lnTo>
                    <a:pt x="573270" y="538847"/>
                  </a:lnTo>
                  <a:lnTo>
                    <a:pt x="493126" y="538847"/>
                  </a:lnTo>
                  <a:lnTo>
                    <a:pt x="493126" y="139455"/>
                  </a:lnTo>
                  <a:close/>
                  <a:moveTo>
                    <a:pt x="180090" y="18973"/>
                  </a:moveTo>
                  <a:lnTo>
                    <a:pt x="432781" y="18973"/>
                  </a:lnTo>
                  <a:lnTo>
                    <a:pt x="432781" y="537899"/>
                  </a:lnTo>
                  <a:lnTo>
                    <a:pt x="180090" y="537899"/>
                  </a:lnTo>
                  <a:lnTo>
                    <a:pt x="180090" y="18973"/>
                  </a:lnTo>
                  <a:close/>
                  <a:moveTo>
                    <a:pt x="39601" y="206811"/>
                  </a:moveTo>
                  <a:lnTo>
                    <a:pt x="119746" y="138507"/>
                  </a:lnTo>
                  <a:lnTo>
                    <a:pt x="119746" y="537899"/>
                  </a:lnTo>
                  <a:lnTo>
                    <a:pt x="39601" y="537899"/>
                  </a:lnTo>
                  <a:lnTo>
                    <a:pt x="39601" y="206811"/>
                  </a:lnTo>
                  <a:close/>
                  <a:moveTo>
                    <a:pt x="594014" y="593870"/>
                  </a:moveTo>
                  <a:lnTo>
                    <a:pt x="18858" y="593870"/>
                  </a:lnTo>
                  <a:lnTo>
                    <a:pt x="18858" y="557821"/>
                  </a:lnTo>
                  <a:lnTo>
                    <a:pt x="594014" y="557821"/>
                  </a:lnTo>
                  <a:lnTo>
                    <a:pt x="594014" y="593870"/>
                  </a:lnTo>
                  <a:close/>
                </a:path>
              </a:pathLst>
            </a:custGeom>
            <a:grpFill/>
            <a:ln w="9381" cap="flat">
              <a:noFill/>
              <a:prstDash val="solid"/>
              <a:miter/>
            </a:ln>
          </p:spPr>
          <p:txBody>
            <a:bodyPr rtlCol="0" anchor="ctr"/>
            <a:lstStyle/>
            <a:p>
              <a:endParaRPr lang="en-US"/>
            </a:p>
          </p:txBody>
        </p:sp>
        <p:sp>
          <p:nvSpPr>
            <p:cNvPr id="346" name="Graphic 7">
              <a:extLst>
                <a:ext uri="{FF2B5EF4-FFF2-40B4-BE49-F238E27FC236}">
                  <a16:creationId xmlns:a16="http://schemas.microsoft.com/office/drawing/2014/main" id="{3112789E-BEC6-7C46-8A21-7E395188E518}"/>
                </a:ext>
              </a:extLst>
            </p:cNvPr>
            <p:cNvSpPr/>
            <p:nvPr/>
          </p:nvSpPr>
          <p:spPr>
            <a:xfrm>
              <a:off x="-495480" y="2683143"/>
              <a:ext cx="84859" cy="97713"/>
            </a:xfrm>
            <a:custGeom>
              <a:avLst/>
              <a:gdLst>
                <a:gd name="connsiteX0" fmla="*/ 75430 w 84859"/>
                <a:gd name="connsiteY0" fmla="*/ 0 h 97713"/>
                <a:gd name="connsiteX1" fmla="*/ 9429 w 84859"/>
                <a:gd name="connsiteY1" fmla="*/ 0 h 97713"/>
                <a:gd name="connsiteX2" fmla="*/ 0 w 84859"/>
                <a:gd name="connsiteY2" fmla="*/ 9487 h 97713"/>
                <a:gd name="connsiteX3" fmla="*/ 0 w 84859"/>
                <a:gd name="connsiteY3" fmla="*/ 88227 h 97713"/>
                <a:gd name="connsiteX4" fmla="*/ 9429 w 84859"/>
                <a:gd name="connsiteY4" fmla="*/ 97713 h 97713"/>
                <a:gd name="connsiteX5" fmla="*/ 75430 w 84859"/>
                <a:gd name="connsiteY5" fmla="*/ 97713 h 97713"/>
                <a:gd name="connsiteX6" fmla="*/ 84859 w 84859"/>
                <a:gd name="connsiteY6" fmla="*/ 88227 h 97713"/>
                <a:gd name="connsiteX7" fmla="*/ 84859 w 84859"/>
                <a:gd name="connsiteY7" fmla="*/ 9487 h 97713"/>
                <a:gd name="connsiteX8" fmla="*/ 75430 w 84859"/>
                <a:gd name="connsiteY8" fmla="*/ 0 h 97713"/>
                <a:gd name="connsiteX9" fmla="*/ 66002 w 84859"/>
                <a:gd name="connsiteY9" fmla="*/ 78740 h 97713"/>
                <a:gd name="connsiteX10" fmla="*/ 18858 w 84859"/>
                <a:gd name="connsiteY10" fmla="*/ 78740 h 97713"/>
                <a:gd name="connsiteX11" fmla="*/ 18858 w 84859"/>
                <a:gd name="connsiteY11" fmla="*/ 18973 h 97713"/>
                <a:gd name="connsiteX12" fmla="*/ 66002 w 84859"/>
                <a:gd name="connsiteY12" fmla="*/ 18973 h 97713"/>
                <a:gd name="connsiteX13" fmla="*/ 66002 w 84859"/>
                <a:gd name="connsiteY13" fmla="*/ 78740 h 9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7713">
                  <a:moveTo>
                    <a:pt x="75430" y="0"/>
                  </a:moveTo>
                  <a:lnTo>
                    <a:pt x="9429" y="0"/>
                  </a:lnTo>
                  <a:cubicBezTo>
                    <a:pt x="3772" y="0"/>
                    <a:pt x="0" y="3795"/>
                    <a:pt x="0" y="9487"/>
                  </a:cubicBezTo>
                  <a:lnTo>
                    <a:pt x="0" y="88227"/>
                  </a:lnTo>
                  <a:cubicBezTo>
                    <a:pt x="0" y="93919"/>
                    <a:pt x="3772" y="97713"/>
                    <a:pt x="9429" y="97713"/>
                  </a:cubicBezTo>
                  <a:lnTo>
                    <a:pt x="75430" y="97713"/>
                  </a:lnTo>
                  <a:cubicBezTo>
                    <a:pt x="81088" y="97713"/>
                    <a:pt x="84859" y="93919"/>
                    <a:pt x="84859" y="88227"/>
                  </a:cubicBezTo>
                  <a:lnTo>
                    <a:pt x="84859" y="9487"/>
                  </a:lnTo>
                  <a:cubicBezTo>
                    <a:pt x="84859" y="3795"/>
                    <a:pt x="81088" y="0"/>
                    <a:pt x="75430" y="0"/>
                  </a:cubicBezTo>
                  <a:close/>
                  <a:moveTo>
                    <a:pt x="66002" y="78740"/>
                  </a:moveTo>
                  <a:lnTo>
                    <a:pt x="18858" y="78740"/>
                  </a:lnTo>
                  <a:lnTo>
                    <a:pt x="18858" y="18973"/>
                  </a:lnTo>
                  <a:lnTo>
                    <a:pt x="66002" y="18973"/>
                  </a:lnTo>
                  <a:lnTo>
                    <a:pt x="66002" y="78740"/>
                  </a:lnTo>
                  <a:close/>
                </a:path>
              </a:pathLst>
            </a:custGeom>
            <a:grpFill/>
            <a:ln w="9381" cap="flat">
              <a:noFill/>
              <a:prstDash val="solid"/>
              <a:miter/>
            </a:ln>
          </p:spPr>
          <p:txBody>
            <a:bodyPr rtlCol="0" anchor="ctr"/>
            <a:lstStyle/>
            <a:p>
              <a:endParaRPr lang="en-US"/>
            </a:p>
          </p:txBody>
        </p:sp>
        <p:sp>
          <p:nvSpPr>
            <p:cNvPr id="347" name="Graphic 7">
              <a:extLst>
                <a:ext uri="{FF2B5EF4-FFF2-40B4-BE49-F238E27FC236}">
                  <a16:creationId xmlns:a16="http://schemas.microsoft.com/office/drawing/2014/main" id="{E3CC7C8F-B0E8-9446-9EBB-F5EBA6926F2C}"/>
                </a:ext>
              </a:extLst>
            </p:cNvPr>
            <p:cNvSpPr/>
            <p:nvPr/>
          </p:nvSpPr>
          <p:spPr>
            <a:xfrm>
              <a:off x="-382334" y="2683143"/>
              <a:ext cx="84859" cy="97713"/>
            </a:xfrm>
            <a:custGeom>
              <a:avLst/>
              <a:gdLst>
                <a:gd name="connsiteX0" fmla="*/ 75430 w 84859"/>
                <a:gd name="connsiteY0" fmla="*/ 0 h 97713"/>
                <a:gd name="connsiteX1" fmla="*/ 9429 w 84859"/>
                <a:gd name="connsiteY1" fmla="*/ 0 h 97713"/>
                <a:gd name="connsiteX2" fmla="*/ 0 w 84859"/>
                <a:gd name="connsiteY2" fmla="*/ 9487 h 97713"/>
                <a:gd name="connsiteX3" fmla="*/ 0 w 84859"/>
                <a:gd name="connsiteY3" fmla="*/ 88227 h 97713"/>
                <a:gd name="connsiteX4" fmla="*/ 9429 w 84859"/>
                <a:gd name="connsiteY4" fmla="*/ 97713 h 97713"/>
                <a:gd name="connsiteX5" fmla="*/ 75430 w 84859"/>
                <a:gd name="connsiteY5" fmla="*/ 97713 h 97713"/>
                <a:gd name="connsiteX6" fmla="*/ 84859 w 84859"/>
                <a:gd name="connsiteY6" fmla="*/ 88227 h 97713"/>
                <a:gd name="connsiteX7" fmla="*/ 84859 w 84859"/>
                <a:gd name="connsiteY7" fmla="*/ 9487 h 97713"/>
                <a:gd name="connsiteX8" fmla="*/ 75430 w 84859"/>
                <a:gd name="connsiteY8" fmla="*/ 0 h 97713"/>
                <a:gd name="connsiteX9" fmla="*/ 66002 w 84859"/>
                <a:gd name="connsiteY9" fmla="*/ 78740 h 97713"/>
                <a:gd name="connsiteX10" fmla="*/ 18858 w 84859"/>
                <a:gd name="connsiteY10" fmla="*/ 78740 h 97713"/>
                <a:gd name="connsiteX11" fmla="*/ 18858 w 84859"/>
                <a:gd name="connsiteY11" fmla="*/ 18973 h 97713"/>
                <a:gd name="connsiteX12" fmla="*/ 66002 w 84859"/>
                <a:gd name="connsiteY12" fmla="*/ 18973 h 97713"/>
                <a:gd name="connsiteX13" fmla="*/ 66002 w 84859"/>
                <a:gd name="connsiteY13" fmla="*/ 78740 h 9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7713">
                  <a:moveTo>
                    <a:pt x="75430" y="0"/>
                  </a:moveTo>
                  <a:lnTo>
                    <a:pt x="9429" y="0"/>
                  </a:lnTo>
                  <a:cubicBezTo>
                    <a:pt x="3772" y="0"/>
                    <a:pt x="0" y="3795"/>
                    <a:pt x="0" y="9487"/>
                  </a:cubicBezTo>
                  <a:lnTo>
                    <a:pt x="0" y="88227"/>
                  </a:lnTo>
                  <a:cubicBezTo>
                    <a:pt x="0" y="93919"/>
                    <a:pt x="3772" y="97713"/>
                    <a:pt x="9429" y="97713"/>
                  </a:cubicBezTo>
                  <a:lnTo>
                    <a:pt x="75430" y="97713"/>
                  </a:lnTo>
                  <a:cubicBezTo>
                    <a:pt x="81088" y="97713"/>
                    <a:pt x="84859" y="93919"/>
                    <a:pt x="84859" y="88227"/>
                  </a:cubicBezTo>
                  <a:lnTo>
                    <a:pt x="84859" y="9487"/>
                  </a:lnTo>
                  <a:cubicBezTo>
                    <a:pt x="84859" y="3795"/>
                    <a:pt x="80145" y="0"/>
                    <a:pt x="75430" y="0"/>
                  </a:cubicBezTo>
                  <a:close/>
                  <a:moveTo>
                    <a:pt x="66002" y="78740"/>
                  </a:moveTo>
                  <a:lnTo>
                    <a:pt x="18858" y="78740"/>
                  </a:lnTo>
                  <a:lnTo>
                    <a:pt x="18858" y="18973"/>
                  </a:lnTo>
                  <a:lnTo>
                    <a:pt x="66002" y="18973"/>
                  </a:lnTo>
                  <a:lnTo>
                    <a:pt x="66002" y="78740"/>
                  </a:lnTo>
                  <a:close/>
                </a:path>
              </a:pathLst>
            </a:custGeom>
            <a:grpFill/>
            <a:ln w="9381" cap="flat">
              <a:noFill/>
              <a:prstDash val="solid"/>
              <a:miter/>
            </a:ln>
          </p:spPr>
          <p:txBody>
            <a:bodyPr rtlCol="0" anchor="ctr"/>
            <a:lstStyle/>
            <a:p>
              <a:endParaRPr lang="en-US"/>
            </a:p>
          </p:txBody>
        </p:sp>
        <p:sp>
          <p:nvSpPr>
            <p:cNvPr id="348" name="Graphic 7">
              <a:extLst>
                <a:ext uri="{FF2B5EF4-FFF2-40B4-BE49-F238E27FC236}">
                  <a16:creationId xmlns:a16="http://schemas.microsoft.com/office/drawing/2014/main" id="{E8DBC258-E4A8-5549-A63D-5856E6B5149F}"/>
                </a:ext>
              </a:extLst>
            </p:cNvPr>
            <p:cNvSpPr/>
            <p:nvPr/>
          </p:nvSpPr>
          <p:spPr>
            <a:xfrm>
              <a:off x="-495480" y="2804573"/>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8740 h 98662"/>
                <a:gd name="connsiteX10" fmla="*/ 18858 w 84859"/>
                <a:gd name="connsiteY10" fmla="*/ 78740 h 98662"/>
                <a:gd name="connsiteX11" fmla="*/ 18858 w 84859"/>
                <a:gd name="connsiteY11" fmla="*/ 18025 h 98662"/>
                <a:gd name="connsiteX12" fmla="*/ 66002 w 84859"/>
                <a:gd name="connsiteY12" fmla="*/ 18025 h 98662"/>
                <a:gd name="connsiteX13" fmla="*/ 66002 w 84859"/>
                <a:gd name="connsiteY13" fmla="*/ 78740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3795"/>
                    <a:pt x="81088" y="0"/>
                    <a:pt x="75430" y="0"/>
                  </a:cubicBezTo>
                  <a:close/>
                  <a:moveTo>
                    <a:pt x="66002" y="78740"/>
                  </a:moveTo>
                  <a:lnTo>
                    <a:pt x="18858" y="78740"/>
                  </a:lnTo>
                  <a:lnTo>
                    <a:pt x="18858" y="18025"/>
                  </a:lnTo>
                  <a:lnTo>
                    <a:pt x="66002" y="18025"/>
                  </a:lnTo>
                  <a:lnTo>
                    <a:pt x="66002" y="78740"/>
                  </a:lnTo>
                  <a:close/>
                </a:path>
              </a:pathLst>
            </a:custGeom>
            <a:grpFill/>
            <a:ln w="9381" cap="flat">
              <a:noFill/>
              <a:prstDash val="solid"/>
              <a:miter/>
            </a:ln>
          </p:spPr>
          <p:txBody>
            <a:bodyPr rtlCol="0" anchor="ctr"/>
            <a:lstStyle/>
            <a:p>
              <a:endParaRPr lang="en-US"/>
            </a:p>
          </p:txBody>
        </p:sp>
        <p:sp>
          <p:nvSpPr>
            <p:cNvPr id="349" name="Graphic 7">
              <a:extLst>
                <a:ext uri="{FF2B5EF4-FFF2-40B4-BE49-F238E27FC236}">
                  <a16:creationId xmlns:a16="http://schemas.microsoft.com/office/drawing/2014/main" id="{7B994F10-CEAB-4B40-A9A4-2B17EAADD6F8}"/>
                </a:ext>
              </a:extLst>
            </p:cNvPr>
            <p:cNvSpPr/>
            <p:nvPr/>
          </p:nvSpPr>
          <p:spPr>
            <a:xfrm>
              <a:off x="-382334" y="2804573"/>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8740 h 98662"/>
                <a:gd name="connsiteX10" fmla="*/ 18858 w 84859"/>
                <a:gd name="connsiteY10" fmla="*/ 78740 h 98662"/>
                <a:gd name="connsiteX11" fmla="*/ 18858 w 84859"/>
                <a:gd name="connsiteY11" fmla="*/ 18025 h 98662"/>
                <a:gd name="connsiteX12" fmla="*/ 66002 w 84859"/>
                <a:gd name="connsiteY12" fmla="*/ 18025 h 98662"/>
                <a:gd name="connsiteX13" fmla="*/ 66002 w 84859"/>
                <a:gd name="connsiteY13" fmla="*/ 78740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3795"/>
                    <a:pt x="80145" y="0"/>
                    <a:pt x="75430" y="0"/>
                  </a:cubicBezTo>
                  <a:close/>
                  <a:moveTo>
                    <a:pt x="66002" y="78740"/>
                  </a:moveTo>
                  <a:lnTo>
                    <a:pt x="18858" y="78740"/>
                  </a:lnTo>
                  <a:lnTo>
                    <a:pt x="18858" y="18025"/>
                  </a:lnTo>
                  <a:lnTo>
                    <a:pt x="66002" y="18025"/>
                  </a:lnTo>
                  <a:lnTo>
                    <a:pt x="66002" y="78740"/>
                  </a:lnTo>
                  <a:close/>
                </a:path>
              </a:pathLst>
            </a:custGeom>
            <a:grpFill/>
            <a:ln w="9381" cap="flat">
              <a:noFill/>
              <a:prstDash val="solid"/>
              <a:miter/>
            </a:ln>
          </p:spPr>
          <p:txBody>
            <a:bodyPr rtlCol="0" anchor="ctr"/>
            <a:lstStyle/>
            <a:p>
              <a:endParaRPr lang="en-US"/>
            </a:p>
          </p:txBody>
        </p:sp>
        <p:sp>
          <p:nvSpPr>
            <p:cNvPr id="350" name="Graphic 7">
              <a:extLst>
                <a:ext uri="{FF2B5EF4-FFF2-40B4-BE49-F238E27FC236}">
                  <a16:creationId xmlns:a16="http://schemas.microsoft.com/office/drawing/2014/main" id="{E40C85BD-EC99-7E4E-85D4-634F594B7BE9}"/>
                </a:ext>
              </a:extLst>
            </p:cNvPr>
            <p:cNvSpPr/>
            <p:nvPr/>
          </p:nvSpPr>
          <p:spPr>
            <a:xfrm>
              <a:off x="-495480" y="2926004"/>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9689 h 98662"/>
                <a:gd name="connsiteX10" fmla="*/ 18858 w 84859"/>
                <a:gd name="connsiteY10" fmla="*/ 79689 h 98662"/>
                <a:gd name="connsiteX11" fmla="*/ 18858 w 84859"/>
                <a:gd name="connsiteY11" fmla="*/ 18973 h 98662"/>
                <a:gd name="connsiteX12" fmla="*/ 66002 w 84859"/>
                <a:gd name="connsiteY12" fmla="*/ 18973 h 98662"/>
                <a:gd name="connsiteX13" fmla="*/ 66002 w 84859"/>
                <a:gd name="connsiteY13" fmla="*/ 79689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4743"/>
                    <a:pt x="81088" y="0"/>
                    <a:pt x="75430" y="0"/>
                  </a:cubicBezTo>
                  <a:close/>
                  <a:moveTo>
                    <a:pt x="66002" y="79689"/>
                  </a:moveTo>
                  <a:lnTo>
                    <a:pt x="18858" y="79689"/>
                  </a:lnTo>
                  <a:lnTo>
                    <a:pt x="18858" y="18973"/>
                  </a:lnTo>
                  <a:lnTo>
                    <a:pt x="66002" y="18973"/>
                  </a:lnTo>
                  <a:lnTo>
                    <a:pt x="66002" y="79689"/>
                  </a:lnTo>
                  <a:close/>
                </a:path>
              </a:pathLst>
            </a:custGeom>
            <a:grpFill/>
            <a:ln w="9381" cap="flat">
              <a:noFill/>
              <a:prstDash val="solid"/>
              <a:miter/>
            </a:ln>
          </p:spPr>
          <p:txBody>
            <a:bodyPr rtlCol="0" anchor="ctr"/>
            <a:lstStyle/>
            <a:p>
              <a:endParaRPr lang="en-US"/>
            </a:p>
          </p:txBody>
        </p:sp>
        <p:sp>
          <p:nvSpPr>
            <p:cNvPr id="351" name="Graphic 7">
              <a:extLst>
                <a:ext uri="{FF2B5EF4-FFF2-40B4-BE49-F238E27FC236}">
                  <a16:creationId xmlns:a16="http://schemas.microsoft.com/office/drawing/2014/main" id="{ECB3FDEC-5225-BF4C-A0EE-533B6E534FC0}"/>
                </a:ext>
              </a:extLst>
            </p:cNvPr>
            <p:cNvSpPr/>
            <p:nvPr/>
          </p:nvSpPr>
          <p:spPr>
            <a:xfrm>
              <a:off x="-382334" y="2926004"/>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9689 h 98662"/>
                <a:gd name="connsiteX10" fmla="*/ 18858 w 84859"/>
                <a:gd name="connsiteY10" fmla="*/ 79689 h 98662"/>
                <a:gd name="connsiteX11" fmla="*/ 18858 w 84859"/>
                <a:gd name="connsiteY11" fmla="*/ 18973 h 98662"/>
                <a:gd name="connsiteX12" fmla="*/ 66002 w 84859"/>
                <a:gd name="connsiteY12" fmla="*/ 18973 h 98662"/>
                <a:gd name="connsiteX13" fmla="*/ 66002 w 84859"/>
                <a:gd name="connsiteY13" fmla="*/ 79689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4743"/>
                    <a:pt x="80145" y="0"/>
                    <a:pt x="75430" y="0"/>
                  </a:cubicBezTo>
                  <a:close/>
                  <a:moveTo>
                    <a:pt x="66002" y="79689"/>
                  </a:moveTo>
                  <a:lnTo>
                    <a:pt x="18858" y="79689"/>
                  </a:lnTo>
                  <a:lnTo>
                    <a:pt x="18858" y="18973"/>
                  </a:lnTo>
                  <a:lnTo>
                    <a:pt x="66002" y="18973"/>
                  </a:lnTo>
                  <a:lnTo>
                    <a:pt x="66002" y="79689"/>
                  </a:lnTo>
                  <a:close/>
                </a:path>
              </a:pathLst>
            </a:custGeom>
            <a:grpFill/>
            <a:ln w="9381" cap="flat">
              <a:noFill/>
              <a:prstDash val="solid"/>
              <a:miter/>
            </a:ln>
          </p:spPr>
          <p:txBody>
            <a:bodyPr rtlCol="0" anchor="ctr"/>
            <a:lstStyle/>
            <a:p>
              <a:endParaRPr lang="en-US"/>
            </a:p>
          </p:txBody>
        </p:sp>
        <p:sp>
          <p:nvSpPr>
            <p:cNvPr id="352" name="Graphic 7">
              <a:extLst>
                <a:ext uri="{FF2B5EF4-FFF2-40B4-BE49-F238E27FC236}">
                  <a16:creationId xmlns:a16="http://schemas.microsoft.com/office/drawing/2014/main" id="{3874D79B-F575-754D-82F4-84B0BDD56A36}"/>
                </a:ext>
              </a:extLst>
            </p:cNvPr>
            <p:cNvSpPr/>
            <p:nvPr/>
          </p:nvSpPr>
          <p:spPr>
            <a:xfrm>
              <a:off x="-495480" y="3047434"/>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9689 h 98662"/>
                <a:gd name="connsiteX10" fmla="*/ 18858 w 84859"/>
                <a:gd name="connsiteY10" fmla="*/ 79689 h 98662"/>
                <a:gd name="connsiteX11" fmla="*/ 18858 w 84859"/>
                <a:gd name="connsiteY11" fmla="*/ 18973 h 98662"/>
                <a:gd name="connsiteX12" fmla="*/ 66002 w 84859"/>
                <a:gd name="connsiteY12" fmla="*/ 18973 h 98662"/>
                <a:gd name="connsiteX13" fmla="*/ 66002 w 84859"/>
                <a:gd name="connsiteY13" fmla="*/ 79689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4743"/>
                    <a:pt x="81088" y="0"/>
                    <a:pt x="75430" y="0"/>
                  </a:cubicBezTo>
                  <a:close/>
                  <a:moveTo>
                    <a:pt x="66002" y="79689"/>
                  </a:moveTo>
                  <a:lnTo>
                    <a:pt x="18858" y="79689"/>
                  </a:lnTo>
                  <a:lnTo>
                    <a:pt x="18858" y="18973"/>
                  </a:lnTo>
                  <a:lnTo>
                    <a:pt x="66002" y="18973"/>
                  </a:lnTo>
                  <a:lnTo>
                    <a:pt x="66002" y="79689"/>
                  </a:lnTo>
                  <a:close/>
                </a:path>
              </a:pathLst>
            </a:custGeom>
            <a:grpFill/>
            <a:ln w="9381" cap="flat">
              <a:noFill/>
              <a:prstDash val="solid"/>
              <a:miter/>
            </a:ln>
          </p:spPr>
          <p:txBody>
            <a:bodyPr rtlCol="0" anchor="ctr"/>
            <a:lstStyle/>
            <a:p>
              <a:endParaRPr lang="en-US"/>
            </a:p>
          </p:txBody>
        </p:sp>
        <p:sp>
          <p:nvSpPr>
            <p:cNvPr id="353" name="Graphic 7">
              <a:extLst>
                <a:ext uri="{FF2B5EF4-FFF2-40B4-BE49-F238E27FC236}">
                  <a16:creationId xmlns:a16="http://schemas.microsoft.com/office/drawing/2014/main" id="{F6CE5F6C-894F-DE4F-8D26-D44F37DC64A6}"/>
                </a:ext>
              </a:extLst>
            </p:cNvPr>
            <p:cNvSpPr/>
            <p:nvPr/>
          </p:nvSpPr>
          <p:spPr>
            <a:xfrm>
              <a:off x="-382334" y="3047434"/>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9689 h 98662"/>
                <a:gd name="connsiteX10" fmla="*/ 18858 w 84859"/>
                <a:gd name="connsiteY10" fmla="*/ 79689 h 98662"/>
                <a:gd name="connsiteX11" fmla="*/ 18858 w 84859"/>
                <a:gd name="connsiteY11" fmla="*/ 18973 h 98662"/>
                <a:gd name="connsiteX12" fmla="*/ 66002 w 84859"/>
                <a:gd name="connsiteY12" fmla="*/ 18973 h 98662"/>
                <a:gd name="connsiteX13" fmla="*/ 66002 w 84859"/>
                <a:gd name="connsiteY13" fmla="*/ 79689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4743"/>
                    <a:pt x="80145" y="0"/>
                    <a:pt x="75430" y="0"/>
                  </a:cubicBezTo>
                  <a:close/>
                  <a:moveTo>
                    <a:pt x="66002" y="79689"/>
                  </a:moveTo>
                  <a:lnTo>
                    <a:pt x="18858" y="79689"/>
                  </a:lnTo>
                  <a:lnTo>
                    <a:pt x="18858" y="18973"/>
                  </a:lnTo>
                  <a:lnTo>
                    <a:pt x="66002" y="18973"/>
                  </a:lnTo>
                  <a:lnTo>
                    <a:pt x="66002" y="79689"/>
                  </a:lnTo>
                  <a:close/>
                </a:path>
              </a:pathLst>
            </a:custGeom>
            <a:grpFill/>
            <a:ln w="9381" cap="flat">
              <a:noFill/>
              <a:prstDash val="solid"/>
              <a:miter/>
            </a:ln>
          </p:spPr>
          <p:txBody>
            <a:bodyPr rtlCol="0" anchor="ctr"/>
            <a:lstStyle/>
            <a:p>
              <a:endParaRPr lang="en-US"/>
            </a:p>
          </p:txBody>
        </p:sp>
        <p:sp>
          <p:nvSpPr>
            <p:cNvPr id="354" name="Graphic 7">
              <a:extLst>
                <a:ext uri="{FF2B5EF4-FFF2-40B4-BE49-F238E27FC236}">
                  <a16:creationId xmlns:a16="http://schemas.microsoft.com/office/drawing/2014/main" id="{9F6AA373-956C-874C-ADBC-2942D5B4B03B}"/>
                </a:ext>
              </a:extLst>
            </p:cNvPr>
            <p:cNvSpPr/>
            <p:nvPr/>
          </p:nvSpPr>
          <p:spPr>
            <a:xfrm>
              <a:off x="-193759" y="286908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4743"/>
                    <a:pt x="44315" y="0"/>
                    <a:pt x="38658" y="0"/>
                  </a:cubicBezTo>
                  <a:close/>
                </a:path>
              </a:pathLst>
            </a:custGeom>
            <a:grpFill/>
            <a:ln w="9381" cap="flat">
              <a:noFill/>
              <a:prstDash val="solid"/>
              <a:miter/>
            </a:ln>
          </p:spPr>
          <p:txBody>
            <a:bodyPr rtlCol="0" anchor="ctr"/>
            <a:lstStyle/>
            <a:p>
              <a:endParaRPr lang="en-US"/>
            </a:p>
          </p:txBody>
        </p:sp>
        <p:sp>
          <p:nvSpPr>
            <p:cNvPr id="355" name="Graphic 7">
              <a:extLst>
                <a:ext uri="{FF2B5EF4-FFF2-40B4-BE49-F238E27FC236}">
                  <a16:creationId xmlns:a16="http://schemas.microsoft.com/office/drawing/2014/main" id="{D55505AB-8522-6D49-917E-BD2AB0E5BF67}"/>
                </a:ext>
              </a:extLst>
            </p:cNvPr>
            <p:cNvSpPr/>
            <p:nvPr/>
          </p:nvSpPr>
          <p:spPr>
            <a:xfrm>
              <a:off x="-193759" y="295541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3795"/>
                    <a:pt x="44315" y="0"/>
                    <a:pt x="38658" y="0"/>
                  </a:cubicBezTo>
                  <a:close/>
                </a:path>
              </a:pathLst>
            </a:custGeom>
            <a:grpFill/>
            <a:ln w="9381" cap="flat">
              <a:noFill/>
              <a:prstDash val="solid"/>
              <a:miter/>
            </a:ln>
          </p:spPr>
          <p:txBody>
            <a:bodyPr rtlCol="0" anchor="ctr"/>
            <a:lstStyle/>
            <a:p>
              <a:endParaRPr lang="en-US"/>
            </a:p>
          </p:txBody>
        </p:sp>
        <p:sp>
          <p:nvSpPr>
            <p:cNvPr id="356" name="Graphic 7">
              <a:extLst>
                <a:ext uri="{FF2B5EF4-FFF2-40B4-BE49-F238E27FC236}">
                  <a16:creationId xmlns:a16="http://schemas.microsoft.com/office/drawing/2014/main" id="{C0B5DCBA-599B-6743-A1F0-DB177D4CCFFA}"/>
                </a:ext>
              </a:extLst>
            </p:cNvPr>
            <p:cNvSpPr/>
            <p:nvPr/>
          </p:nvSpPr>
          <p:spPr>
            <a:xfrm>
              <a:off x="-193759" y="304079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4743"/>
                    <a:pt x="44315" y="0"/>
                    <a:pt x="38658" y="0"/>
                  </a:cubicBezTo>
                  <a:close/>
                </a:path>
              </a:pathLst>
            </a:custGeom>
            <a:grpFill/>
            <a:ln w="9381" cap="flat">
              <a:noFill/>
              <a:prstDash val="solid"/>
              <a:miter/>
            </a:ln>
          </p:spPr>
          <p:txBody>
            <a:bodyPr rtlCol="0" anchor="ctr"/>
            <a:lstStyle/>
            <a:p>
              <a:endParaRPr lang="en-US"/>
            </a:p>
          </p:txBody>
        </p:sp>
        <p:sp>
          <p:nvSpPr>
            <p:cNvPr id="357" name="Graphic 7">
              <a:extLst>
                <a:ext uri="{FF2B5EF4-FFF2-40B4-BE49-F238E27FC236}">
                  <a16:creationId xmlns:a16="http://schemas.microsoft.com/office/drawing/2014/main" id="{2D463BC9-C905-5A43-AE7E-1A9B0DC16402}"/>
                </a:ext>
              </a:extLst>
            </p:cNvPr>
            <p:cNvSpPr/>
            <p:nvPr/>
          </p:nvSpPr>
          <p:spPr>
            <a:xfrm>
              <a:off x="-193759" y="312712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3795"/>
                    <a:pt x="44315" y="0"/>
                    <a:pt x="38658" y="0"/>
                  </a:cubicBezTo>
                  <a:close/>
                </a:path>
              </a:pathLst>
            </a:custGeom>
            <a:grpFill/>
            <a:ln w="9381" cap="flat">
              <a:noFill/>
              <a:prstDash val="solid"/>
              <a:miter/>
            </a:ln>
          </p:spPr>
          <p:txBody>
            <a:bodyPr rtlCol="0" anchor="ctr"/>
            <a:lstStyle/>
            <a:p>
              <a:endParaRPr lang="en-US"/>
            </a:p>
          </p:txBody>
        </p:sp>
        <p:sp>
          <p:nvSpPr>
            <p:cNvPr id="358" name="Graphic 7">
              <a:extLst>
                <a:ext uri="{FF2B5EF4-FFF2-40B4-BE49-F238E27FC236}">
                  <a16:creationId xmlns:a16="http://schemas.microsoft.com/office/drawing/2014/main" id="{1EF58FC9-A7F0-FC47-AD73-8CC6D0C6531D}"/>
                </a:ext>
              </a:extLst>
            </p:cNvPr>
            <p:cNvSpPr/>
            <p:nvPr/>
          </p:nvSpPr>
          <p:spPr>
            <a:xfrm>
              <a:off x="-647283" y="286908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4743"/>
                    <a:pt x="44315" y="0"/>
                    <a:pt x="38658" y="0"/>
                  </a:cubicBezTo>
                  <a:close/>
                </a:path>
              </a:pathLst>
            </a:custGeom>
            <a:grpFill/>
            <a:ln w="9381" cap="flat">
              <a:noFill/>
              <a:prstDash val="solid"/>
              <a:miter/>
            </a:ln>
          </p:spPr>
          <p:txBody>
            <a:bodyPr rtlCol="0" anchor="ctr"/>
            <a:lstStyle/>
            <a:p>
              <a:endParaRPr lang="en-US"/>
            </a:p>
          </p:txBody>
        </p:sp>
        <p:sp>
          <p:nvSpPr>
            <p:cNvPr id="359" name="Graphic 7">
              <a:extLst>
                <a:ext uri="{FF2B5EF4-FFF2-40B4-BE49-F238E27FC236}">
                  <a16:creationId xmlns:a16="http://schemas.microsoft.com/office/drawing/2014/main" id="{0127FCDC-AB6C-8745-8C25-F3C627626BC4}"/>
                </a:ext>
              </a:extLst>
            </p:cNvPr>
            <p:cNvSpPr/>
            <p:nvPr/>
          </p:nvSpPr>
          <p:spPr>
            <a:xfrm>
              <a:off x="-647283" y="295541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3795"/>
                    <a:pt x="44315" y="0"/>
                    <a:pt x="38658" y="0"/>
                  </a:cubicBezTo>
                  <a:close/>
                </a:path>
              </a:pathLst>
            </a:custGeom>
            <a:grpFill/>
            <a:ln w="9381" cap="flat">
              <a:noFill/>
              <a:prstDash val="solid"/>
              <a:miter/>
            </a:ln>
          </p:spPr>
          <p:txBody>
            <a:bodyPr rtlCol="0" anchor="ctr"/>
            <a:lstStyle/>
            <a:p>
              <a:endParaRPr lang="en-US"/>
            </a:p>
          </p:txBody>
        </p:sp>
        <p:sp>
          <p:nvSpPr>
            <p:cNvPr id="360" name="Graphic 7">
              <a:extLst>
                <a:ext uri="{FF2B5EF4-FFF2-40B4-BE49-F238E27FC236}">
                  <a16:creationId xmlns:a16="http://schemas.microsoft.com/office/drawing/2014/main" id="{78993C62-A502-1C44-999F-DF7EA1B02A98}"/>
                </a:ext>
              </a:extLst>
            </p:cNvPr>
            <p:cNvSpPr/>
            <p:nvPr/>
          </p:nvSpPr>
          <p:spPr>
            <a:xfrm>
              <a:off x="-647283" y="304079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4743"/>
                    <a:pt x="44315" y="0"/>
                    <a:pt x="38658" y="0"/>
                  </a:cubicBezTo>
                  <a:close/>
                </a:path>
              </a:pathLst>
            </a:custGeom>
            <a:grpFill/>
            <a:ln w="9381" cap="flat">
              <a:noFill/>
              <a:prstDash val="solid"/>
              <a:miter/>
            </a:ln>
          </p:spPr>
          <p:txBody>
            <a:bodyPr rtlCol="0" anchor="ctr"/>
            <a:lstStyle/>
            <a:p>
              <a:endParaRPr lang="en-US"/>
            </a:p>
          </p:txBody>
        </p:sp>
        <p:sp>
          <p:nvSpPr>
            <p:cNvPr id="361" name="Graphic 7">
              <a:extLst>
                <a:ext uri="{FF2B5EF4-FFF2-40B4-BE49-F238E27FC236}">
                  <a16:creationId xmlns:a16="http://schemas.microsoft.com/office/drawing/2014/main" id="{BB643F56-5DA8-9C46-A8C1-E164D69109DB}"/>
                </a:ext>
              </a:extLst>
            </p:cNvPr>
            <p:cNvSpPr/>
            <p:nvPr/>
          </p:nvSpPr>
          <p:spPr>
            <a:xfrm>
              <a:off x="-647283" y="312712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3795"/>
                    <a:pt x="44315" y="0"/>
                    <a:pt x="38658" y="0"/>
                  </a:cubicBezTo>
                  <a:close/>
                </a:path>
              </a:pathLst>
            </a:custGeom>
            <a:grpFill/>
            <a:ln w="9381" cap="flat">
              <a:noFill/>
              <a:prstDash val="solid"/>
              <a:miter/>
            </a:ln>
          </p:spPr>
          <p:txBody>
            <a:bodyPr rtlCol="0" anchor="ctr"/>
            <a:lstStyle/>
            <a:p>
              <a:endParaRPr lang="en-US"/>
            </a:p>
          </p:txBody>
        </p:sp>
      </p:grpSp>
      <p:graphicFrame>
        <p:nvGraphicFramePr>
          <p:cNvPr id="362" name="Table 5">
            <a:extLst>
              <a:ext uri="{FF2B5EF4-FFF2-40B4-BE49-F238E27FC236}">
                <a16:creationId xmlns:a16="http://schemas.microsoft.com/office/drawing/2014/main" id="{EB804FB4-E1F6-024F-A758-58AAB890A474}"/>
              </a:ext>
            </a:extLst>
          </p:cNvPr>
          <p:cNvGraphicFramePr>
            <a:graphicFrameLocks noGrp="1"/>
          </p:cNvGraphicFramePr>
          <p:nvPr>
            <p:extLst>
              <p:ext uri="{D42A27DB-BD31-4B8C-83A1-F6EECF244321}">
                <p14:modId xmlns:p14="http://schemas.microsoft.com/office/powerpoint/2010/main" val="492479005"/>
              </p:ext>
            </p:extLst>
          </p:nvPr>
        </p:nvGraphicFramePr>
        <p:xfrm>
          <a:off x="6748188" y="3263305"/>
          <a:ext cx="4559808" cy="566885"/>
        </p:xfrm>
        <a:graphic>
          <a:graphicData uri="http://schemas.openxmlformats.org/drawingml/2006/table">
            <a:tbl>
              <a:tblPr firstRow="1" bandRow="1">
                <a:tableStyleId>{5C22544A-7EE6-4342-B048-85BDC9FD1C3A}</a:tableStyleId>
              </a:tblPr>
              <a:tblGrid>
                <a:gridCol w="1519936">
                  <a:extLst>
                    <a:ext uri="{9D8B030D-6E8A-4147-A177-3AD203B41FA5}">
                      <a16:colId xmlns:a16="http://schemas.microsoft.com/office/drawing/2014/main" val="4191612690"/>
                    </a:ext>
                  </a:extLst>
                </a:gridCol>
                <a:gridCol w="1519936">
                  <a:extLst>
                    <a:ext uri="{9D8B030D-6E8A-4147-A177-3AD203B41FA5}">
                      <a16:colId xmlns:a16="http://schemas.microsoft.com/office/drawing/2014/main" val="2086704566"/>
                    </a:ext>
                  </a:extLst>
                </a:gridCol>
                <a:gridCol w="1519936">
                  <a:extLst>
                    <a:ext uri="{9D8B030D-6E8A-4147-A177-3AD203B41FA5}">
                      <a16:colId xmlns:a16="http://schemas.microsoft.com/office/drawing/2014/main" val="3864742669"/>
                    </a:ext>
                  </a:extLst>
                </a:gridCol>
              </a:tblGrid>
              <a:tr h="302212">
                <a:tc>
                  <a:txBody>
                    <a:bodyPr/>
                    <a:lstStyle/>
                    <a:p>
                      <a:pPr algn="ctr"/>
                      <a:r>
                        <a:rPr lang="en-US" sz="1600" b="0">
                          <a:solidFill>
                            <a:schemeClr val="bg1">
                              <a:lumMod val="50000"/>
                            </a:schemeClr>
                          </a:solidFill>
                        </a:rPr>
                        <a:t>14%</a:t>
                      </a:r>
                    </a:p>
                  </a:txBody>
                  <a:tcPr>
                    <a:lnL w="6350" cap="flat" cmpd="sng" algn="ctr">
                      <a:solidFill>
                        <a:schemeClr val="bg1">
                          <a:lumMod val="65000"/>
                        </a:schemeClr>
                      </a:solidFill>
                      <a:prstDash val="dash"/>
                      <a:round/>
                      <a:headEnd type="none" w="med" len="med"/>
                      <a:tailEnd type="none" w="med" len="med"/>
                    </a:lnL>
                    <a:lnR w="6350" cap="flat" cmpd="sng" algn="ctr">
                      <a:solidFill>
                        <a:schemeClr val="bg1">
                          <a:lumMod val="65000"/>
                        </a:schemeClr>
                      </a:solidFill>
                      <a:prstDash val="dash"/>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a:r>
                        <a:rPr lang="en-US" sz="1600" b="0">
                          <a:solidFill>
                            <a:schemeClr val="bg2"/>
                          </a:solidFill>
                        </a:rPr>
                        <a:t>24%</a:t>
                      </a:r>
                    </a:p>
                  </a:txBody>
                  <a:tcPr>
                    <a:lnL w="6350" cap="flat" cmpd="sng" algn="ctr">
                      <a:solidFill>
                        <a:schemeClr val="bg1">
                          <a:lumMod val="65000"/>
                        </a:schemeClr>
                      </a:solidFill>
                      <a:prstDash val="dash"/>
                      <a:round/>
                      <a:headEnd type="none" w="med" len="med"/>
                      <a:tailEnd type="none" w="med" len="med"/>
                    </a:lnL>
                    <a:lnR w="6350" cap="flat" cmpd="sng" algn="ctr">
                      <a:solidFill>
                        <a:schemeClr val="bg1">
                          <a:lumMod val="65000"/>
                        </a:schemeClr>
                      </a:solidFill>
                      <a:prstDash val="dash"/>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algn="ctr"/>
                      <a:r>
                        <a:rPr lang="en-US" sz="1600" b="0" dirty="0">
                          <a:solidFill>
                            <a:schemeClr val="accent2"/>
                          </a:solidFill>
                        </a:rPr>
                        <a:t>61%</a:t>
                      </a:r>
                    </a:p>
                  </a:txBody>
                  <a:tcPr>
                    <a:lnL w="6350" cap="flat" cmpd="sng" algn="ctr">
                      <a:solidFill>
                        <a:schemeClr val="bg1">
                          <a:lumMod val="65000"/>
                        </a:schemeClr>
                      </a:solidFill>
                      <a:prstDash val="dash"/>
                      <a:round/>
                      <a:headEnd type="none" w="med" len="med"/>
                      <a:tailEnd type="none" w="med" len="med"/>
                    </a:lnL>
                    <a:lnR w="6350" cap="flat" cmpd="sng" algn="ctr">
                      <a:solidFill>
                        <a:schemeClr val="bg1">
                          <a:lumMod val="65000"/>
                        </a:schemeClr>
                      </a:solidFill>
                      <a:prstDash val="dash"/>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3583837960"/>
                  </a:ext>
                </a:extLst>
              </a:tr>
              <a:tr h="231605">
                <a:tc>
                  <a:txBody>
                    <a:bodyPr/>
                    <a:lstStyle/>
                    <a:p>
                      <a:pPr algn="ctr"/>
                      <a:r>
                        <a:rPr lang="en-US" sz="800" b="1" dirty="0"/>
                        <a:t>Large market</a:t>
                      </a:r>
                    </a:p>
                  </a:txBody>
                  <a:tcPr anchor="ctr">
                    <a:lnL w="6350" cap="flat" cmpd="sng" algn="ctr">
                      <a:solidFill>
                        <a:schemeClr val="bg1">
                          <a:lumMod val="65000"/>
                        </a:schemeClr>
                      </a:solidFill>
                      <a:prstDash val="dash"/>
                      <a:round/>
                      <a:headEnd type="none" w="med" len="med"/>
                      <a:tailEnd type="none" w="med" len="med"/>
                    </a:lnL>
                    <a:lnR w="6350" cap="flat" cmpd="sng" algn="ctr">
                      <a:solidFill>
                        <a:schemeClr val="bg1">
                          <a:lumMod val="65000"/>
                        </a:schemeClr>
                      </a:solidFill>
                      <a:prstDash val="dash"/>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marL="0" marR="0" lvl="0" indent="0" algn="ctr" defTabSz="915373" rtl="0" eaLnBrk="1" fontAlgn="auto" latinLnBrk="0" hangingPunct="1">
                        <a:lnSpc>
                          <a:spcPct val="100000"/>
                        </a:lnSpc>
                        <a:spcBef>
                          <a:spcPts val="0"/>
                        </a:spcBef>
                        <a:spcAft>
                          <a:spcPts val="0"/>
                        </a:spcAft>
                        <a:buClrTx/>
                        <a:buSzTx/>
                        <a:buFontTx/>
                        <a:buNone/>
                        <a:tabLst/>
                        <a:defRPr/>
                      </a:pPr>
                      <a:r>
                        <a:rPr lang="en-US" sz="800" b="1" dirty="0"/>
                        <a:t>Mid-market</a:t>
                      </a:r>
                    </a:p>
                  </a:txBody>
                  <a:tcPr anchor="ctr">
                    <a:lnL w="6350" cap="flat" cmpd="sng" algn="ctr">
                      <a:solidFill>
                        <a:schemeClr val="bg1">
                          <a:lumMod val="65000"/>
                        </a:schemeClr>
                      </a:solidFill>
                      <a:prstDash val="dash"/>
                      <a:round/>
                      <a:headEnd type="none" w="med" len="med"/>
                      <a:tailEnd type="none" w="med" len="med"/>
                    </a:lnL>
                    <a:lnR w="6350" cap="flat" cmpd="sng" algn="ctr">
                      <a:solidFill>
                        <a:schemeClr val="bg1">
                          <a:lumMod val="65000"/>
                        </a:schemeClr>
                      </a:solidFill>
                      <a:prstDash val="dash"/>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tc>
                  <a:txBody>
                    <a:bodyPr/>
                    <a:lstStyle/>
                    <a:p>
                      <a:pPr marL="0" marR="0" lvl="0" indent="0" algn="ctr" defTabSz="915373" rtl="0" eaLnBrk="1" fontAlgn="auto" latinLnBrk="0" hangingPunct="1">
                        <a:lnSpc>
                          <a:spcPct val="100000"/>
                        </a:lnSpc>
                        <a:spcBef>
                          <a:spcPts val="0"/>
                        </a:spcBef>
                        <a:spcAft>
                          <a:spcPts val="0"/>
                        </a:spcAft>
                        <a:buClrTx/>
                        <a:buSzTx/>
                        <a:buFontTx/>
                        <a:buNone/>
                        <a:tabLst/>
                        <a:defRPr/>
                      </a:pPr>
                      <a:r>
                        <a:rPr lang="en-US" sz="800" b="1" dirty="0"/>
                        <a:t>Small market</a:t>
                      </a:r>
                    </a:p>
                  </a:txBody>
                  <a:tcPr anchor="ctr">
                    <a:lnL w="6350" cap="flat" cmpd="sng" algn="ctr">
                      <a:solidFill>
                        <a:schemeClr val="bg1">
                          <a:lumMod val="65000"/>
                        </a:schemeClr>
                      </a:solidFill>
                      <a:prstDash val="dash"/>
                      <a:round/>
                      <a:headEnd type="none" w="med" len="med"/>
                      <a:tailEnd type="none" w="med" len="med"/>
                    </a:lnL>
                    <a:lnR w="6350" cap="flat" cmpd="sng" algn="ctr">
                      <a:solidFill>
                        <a:schemeClr val="bg1">
                          <a:lumMod val="65000"/>
                        </a:schemeClr>
                      </a:solidFill>
                      <a:prstDash val="dash"/>
                      <a:round/>
                      <a:headEnd type="none" w="med" len="med"/>
                      <a:tailEnd type="none" w="med" len="med"/>
                    </a:lnR>
                    <a:lnT w="6350" cap="flat" cmpd="sng" algn="ctr">
                      <a:solidFill>
                        <a:schemeClr val="bg1">
                          <a:lumMod val="65000"/>
                        </a:schemeClr>
                      </a:solidFill>
                      <a:prstDash val="dash"/>
                      <a:round/>
                      <a:headEnd type="none" w="med" len="med"/>
                      <a:tailEnd type="none" w="med" len="med"/>
                    </a:lnT>
                    <a:lnB w="6350" cap="flat" cmpd="sng" algn="ctr">
                      <a:solidFill>
                        <a:schemeClr val="bg1">
                          <a:lumMod val="65000"/>
                        </a:schemeClr>
                      </a:solidFill>
                      <a:prstDash val="dash"/>
                      <a:round/>
                      <a:headEnd type="none" w="med" len="med"/>
                      <a:tailEnd type="none" w="med" len="med"/>
                    </a:lnB>
                    <a:noFill/>
                  </a:tcPr>
                </a:tc>
                <a:extLst>
                  <a:ext uri="{0D108BD9-81ED-4DB2-BD59-A6C34878D82A}">
                    <a16:rowId xmlns:a16="http://schemas.microsoft.com/office/drawing/2014/main" val="463178231"/>
                  </a:ext>
                </a:extLst>
              </a:tr>
            </a:tbl>
          </a:graphicData>
        </a:graphic>
      </p:graphicFrame>
      <p:grpSp>
        <p:nvGrpSpPr>
          <p:cNvPr id="363" name="Graphic 7">
            <a:extLst>
              <a:ext uri="{FF2B5EF4-FFF2-40B4-BE49-F238E27FC236}">
                <a16:creationId xmlns:a16="http://schemas.microsoft.com/office/drawing/2014/main" id="{7C778771-53D9-6440-A4D5-FFAE9CC62EE0}"/>
              </a:ext>
            </a:extLst>
          </p:cNvPr>
          <p:cNvGrpSpPr/>
          <p:nvPr/>
        </p:nvGrpSpPr>
        <p:grpSpPr>
          <a:xfrm>
            <a:off x="8541714" y="2268311"/>
            <a:ext cx="933218" cy="933175"/>
            <a:chOff x="-702913" y="2635709"/>
            <a:chExt cx="612871" cy="612843"/>
          </a:xfrm>
          <a:solidFill>
            <a:schemeClr val="bg2"/>
          </a:solidFill>
        </p:grpSpPr>
        <p:sp>
          <p:nvSpPr>
            <p:cNvPr id="364" name="Graphic 7">
              <a:extLst>
                <a:ext uri="{FF2B5EF4-FFF2-40B4-BE49-F238E27FC236}">
                  <a16:creationId xmlns:a16="http://schemas.microsoft.com/office/drawing/2014/main" id="{4110C0EF-5D3D-8744-8BF2-3C3F11F3A5CD}"/>
                </a:ext>
              </a:extLst>
            </p:cNvPr>
            <p:cNvSpPr/>
            <p:nvPr/>
          </p:nvSpPr>
          <p:spPr>
            <a:xfrm>
              <a:off x="-702913" y="2635709"/>
              <a:ext cx="612871" cy="612843"/>
            </a:xfrm>
            <a:custGeom>
              <a:avLst/>
              <a:gdLst>
                <a:gd name="connsiteX0" fmla="*/ 603442 w 612871"/>
                <a:gd name="connsiteY0" fmla="*/ 537899 h 612843"/>
                <a:gd name="connsiteX1" fmla="*/ 592128 w 612871"/>
                <a:gd name="connsiteY1" fmla="*/ 537899 h 612843"/>
                <a:gd name="connsiteX2" fmla="*/ 592128 w 612871"/>
                <a:gd name="connsiteY2" fmla="*/ 203016 h 612843"/>
                <a:gd name="connsiteX3" fmla="*/ 588356 w 612871"/>
                <a:gd name="connsiteY3" fmla="*/ 195427 h 612843"/>
                <a:gd name="connsiteX4" fmla="*/ 489354 w 612871"/>
                <a:gd name="connsiteY4" fmla="*/ 110995 h 612843"/>
                <a:gd name="connsiteX5" fmla="*/ 478982 w 612871"/>
                <a:gd name="connsiteY5" fmla="*/ 110046 h 612843"/>
                <a:gd name="connsiteX6" fmla="*/ 473325 w 612871"/>
                <a:gd name="connsiteY6" fmla="*/ 118584 h 612843"/>
                <a:gd name="connsiteX7" fmla="*/ 473325 w 612871"/>
                <a:gd name="connsiteY7" fmla="*/ 537899 h 612843"/>
                <a:gd name="connsiteX8" fmla="*/ 450696 w 612871"/>
                <a:gd name="connsiteY8" fmla="*/ 537899 h 612843"/>
                <a:gd name="connsiteX9" fmla="*/ 450696 w 612871"/>
                <a:gd name="connsiteY9" fmla="*/ 9487 h 612843"/>
                <a:gd name="connsiteX10" fmla="*/ 441267 w 612871"/>
                <a:gd name="connsiteY10" fmla="*/ 0 h 612843"/>
                <a:gd name="connsiteX11" fmla="*/ 170661 w 612871"/>
                <a:gd name="connsiteY11" fmla="*/ 0 h 612843"/>
                <a:gd name="connsiteX12" fmla="*/ 161232 w 612871"/>
                <a:gd name="connsiteY12" fmla="*/ 9487 h 612843"/>
                <a:gd name="connsiteX13" fmla="*/ 161232 w 612871"/>
                <a:gd name="connsiteY13" fmla="*/ 537899 h 612843"/>
                <a:gd name="connsiteX14" fmla="*/ 138603 w 612871"/>
                <a:gd name="connsiteY14" fmla="*/ 537899 h 612843"/>
                <a:gd name="connsiteX15" fmla="*/ 138603 w 612871"/>
                <a:gd name="connsiteY15" fmla="*/ 118584 h 612843"/>
                <a:gd name="connsiteX16" fmla="*/ 132946 w 612871"/>
                <a:gd name="connsiteY16" fmla="*/ 110046 h 612843"/>
                <a:gd name="connsiteX17" fmla="*/ 122574 w 612871"/>
                <a:gd name="connsiteY17" fmla="*/ 110995 h 612843"/>
                <a:gd name="connsiteX18" fmla="*/ 23572 w 612871"/>
                <a:gd name="connsiteY18" fmla="*/ 195427 h 612843"/>
                <a:gd name="connsiteX19" fmla="*/ 19800 w 612871"/>
                <a:gd name="connsiteY19" fmla="*/ 203016 h 612843"/>
                <a:gd name="connsiteX20" fmla="*/ 19800 w 612871"/>
                <a:gd name="connsiteY20" fmla="*/ 538847 h 612843"/>
                <a:gd name="connsiteX21" fmla="*/ 9429 w 612871"/>
                <a:gd name="connsiteY21" fmla="*/ 538847 h 612843"/>
                <a:gd name="connsiteX22" fmla="*/ 0 w 612871"/>
                <a:gd name="connsiteY22" fmla="*/ 548334 h 612843"/>
                <a:gd name="connsiteX23" fmla="*/ 0 w 612871"/>
                <a:gd name="connsiteY23" fmla="*/ 603357 h 612843"/>
                <a:gd name="connsiteX24" fmla="*/ 9429 w 612871"/>
                <a:gd name="connsiteY24" fmla="*/ 612844 h 612843"/>
                <a:gd name="connsiteX25" fmla="*/ 603442 w 612871"/>
                <a:gd name="connsiteY25" fmla="*/ 612844 h 612843"/>
                <a:gd name="connsiteX26" fmla="*/ 612871 w 612871"/>
                <a:gd name="connsiteY26" fmla="*/ 603357 h 612843"/>
                <a:gd name="connsiteX27" fmla="*/ 612871 w 612871"/>
                <a:gd name="connsiteY27" fmla="*/ 548334 h 612843"/>
                <a:gd name="connsiteX28" fmla="*/ 603442 w 612871"/>
                <a:gd name="connsiteY28" fmla="*/ 537899 h 612843"/>
                <a:gd name="connsiteX29" fmla="*/ 493126 w 612871"/>
                <a:gd name="connsiteY29" fmla="*/ 139455 h 612843"/>
                <a:gd name="connsiteX30" fmla="*/ 573270 w 612871"/>
                <a:gd name="connsiteY30" fmla="*/ 207760 h 612843"/>
                <a:gd name="connsiteX31" fmla="*/ 573270 w 612871"/>
                <a:gd name="connsiteY31" fmla="*/ 538847 h 612843"/>
                <a:gd name="connsiteX32" fmla="*/ 493126 w 612871"/>
                <a:gd name="connsiteY32" fmla="*/ 538847 h 612843"/>
                <a:gd name="connsiteX33" fmla="*/ 493126 w 612871"/>
                <a:gd name="connsiteY33" fmla="*/ 139455 h 612843"/>
                <a:gd name="connsiteX34" fmla="*/ 180090 w 612871"/>
                <a:gd name="connsiteY34" fmla="*/ 18973 h 612843"/>
                <a:gd name="connsiteX35" fmla="*/ 432781 w 612871"/>
                <a:gd name="connsiteY35" fmla="*/ 18973 h 612843"/>
                <a:gd name="connsiteX36" fmla="*/ 432781 w 612871"/>
                <a:gd name="connsiteY36" fmla="*/ 537899 h 612843"/>
                <a:gd name="connsiteX37" fmla="*/ 180090 w 612871"/>
                <a:gd name="connsiteY37" fmla="*/ 537899 h 612843"/>
                <a:gd name="connsiteX38" fmla="*/ 180090 w 612871"/>
                <a:gd name="connsiteY38" fmla="*/ 18973 h 612843"/>
                <a:gd name="connsiteX39" fmla="*/ 39601 w 612871"/>
                <a:gd name="connsiteY39" fmla="*/ 206811 h 612843"/>
                <a:gd name="connsiteX40" fmla="*/ 119746 w 612871"/>
                <a:gd name="connsiteY40" fmla="*/ 138507 h 612843"/>
                <a:gd name="connsiteX41" fmla="*/ 119746 w 612871"/>
                <a:gd name="connsiteY41" fmla="*/ 537899 h 612843"/>
                <a:gd name="connsiteX42" fmla="*/ 39601 w 612871"/>
                <a:gd name="connsiteY42" fmla="*/ 537899 h 612843"/>
                <a:gd name="connsiteX43" fmla="*/ 39601 w 612871"/>
                <a:gd name="connsiteY43" fmla="*/ 206811 h 612843"/>
                <a:gd name="connsiteX44" fmla="*/ 594014 w 612871"/>
                <a:gd name="connsiteY44" fmla="*/ 593870 h 612843"/>
                <a:gd name="connsiteX45" fmla="*/ 18858 w 612871"/>
                <a:gd name="connsiteY45" fmla="*/ 593870 h 612843"/>
                <a:gd name="connsiteX46" fmla="*/ 18858 w 612871"/>
                <a:gd name="connsiteY46" fmla="*/ 557821 h 612843"/>
                <a:gd name="connsiteX47" fmla="*/ 594014 w 612871"/>
                <a:gd name="connsiteY47" fmla="*/ 557821 h 612843"/>
                <a:gd name="connsiteX48" fmla="*/ 594014 w 612871"/>
                <a:gd name="connsiteY48" fmla="*/ 593870 h 612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12871" h="612843">
                  <a:moveTo>
                    <a:pt x="603442" y="537899"/>
                  </a:moveTo>
                  <a:lnTo>
                    <a:pt x="592128" y="537899"/>
                  </a:lnTo>
                  <a:lnTo>
                    <a:pt x="592128" y="203016"/>
                  </a:lnTo>
                  <a:cubicBezTo>
                    <a:pt x="592128" y="200170"/>
                    <a:pt x="591185" y="197324"/>
                    <a:pt x="588356" y="195427"/>
                  </a:cubicBezTo>
                  <a:lnTo>
                    <a:pt x="489354" y="110995"/>
                  </a:lnTo>
                  <a:cubicBezTo>
                    <a:pt x="486525" y="108149"/>
                    <a:pt x="482754" y="108149"/>
                    <a:pt x="478982" y="110046"/>
                  </a:cubicBezTo>
                  <a:cubicBezTo>
                    <a:pt x="475211" y="111944"/>
                    <a:pt x="473325" y="114790"/>
                    <a:pt x="473325" y="118584"/>
                  </a:cubicBezTo>
                  <a:lnTo>
                    <a:pt x="473325" y="537899"/>
                  </a:lnTo>
                  <a:lnTo>
                    <a:pt x="450696" y="537899"/>
                  </a:lnTo>
                  <a:lnTo>
                    <a:pt x="450696" y="9487"/>
                  </a:lnTo>
                  <a:cubicBezTo>
                    <a:pt x="450696" y="3795"/>
                    <a:pt x="446925" y="0"/>
                    <a:pt x="441267" y="0"/>
                  </a:cubicBezTo>
                  <a:lnTo>
                    <a:pt x="170661" y="0"/>
                  </a:lnTo>
                  <a:cubicBezTo>
                    <a:pt x="165004" y="0"/>
                    <a:pt x="161232" y="3795"/>
                    <a:pt x="161232" y="9487"/>
                  </a:cubicBezTo>
                  <a:lnTo>
                    <a:pt x="161232" y="537899"/>
                  </a:lnTo>
                  <a:lnTo>
                    <a:pt x="138603" y="537899"/>
                  </a:lnTo>
                  <a:lnTo>
                    <a:pt x="138603" y="118584"/>
                  </a:lnTo>
                  <a:cubicBezTo>
                    <a:pt x="138603" y="114790"/>
                    <a:pt x="136717" y="111944"/>
                    <a:pt x="132946" y="110046"/>
                  </a:cubicBezTo>
                  <a:cubicBezTo>
                    <a:pt x="129174" y="108149"/>
                    <a:pt x="125403" y="109098"/>
                    <a:pt x="122574" y="110995"/>
                  </a:cubicBezTo>
                  <a:lnTo>
                    <a:pt x="23572" y="195427"/>
                  </a:lnTo>
                  <a:cubicBezTo>
                    <a:pt x="21686" y="197324"/>
                    <a:pt x="19800" y="200170"/>
                    <a:pt x="19800" y="203016"/>
                  </a:cubicBezTo>
                  <a:lnTo>
                    <a:pt x="19800" y="538847"/>
                  </a:lnTo>
                  <a:lnTo>
                    <a:pt x="9429" y="538847"/>
                  </a:lnTo>
                  <a:cubicBezTo>
                    <a:pt x="3772" y="538847"/>
                    <a:pt x="0" y="542642"/>
                    <a:pt x="0" y="548334"/>
                  </a:cubicBezTo>
                  <a:lnTo>
                    <a:pt x="0" y="603357"/>
                  </a:lnTo>
                  <a:cubicBezTo>
                    <a:pt x="0" y="609049"/>
                    <a:pt x="3772" y="612844"/>
                    <a:pt x="9429" y="612844"/>
                  </a:cubicBezTo>
                  <a:lnTo>
                    <a:pt x="603442" y="612844"/>
                  </a:lnTo>
                  <a:cubicBezTo>
                    <a:pt x="609100" y="612844"/>
                    <a:pt x="612871" y="609049"/>
                    <a:pt x="612871" y="603357"/>
                  </a:cubicBezTo>
                  <a:lnTo>
                    <a:pt x="612871" y="548334"/>
                  </a:lnTo>
                  <a:cubicBezTo>
                    <a:pt x="612871" y="542642"/>
                    <a:pt x="609100" y="537899"/>
                    <a:pt x="603442" y="537899"/>
                  </a:cubicBezTo>
                  <a:close/>
                  <a:moveTo>
                    <a:pt x="493126" y="139455"/>
                  </a:moveTo>
                  <a:lnTo>
                    <a:pt x="573270" y="207760"/>
                  </a:lnTo>
                  <a:lnTo>
                    <a:pt x="573270" y="538847"/>
                  </a:lnTo>
                  <a:lnTo>
                    <a:pt x="493126" y="538847"/>
                  </a:lnTo>
                  <a:lnTo>
                    <a:pt x="493126" y="139455"/>
                  </a:lnTo>
                  <a:close/>
                  <a:moveTo>
                    <a:pt x="180090" y="18973"/>
                  </a:moveTo>
                  <a:lnTo>
                    <a:pt x="432781" y="18973"/>
                  </a:lnTo>
                  <a:lnTo>
                    <a:pt x="432781" y="537899"/>
                  </a:lnTo>
                  <a:lnTo>
                    <a:pt x="180090" y="537899"/>
                  </a:lnTo>
                  <a:lnTo>
                    <a:pt x="180090" y="18973"/>
                  </a:lnTo>
                  <a:close/>
                  <a:moveTo>
                    <a:pt x="39601" y="206811"/>
                  </a:moveTo>
                  <a:lnTo>
                    <a:pt x="119746" y="138507"/>
                  </a:lnTo>
                  <a:lnTo>
                    <a:pt x="119746" y="537899"/>
                  </a:lnTo>
                  <a:lnTo>
                    <a:pt x="39601" y="537899"/>
                  </a:lnTo>
                  <a:lnTo>
                    <a:pt x="39601" y="206811"/>
                  </a:lnTo>
                  <a:close/>
                  <a:moveTo>
                    <a:pt x="594014" y="593870"/>
                  </a:moveTo>
                  <a:lnTo>
                    <a:pt x="18858" y="593870"/>
                  </a:lnTo>
                  <a:lnTo>
                    <a:pt x="18858" y="557821"/>
                  </a:lnTo>
                  <a:lnTo>
                    <a:pt x="594014" y="557821"/>
                  </a:lnTo>
                  <a:lnTo>
                    <a:pt x="594014" y="593870"/>
                  </a:lnTo>
                  <a:close/>
                </a:path>
              </a:pathLst>
            </a:custGeom>
            <a:grpFill/>
            <a:ln w="3175" cap="flat">
              <a:solidFill>
                <a:schemeClr val="accent2"/>
              </a:solidFill>
              <a:prstDash val="solid"/>
              <a:miter/>
            </a:ln>
          </p:spPr>
          <p:txBody>
            <a:bodyPr rtlCol="0" anchor="ctr"/>
            <a:lstStyle/>
            <a:p>
              <a:endParaRPr lang="en-US"/>
            </a:p>
          </p:txBody>
        </p:sp>
        <p:sp>
          <p:nvSpPr>
            <p:cNvPr id="365" name="Graphic 7">
              <a:extLst>
                <a:ext uri="{FF2B5EF4-FFF2-40B4-BE49-F238E27FC236}">
                  <a16:creationId xmlns:a16="http://schemas.microsoft.com/office/drawing/2014/main" id="{887F5109-8CD2-AB4C-9F33-D975F9391649}"/>
                </a:ext>
              </a:extLst>
            </p:cNvPr>
            <p:cNvSpPr/>
            <p:nvPr/>
          </p:nvSpPr>
          <p:spPr>
            <a:xfrm>
              <a:off x="-495480" y="2683143"/>
              <a:ext cx="84859" cy="97713"/>
            </a:xfrm>
            <a:custGeom>
              <a:avLst/>
              <a:gdLst>
                <a:gd name="connsiteX0" fmla="*/ 75430 w 84859"/>
                <a:gd name="connsiteY0" fmla="*/ 0 h 97713"/>
                <a:gd name="connsiteX1" fmla="*/ 9429 w 84859"/>
                <a:gd name="connsiteY1" fmla="*/ 0 h 97713"/>
                <a:gd name="connsiteX2" fmla="*/ 0 w 84859"/>
                <a:gd name="connsiteY2" fmla="*/ 9487 h 97713"/>
                <a:gd name="connsiteX3" fmla="*/ 0 w 84859"/>
                <a:gd name="connsiteY3" fmla="*/ 88227 h 97713"/>
                <a:gd name="connsiteX4" fmla="*/ 9429 w 84859"/>
                <a:gd name="connsiteY4" fmla="*/ 97713 h 97713"/>
                <a:gd name="connsiteX5" fmla="*/ 75430 w 84859"/>
                <a:gd name="connsiteY5" fmla="*/ 97713 h 97713"/>
                <a:gd name="connsiteX6" fmla="*/ 84859 w 84859"/>
                <a:gd name="connsiteY6" fmla="*/ 88227 h 97713"/>
                <a:gd name="connsiteX7" fmla="*/ 84859 w 84859"/>
                <a:gd name="connsiteY7" fmla="*/ 9487 h 97713"/>
                <a:gd name="connsiteX8" fmla="*/ 75430 w 84859"/>
                <a:gd name="connsiteY8" fmla="*/ 0 h 97713"/>
                <a:gd name="connsiteX9" fmla="*/ 66002 w 84859"/>
                <a:gd name="connsiteY9" fmla="*/ 78740 h 97713"/>
                <a:gd name="connsiteX10" fmla="*/ 18858 w 84859"/>
                <a:gd name="connsiteY10" fmla="*/ 78740 h 97713"/>
                <a:gd name="connsiteX11" fmla="*/ 18858 w 84859"/>
                <a:gd name="connsiteY11" fmla="*/ 18973 h 97713"/>
                <a:gd name="connsiteX12" fmla="*/ 66002 w 84859"/>
                <a:gd name="connsiteY12" fmla="*/ 18973 h 97713"/>
                <a:gd name="connsiteX13" fmla="*/ 66002 w 84859"/>
                <a:gd name="connsiteY13" fmla="*/ 78740 h 9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7713">
                  <a:moveTo>
                    <a:pt x="75430" y="0"/>
                  </a:moveTo>
                  <a:lnTo>
                    <a:pt x="9429" y="0"/>
                  </a:lnTo>
                  <a:cubicBezTo>
                    <a:pt x="3772" y="0"/>
                    <a:pt x="0" y="3795"/>
                    <a:pt x="0" y="9487"/>
                  </a:cubicBezTo>
                  <a:lnTo>
                    <a:pt x="0" y="88227"/>
                  </a:lnTo>
                  <a:cubicBezTo>
                    <a:pt x="0" y="93919"/>
                    <a:pt x="3772" y="97713"/>
                    <a:pt x="9429" y="97713"/>
                  </a:cubicBezTo>
                  <a:lnTo>
                    <a:pt x="75430" y="97713"/>
                  </a:lnTo>
                  <a:cubicBezTo>
                    <a:pt x="81088" y="97713"/>
                    <a:pt x="84859" y="93919"/>
                    <a:pt x="84859" y="88227"/>
                  </a:cubicBezTo>
                  <a:lnTo>
                    <a:pt x="84859" y="9487"/>
                  </a:lnTo>
                  <a:cubicBezTo>
                    <a:pt x="84859" y="3795"/>
                    <a:pt x="81088" y="0"/>
                    <a:pt x="75430" y="0"/>
                  </a:cubicBezTo>
                  <a:close/>
                  <a:moveTo>
                    <a:pt x="66002" y="78740"/>
                  </a:moveTo>
                  <a:lnTo>
                    <a:pt x="18858" y="78740"/>
                  </a:lnTo>
                  <a:lnTo>
                    <a:pt x="18858" y="18973"/>
                  </a:lnTo>
                  <a:lnTo>
                    <a:pt x="66002" y="18973"/>
                  </a:lnTo>
                  <a:lnTo>
                    <a:pt x="66002" y="78740"/>
                  </a:lnTo>
                  <a:close/>
                </a:path>
              </a:pathLst>
            </a:custGeom>
            <a:grpFill/>
            <a:ln w="3175" cap="flat">
              <a:solidFill>
                <a:schemeClr val="accent2"/>
              </a:solidFill>
              <a:prstDash val="solid"/>
              <a:miter/>
            </a:ln>
          </p:spPr>
          <p:txBody>
            <a:bodyPr rtlCol="0" anchor="ctr"/>
            <a:lstStyle/>
            <a:p>
              <a:endParaRPr lang="en-US"/>
            </a:p>
          </p:txBody>
        </p:sp>
        <p:sp>
          <p:nvSpPr>
            <p:cNvPr id="366" name="Graphic 7">
              <a:extLst>
                <a:ext uri="{FF2B5EF4-FFF2-40B4-BE49-F238E27FC236}">
                  <a16:creationId xmlns:a16="http://schemas.microsoft.com/office/drawing/2014/main" id="{195B6875-E45E-9348-971E-1DE4FCA2F482}"/>
                </a:ext>
              </a:extLst>
            </p:cNvPr>
            <p:cNvSpPr/>
            <p:nvPr/>
          </p:nvSpPr>
          <p:spPr>
            <a:xfrm>
              <a:off x="-382334" y="2683143"/>
              <a:ext cx="84859" cy="97713"/>
            </a:xfrm>
            <a:custGeom>
              <a:avLst/>
              <a:gdLst>
                <a:gd name="connsiteX0" fmla="*/ 75430 w 84859"/>
                <a:gd name="connsiteY0" fmla="*/ 0 h 97713"/>
                <a:gd name="connsiteX1" fmla="*/ 9429 w 84859"/>
                <a:gd name="connsiteY1" fmla="*/ 0 h 97713"/>
                <a:gd name="connsiteX2" fmla="*/ 0 w 84859"/>
                <a:gd name="connsiteY2" fmla="*/ 9487 h 97713"/>
                <a:gd name="connsiteX3" fmla="*/ 0 w 84859"/>
                <a:gd name="connsiteY3" fmla="*/ 88227 h 97713"/>
                <a:gd name="connsiteX4" fmla="*/ 9429 w 84859"/>
                <a:gd name="connsiteY4" fmla="*/ 97713 h 97713"/>
                <a:gd name="connsiteX5" fmla="*/ 75430 w 84859"/>
                <a:gd name="connsiteY5" fmla="*/ 97713 h 97713"/>
                <a:gd name="connsiteX6" fmla="*/ 84859 w 84859"/>
                <a:gd name="connsiteY6" fmla="*/ 88227 h 97713"/>
                <a:gd name="connsiteX7" fmla="*/ 84859 w 84859"/>
                <a:gd name="connsiteY7" fmla="*/ 9487 h 97713"/>
                <a:gd name="connsiteX8" fmla="*/ 75430 w 84859"/>
                <a:gd name="connsiteY8" fmla="*/ 0 h 97713"/>
                <a:gd name="connsiteX9" fmla="*/ 66002 w 84859"/>
                <a:gd name="connsiteY9" fmla="*/ 78740 h 97713"/>
                <a:gd name="connsiteX10" fmla="*/ 18858 w 84859"/>
                <a:gd name="connsiteY10" fmla="*/ 78740 h 97713"/>
                <a:gd name="connsiteX11" fmla="*/ 18858 w 84859"/>
                <a:gd name="connsiteY11" fmla="*/ 18973 h 97713"/>
                <a:gd name="connsiteX12" fmla="*/ 66002 w 84859"/>
                <a:gd name="connsiteY12" fmla="*/ 18973 h 97713"/>
                <a:gd name="connsiteX13" fmla="*/ 66002 w 84859"/>
                <a:gd name="connsiteY13" fmla="*/ 78740 h 9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7713">
                  <a:moveTo>
                    <a:pt x="75430" y="0"/>
                  </a:moveTo>
                  <a:lnTo>
                    <a:pt x="9429" y="0"/>
                  </a:lnTo>
                  <a:cubicBezTo>
                    <a:pt x="3772" y="0"/>
                    <a:pt x="0" y="3795"/>
                    <a:pt x="0" y="9487"/>
                  </a:cubicBezTo>
                  <a:lnTo>
                    <a:pt x="0" y="88227"/>
                  </a:lnTo>
                  <a:cubicBezTo>
                    <a:pt x="0" y="93919"/>
                    <a:pt x="3772" y="97713"/>
                    <a:pt x="9429" y="97713"/>
                  </a:cubicBezTo>
                  <a:lnTo>
                    <a:pt x="75430" y="97713"/>
                  </a:lnTo>
                  <a:cubicBezTo>
                    <a:pt x="81088" y="97713"/>
                    <a:pt x="84859" y="93919"/>
                    <a:pt x="84859" y="88227"/>
                  </a:cubicBezTo>
                  <a:lnTo>
                    <a:pt x="84859" y="9487"/>
                  </a:lnTo>
                  <a:cubicBezTo>
                    <a:pt x="84859" y="3795"/>
                    <a:pt x="80145" y="0"/>
                    <a:pt x="75430" y="0"/>
                  </a:cubicBezTo>
                  <a:close/>
                  <a:moveTo>
                    <a:pt x="66002" y="78740"/>
                  </a:moveTo>
                  <a:lnTo>
                    <a:pt x="18858" y="78740"/>
                  </a:lnTo>
                  <a:lnTo>
                    <a:pt x="18858" y="18973"/>
                  </a:lnTo>
                  <a:lnTo>
                    <a:pt x="66002" y="18973"/>
                  </a:lnTo>
                  <a:lnTo>
                    <a:pt x="66002" y="78740"/>
                  </a:lnTo>
                  <a:close/>
                </a:path>
              </a:pathLst>
            </a:custGeom>
            <a:grpFill/>
            <a:ln w="3175" cap="flat">
              <a:solidFill>
                <a:schemeClr val="accent2"/>
              </a:solidFill>
              <a:prstDash val="solid"/>
              <a:miter/>
            </a:ln>
          </p:spPr>
          <p:txBody>
            <a:bodyPr rtlCol="0" anchor="ctr"/>
            <a:lstStyle/>
            <a:p>
              <a:endParaRPr lang="en-US"/>
            </a:p>
          </p:txBody>
        </p:sp>
        <p:sp>
          <p:nvSpPr>
            <p:cNvPr id="367" name="Graphic 7">
              <a:extLst>
                <a:ext uri="{FF2B5EF4-FFF2-40B4-BE49-F238E27FC236}">
                  <a16:creationId xmlns:a16="http://schemas.microsoft.com/office/drawing/2014/main" id="{7F729FE4-0FC8-0048-B144-7E261238A66E}"/>
                </a:ext>
              </a:extLst>
            </p:cNvPr>
            <p:cNvSpPr/>
            <p:nvPr/>
          </p:nvSpPr>
          <p:spPr>
            <a:xfrm>
              <a:off x="-495480" y="2804573"/>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8740 h 98662"/>
                <a:gd name="connsiteX10" fmla="*/ 18858 w 84859"/>
                <a:gd name="connsiteY10" fmla="*/ 78740 h 98662"/>
                <a:gd name="connsiteX11" fmla="*/ 18858 w 84859"/>
                <a:gd name="connsiteY11" fmla="*/ 18025 h 98662"/>
                <a:gd name="connsiteX12" fmla="*/ 66002 w 84859"/>
                <a:gd name="connsiteY12" fmla="*/ 18025 h 98662"/>
                <a:gd name="connsiteX13" fmla="*/ 66002 w 84859"/>
                <a:gd name="connsiteY13" fmla="*/ 78740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3795"/>
                    <a:pt x="81088" y="0"/>
                    <a:pt x="75430" y="0"/>
                  </a:cubicBezTo>
                  <a:close/>
                  <a:moveTo>
                    <a:pt x="66002" y="78740"/>
                  </a:moveTo>
                  <a:lnTo>
                    <a:pt x="18858" y="78740"/>
                  </a:lnTo>
                  <a:lnTo>
                    <a:pt x="18858" y="18025"/>
                  </a:lnTo>
                  <a:lnTo>
                    <a:pt x="66002" y="18025"/>
                  </a:lnTo>
                  <a:lnTo>
                    <a:pt x="66002" y="78740"/>
                  </a:lnTo>
                  <a:close/>
                </a:path>
              </a:pathLst>
            </a:custGeom>
            <a:grpFill/>
            <a:ln w="3175" cap="flat">
              <a:solidFill>
                <a:schemeClr val="accent2"/>
              </a:solidFill>
              <a:prstDash val="solid"/>
              <a:miter/>
            </a:ln>
          </p:spPr>
          <p:txBody>
            <a:bodyPr rtlCol="0" anchor="ctr"/>
            <a:lstStyle/>
            <a:p>
              <a:endParaRPr lang="en-US"/>
            </a:p>
          </p:txBody>
        </p:sp>
        <p:sp>
          <p:nvSpPr>
            <p:cNvPr id="368" name="Graphic 7">
              <a:extLst>
                <a:ext uri="{FF2B5EF4-FFF2-40B4-BE49-F238E27FC236}">
                  <a16:creationId xmlns:a16="http://schemas.microsoft.com/office/drawing/2014/main" id="{6A18075E-52F3-5446-A113-392710AE324D}"/>
                </a:ext>
              </a:extLst>
            </p:cNvPr>
            <p:cNvSpPr/>
            <p:nvPr/>
          </p:nvSpPr>
          <p:spPr>
            <a:xfrm>
              <a:off x="-382334" y="2804573"/>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8740 h 98662"/>
                <a:gd name="connsiteX10" fmla="*/ 18858 w 84859"/>
                <a:gd name="connsiteY10" fmla="*/ 78740 h 98662"/>
                <a:gd name="connsiteX11" fmla="*/ 18858 w 84859"/>
                <a:gd name="connsiteY11" fmla="*/ 18025 h 98662"/>
                <a:gd name="connsiteX12" fmla="*/ 66002 w 84859"/>
                <a:gd name="connsiteY12" fmla="*/ 18025 h 98662"/>
                <a:gd name="connsiteX13" fmla="*/ 66002 w 84859"/>
                <a:gd name="connsiteY13" fmla="*/ 78740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3795"/>
                    <a:pt x="80145" y="0"/>
                    <a:pt x="75430" y="0"/>
                  </a:cubicBezTo>
                  <a:close/>
                  <a:moveTo>
                    <a:pt x="66002" y="78740"/>
                  </a:moveTo>
                  <a:lnTo>
                    <a:pt x="18858" y="78740"/>
                  </a:lnTo>
                  <a:lnTo>
                    <a:pt x="18858" y="18025"/>
                  </a:lnTo>
                  <a:lnTo>
                    <a:pt x="66002" y="18025"/>
                  </a:lnTo>
                  <a:lnTo>
                    <a:pt x="66002" y="78740"/>
                  </a:lnTo>
                  <a:close/>
                </a:path>
              </a:pathLst>
            </a:custGeom>
            <a:grpFill/>
            <a:ln w="3175" cap="flat">
              <a:solidFill>
                <a:schemeClr val="accent2"/>
              </a:solidFill>
              <a:prstDash val="solid"/>
              <a:miter/>
            </a:ln>
          </p:spPr>
          <p:txBody>
            <a:bodyPr rtlCol="0" anchor="ctr"/>
            <a:lstStyle/>
            <a:p>
              <a:endParaRPr lang="en-US"/>
            </a:p>
          </p:txBody>
        </p:sp>
        <p:sp>
          <p:nvSpPr>
            <p:cNvPr id="369" name="Graphic 7">
              <a:extLst>
                <a:ext uri="{FF2B5EF4-FFF2-40B4-BE49-F238E27FC236}">
                  <a16:creationId xmlns:a16="http://schemas.microsoft.com/office/drawing/2014/main" id="{DB16D11D-909C-F34B-8116-D7B5C39C842F}"/>
                </a:ext>
              </a:extLst>
            </p:cNvPr>
            <p:cNvSpPr/>
            <p:nvPr/>
          </p:nvSpPr>
          <p:spPr>
            <a:xfrm>
              <a:off x="-495480" y="2926004"/>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9689 h 98662"/>
                <a:gd name="connsiteX10" fmla="*/ 18858 w 84859"/>
                <a:gd name="connsiteY10" fmla="*/ 79689 h 98662"/>
                <a:gd name="connsiteX11" fmla="*/ 18858 w 84859"/>
                <a:gd name="connsiteY11" fmla="*/ 18973 h 98662"/>
                <a:gd name="connsiteX12" fmla="*/ 66002 w 84859"/>
                <a:gd name="connsiteY12" fmla="*/ 18973 h 98662"/>
                <a:gd name="connsiteX13" fmla="*/ 66002 w 84859"/>
                <a:gd name="connsiteY13" fmla="*/ 79689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4743"/>
                    <a:pt x="81088" y="0"/>
                    <a:pt x="75430" y="0"/>
                  </a:cubicBezTo>
                  <a:close/>
                  <a:moveTo>
                    <a:pt x="66002" y="79689"/>
                  </a:moveTo>
                  <a:lnTo>
                    <a:pt x="18858" y="79689"/>
                  </a:lnTo>
                  <a:lnTo>
                    <a:pt x="18858" y="18973"/>
                  </a:lnTo>
                  <a:lnTo>
                    <a:pt x="66002" y="18973"/>
                  </a:lnTo>
                  <a:lnTo>
                    <a:pt x="66002" y="79689"/>
                  </a:lnTo>
                  <a:close/>
                </a:path>
              </a:pathLst>
            </a:custGeom>
            <a:grpFill/>
            <a:ln w="3175" cap="flat">
              <a:solidFill>
                <a:schemeClr val="accent2"/>
              </a:solidFill>
              <a:prstDash val="solid"/>
              <a:miter/>
            </a:ln>
          </p:spPr>
          <p:txBody>
            <a:bodyPr rtlCol="0" anchor="ctr"/>
            <a:lstStyle/>
            <a:p>
              <a:endParaRPr lang="en-US"/>
            </a:p>
          </p:txBody>
        </p:sp>
        <p:sp>
          <p:nvSpPr>
            <p:cNvPr id="370" name="Graphic 7">
              <a:extLst>
                <a:ext uri="{FF2B5EF4-FFF2-40B4-BE49-F238E27FC236}">
                  <a16:creationId xmlns:a16="http://schemas.microsoft.com/office/drawing/2014/main" id="{BE1D90DF-7F46-784A-B368-86A21198FBB5}"/>
                </a:ext>
              </a:extLst>
            </p:cNvPr>
            <p:cNvSpPr/>
            <p:nvPr/>
          </p:nvSpPr>
          <p:spPr>
            <a:xfrm>
              <a:off x="-382334" y="2926004"/>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9689 h 98662"/>
                <a:gd name="connsiteX10" fmla="*/ 18858 w 84859"/>
                <a:gd name="connsiteY10" fmla="*/ 79689 h 98662"/>
                <a:gd name="connsiteX11" fmla="*/ 18858 w 84859"/>
                <a:gd name="connsiteY11" fmla="*/ 18973 h 98662"/>
                <a:gd name="connsiteX12" fmla="*/ 66002 w 84859"/>
                <a:gd name="connsiteY12" fmla="*/ 18973 h 98662"/>
                <a:gd name="connsiteX13" fmla="*/ 66002 w 84859"/>
                <a:gd name="connsiteY13" fmla="*/ 79689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4743"/>
                    <a:pt x="80145" y="0"/>
                    <a:pt x="75430" y="0"/>
                  </a:cubicBezTo>
                  <a:close/>
                  <a:moveTo>
                    <a:pt x="66002" y="79689"/>
                  </a:moveTo>
                  <a:lnTo>
                    <a:pt x="18858" y="79689"/>
                  </a:lnTo>
                  <a:lnTo>
                    <a:pt x="18858" y="18973"/>
                  </a:lnTo>
                  <a:lnTo>
                    <a:pt x="66002" y="18973"/>
                  </a:lnTo>
                  <a:lnTo>
                    <a:pt x="66002" y="79689"/>
                  </a:lnTo>
                  <a:close/>
                </a:path>
              </a:pathLst>
            </a:custGeom>
            <a:grpFill/>
            <a:ln w="3175" cap="flat">
              <a:solidFill>
                <a:schemeClr val="accent2"/>
              </a:solidFill>
              <a:prstDash val="solid"/>
              <a:miter/>
            </a:ln>
          </p:spPr>
          <p:txBody>
            <a:bodyPr rtlCol="0" anchor="ctr"/>
            <a:lstStyle/>
            <a:p>
              <a:endParaRPr lang="en-US"/>
            </a:p>
          </p:txBody>
        </p:sp>
        <p:sp>
          <p:nvSpPr>
            <p:cNvPr id="371" name="Graphic 7">
              <a:extLst>
                <a:ext uri="{FF2B5EF4-FFF2-40B4-BE49-F238E27FC236}">
                  <a16:creationId xmlns:a16="http://schemas.microsoft.com/office/drawing/2014/main" id="{220CF2D3-2D3F-5D49-AD87-EEE52516D24F}"/>
                </a:ext>
              </a:extLst>
            </p:cNvPr>
            <p:cNvSpPr/>
            <p:nvPr/>
          </p:nvSpPr>
          <p:spPr>
            <a:xfrm>
              <a:off x="-495480" y="3047434"/>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9689 h 98662"/>
                <a:gd name="connsiteX10" fmla="*/ 18858 w 84859"/>
                <a:gd name="connsiteY10" fmla="*/ 79689 h 98662"/>
                <a:gd name="connsiteX11" fmla="*/ 18858 w 84859"/>
                <a:gd name="connsiteY11" fmla="*/ 18973 h 98662"/>
                <a:gd name="connsiteX12" fmla="*/ 66002 w 84859"/>
                <a:gd name="connsiteY12" fmla="*/ 18973 h 98662"/>
                <a:gd name="connsiteX13" fmla="*/ 66002 w 84859"/>
                <a:gd name="connsiteY13" fmla="*/ 79689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4743"/>
                    <a:pt x="81088" y="0"/>
                    <a:pt x="75430" y="0"/>
                  </a:cubicBezTo>
                  <a:close/>
                  <a:moveTo>
                    <a:pt x="66002" y="79689"/>
                  </a:moveTo>
                  <a:lnTo>
                    <a:pt x="18858" y="79689"/>
                  </a:lnTo>
                  <a:lnTo>
                    <a:pt x="18858" y="18973"/>
                  </a:lnTo>
                  <a:lnTo>
                    <a:pt x="66002" y="18973"/>
                  </a:lnTo>
                  <a:lnTo>
                    <a:pt x="66002" y="79689"/>
                  </a:lnTo>
                  <a:close/>
                </a:path>
              </a:pathLst>
            </a:custGeom>
            <a:grpFill/>
            <a:ln w="3175" cap="flat">
              <a:solidFill>
                <a:schemeClr val="accent2"/>
              </a:solidFill>
              <a:prstDash val="solid"/>
              <a:miter/>
            </a:ln>
          </p:spPr>
          <p:txBody>
            <a:bodyPr rtlCol="0" anchor="ctr"/>
            <a:lstStyle/>
            <a:p>
              <a:endParaRPr lang="en-US"/>
            </a:p>
          </p:txBody>
        </p:sp>
        <p:sp>
          <p:nvSpPr>
            <p:cNvPr id="372" name="Graphic 7">
              <a:extLst>
                <a:ext uri="{FF2B5EF4-FFF2-40B4-BE49-F238E27FC236}">
                  <a16:creationId xmlns:a16="http://schemas.microsoft.com/office/drawing/2014/main" id="{7642F8A5-7BAA-9C48-9E88-6705AABD964D}"/>
                </a:ext>
              </a:extLst>
            </p:cNvPr>
            <p:cNvSpPr/>
            <p:nvPr/>
          </p:nvSpPr>
          <p:spPr>
            <a:xfrm>
              <a:off x="-382334" y="3047434"/>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9689 h 98662"/>
                <a:gd name="connsiteX10" fmla="*/ 18858 w 84859"/>
                <a:gd name="connsiteY10" fmla="*/ 79689 h 98662"/>
                <a:gd name="connsiteX11" fmla="*/ 18858 w 84859"/>
                <a:gd name="connsiteY11" fmla="*/ 18973 h 98662"/>
                <a:gd name="connsiteX12" fmla="*/ 66002 w 84859"/>
                <a:gd name="connsiteY12" fmla="*/ 18973 h 98662"/>
                <a:gd name="connsiteX13" fmla="*/ 66002 w 84859"/>
                <a:gd name="connsiteY13" fmla="*/ 79689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4743"/>
                    <a:pt x="80145" y="0"/>
                    <a:pt x="75430" y="0"/>
                  </a:cubicBezTo>
                  <a:close/>
                  <a:moveTo>
                    <a:pt x="66002" y="79689"/>
                  </a:moveTo>
                  <a:lnTo>
                    <a:pt x="18858" y="79689"/>
                  </a:lnTo>
                  <a:lnTo>
                    <a:pt x="18858" y="18973"/>
                  </a:lnTo>
                  <a:lnTo>
                    <a:pt x="66002" y="18973"/>
                  </a:lnTo>
                  <a:lnTo>
                    <a:pt x="66002" y="79689"/>
                  </a:lnTo>
                  <a:close/>
                </a:path>
              </a:pathLst>
            </a:custGeom>
            <a:grpFill/>
            <a:ln w="3175" cap="flat">
              <a:solidFill>
                <a:schemeClr val="accent2"/>
              </a:solidFill>
              <a:prstDash val="solid"/>
              <a:miter/>
            </a:ln>
          </p:spPr>
          <p:txBody>
            <a:bodyPr rtlCol="0" anchor="ctr"/>
            <a:lstStyle/>
            <a:p>
              <a:endParaRPr lang="en-US"/>
            </a:p>
          </p:txBody>
        </p:sp>
        <p:sp>
          <p:nvSpPr>
            <p:cNvPr id="373" name="Graphic 7">
              <a:extLst>
                <a:ext uri="{FF2B5EF4-FFF2-40B4-BE49-F238E27FC236}">
                  <a16:creationId xmlns:a16="http://schemas.microsoft.com/office/drawing/2014/main" id="{DC68DA52-0B76-8040-A975-768C322B6EA4}"/>
                </a:ext>
              </a:extLst>
            </p:cNvPr>
            <p:cNvSpPr/>
            <p:nvPr/>
          </p:nvSpPr>
          <p:spPr>
            <a:xfrm>
              <a:off x="-193759" y="286908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4743"/>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74" name="Graphic 7">
              <a:extLst>
                <a:ext uri="{FF2B5EF4-FFF2-40B4-BE49-F238E27FC236}">
                  <a16:creationId xmlns:a16="http://schemas.microsoft.com/office/drawing/2014/main" id="{1B05ABD9-EC42-D24E-A4E7-C545248BBB34}"/>
                </a:ext>
              </a:extLst>
            </p:cNvPr>
            <p:cNvSpPr/>
            <p:nvPr/>
          </p:nvSpPr>
          <p:spPr>
            <a:xfrm>
              <a:off x="-193759" y="295541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3795"/>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75" name="Graphic 7">
              <a:extLst>
                <a:ext uri="{FF2B5EF4-FFF2-40B4-BE49-F238E27FC236}">
                  <a16:creationId xmlns:a16="http://schemas.microsoft.com/office/drawing/2014/main" id="{E4B26F38-9092-004D-97C8-4B0013F0A39B}"/>
                </a:ext>
              </a:extLst>
            </p:cNvPr>
            <p:cNvSpPr/>
            <p:nvPr/>
          </p:nvSpPr>
          <p:spPr>
            <a:xfrm>
              <a:off x="-193759" y="304079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4743"/>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76" name="Graphic 7">
              <a:extLst>
                <a:ext uri="{FF2B5EF4-FFF2-40B4-BE49-F238E27FC236}">
                  <a16:creationId xmlns:a16="http://schemas.microsoft.com/office/drawing/2014/main" id="{B6A4553D-76A1-F24D-B46E-6A7C69ABA18E}"/>
                </a:ext>
              </a:extLst>
            </p:cNvPr>
            <p:cNvSpPr/>
            <p:nvPr/>
          </p:nvSpPr>
          <p:spPr>
            <a:xfrm>
              <a:off x="-193759" y="312712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3795"/>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77" name="Graphic 7">
              <a:extLst>
                <a:ext uri="{FF2B5EF4-FFF2-40B4-BE49-F238E27FC236}">
                  <a16:creationId xmlns:a16="http://schemas.microsoft.com/office/drawing/2014/main" id="{ED9B6661-A604-C841-A9DE-43B75B3DEAA1}"/>
                </a:ext>
              </a:extLst>
            </p:cNvPr>
            <p:cNvSpPr/>
            <p:nvPr/>
          </p:nvSpPr>
          <p:spPr>
            <a:xfrm>
              <a:off x="-647283" y="286908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4743"/>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78" name="Graphic 7">
              <a:extLst>
                <a:ext uri="{FF2B5EF4-FFF2-40B4-BE49-F238E27FC236}">
                  <a16:creationId xmlns:a16="http://schemas.microsoft.com/office/drawing/2014/main" id="{72CAC515-81C9-C54E-BD7F-C218B05ACD17}"/>
                </a:ext>
              </a:extLst>
            </p:cNvPr>
            <p:cNvSpPr/>
            <p:nvPr/>
          </p:nvSpPr>
          <p:spPr>
            <a:xfrm>
              <a:off x="-647283" y="295541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3795"/>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79" name="Graphic 7">
              <a:extLst>
                <a:ext uri="{FF2B5EF4-FFF2-40B4-BE49-F238E27FC236}">
                  <a16:creationId xmlns:a16="http://schemas.microsoft.com/office/drawing/2014/main" id="{E97FC2AB-A009-1243-8376-8DA7D27FBBFE}"/>
                </a:ext>
              </a:extLst>
            </p:cNvPr>
            <p:cNvSpPr/>
            <p:nvPr/>
          </p:nvSpPr>
          <p:spPr>
            <a:xfrm>
              <a:off x="-647283" y="304079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4743"/>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80" name="Graphic 7">
              <a:extLst>
                <a:ext uri="{FF2B5EF4-FFF2-40B4-BE49-F238E27FC236}">
                  <a16:creationId xmlns:a16="http://schemas.microsoft.com/office/drawing/2014/main" id="{89B889AB-D2B4-EE45-A6E7-9508DFF4532C}"/>
                </a:ext>
              </a:extLst>
            </p:cNvPr>
            <p:cNvSpPr/>
            <p:nvPr/>
          </p:nvSpPr>
          <p:spPr>
            <a:xfrm>
              <a:off x="-647283" y="312712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3795"/>
                    <a:pt x="44315" y="0"/>
                    <a:pt x="38658" y="0"/>
                  </a:cubicBezTo>
                  <a:close/>
                </a:path>
              </a:pathLst>
            </a:custGeom>
            <a:grpFill/>
            <a:ln w="3175" cap="flat">
              <a:solidFill>
                <a:schemeClr val="accent2"/>
              </a:solidFill>
              <a:prstDash val="solid"/>
              <a:miter/>
            </a:ln>
          </p:spPr>
          <p:txBody>
            <a:bodyPr rtlCol="0" anchor="ctr"/>
            <a:lstStyle/>
            <a:p>
              <a:endParaRPr lang="en-US"/>
            </a:p>
          </p:txBody>
        </p:sp>
      </p:grpSp>
      <p:grpSp>
        <p:nvGrpSpPr>
          <p:cNvPr id="381" name="Graphic 7">
            <a:extLst>
              <a:ext uri="{FF2B5EF4-FFF2-40B4-BE49-F238E27FC236}">
                <a16:creationId xmlns:a16="http://schemas.microsoft.com/office/drawing/2014/main" id="{E3323B5C-0259-ED4C-BD73-CB5DE8FCD2EE}"/>
              </a:ext>
            </a:extLst>
          </p:cNvPr>
          <p:cNvGrpSpPr/>
          <p:nvPr/>
        </p:nvGrpSpPr>
        <p:grpSpPr>
          <a:xfrm>
            <a:off x="7161540" y="2466966"/>
            <a:ext cx="734554" cy="734520"/>
            <a:chOff x="-702913" y="2635709"/>
            <a:chExt cx="612871" cy="612843"/>
          </a:xfrm>
          <a:solidFill>
            <a:schemeClr val="bg1">
              <a:lumMod val="50000"/>
            </a:schemeClr>
          </a:solidFill>
        </p:grpSpPr>
        <p:sp>
          <p:nvSpPr>
            <p:cNvPr id="382" name="Graphic 7">
              <a:extLst>
                <a:ext uri="{FF2B5EF4-FFF2-40B4-BE49-F238E27FC236}">
                  <a16:creationId xmlns:a16="http://schemas.microsoft.com/office/drawing/2014/main" id="{F30103EA-B5A1-254B-B4FF-ED31D21B6F00}"/>
                </a:ext>
              </a:extLst>
            </p:cNvPr>
            <p:cNvSpPr/>
            <p:nvPr/>
          </p:nvSpPr>
          <p:spPr>
            <a:xfrm>
              <a:off x="-702913" y="2635709"/>
              <a:ext cx="612871" cy="612843"/>
            </a:xfrm>
            <a:custGeom>
              <a:avLst/>
              <a:gdLst>
                <a:gd name="connsiteX0" fmla="*/ 603442 w 612871"/>
                <a:gd name="connsiteY0" fmla="*/ 537899 h 612843"/>
                <a:gd name="connsiteX1" fmla="*/ 592128 w 612871"/>
                <a:gd name="connsiteY1" fmla="*/ 537899 h 612843"/>
                <a:gd name="connsiteX2" fmla="*/ 592128 w 612871"/>
                <a:gd name="connsiteY2" fmla="*/ 203016 h 612843"/>
                <a:gd name="connsiteX3" fmla="*/ 588356 w 612871"/>
                <a:gd name="connsiteY3" fmla="*/ 195427 h 612843"/>
                <a:gd name="connsiteX4" fmla="*/ 489354 w 612871"/>
                <a:gd name="connsiteY4" fmla="*/ 110995 h 612843"/>
                <a:gd name="connsiteX5" fmla="*/ 478982 w 612871"/>
                <a:gd name="connsiteY5" fmla="*/ 110046 h 612843"/>
                <a:gd name="connsiteX6" fmla="*/ 473325 w 612871"/>
                <a:gd name="connsiteY6" fmla="*/ 118584 h 612843"/>
                <a:gd name="connsiteX7" fmla="*/ 473325 w 612871"/>
                <a:gd name="connsiteY7" fmla="*/ 537899 h 612843"/>
                <a:gd name="connsiteX8" fmla="*/ 450696 w 612871"/>
                <a:gd name="connsiteY8" fmla="*/ 537899 h 612843"/>
                <a:gd name="connsiteX9" fmla="*/ 450696 w 612871"/>
                <a:gd name="connsiteY9" fmla="*/ 9487 h 612843"/>
                <a:gd name="connsiteX10" fmla="*/ 441267 w 612871"/>
                <a:gd name="connsiteY10" fmla="*/ 0 h 612843"/>
                <a:gd name="connsiteX11" fmla="*/ 170661 w 612871"/>
                <a:gd name="connsiteY11" fmla="*/ 0 h 612843"/>
                <a:gd name="connsiteX12" fmla="*/ 161232 w 612871"/>
                <a:gd name="connsiteY12" fmla="*/ 9487 h 612843"/>
                <a:gd name="connsiteX13" fmla="*/ 161232 w 612871"/>
                <a:gd name="connsiteY13" fmla="*/ 537899 h 612843"/>
                <a:gd name="connsiteX14" fmla="*/ 138603 w 612871"/>
                <a:gd name="connsiteY14" fmla="*/ 537899 h 612843"/>
                <a:gd name="connsiteX15" fmla="*/ 138603 w 612871"/>
                <a:gd name="connsiteY15" fmla="*/ 118584 h 612843"/>
                <a:gd name="connsiteX16" fmla="*/ 132946 w 612871"/>
                <a:gd name="connsiteY16" fmla="*/ 110046 h 612843"/>
                <a:gd name="connsiteX17" fmla="*/ 122574 w 612871"/>
                <a:gd name="connsiteY17" fmla="*/ 110995 h 612843"/>
                <a:gd name="connsiteX18" fmla="*/ 23572 w 612871"/>
                <a:gd name="connsiteY18" fmla="*/ 195427 h 612843"/>
                <a:gd name="connsiteX19" fmla="*/ 19800 w 612871"/>
                <a:gd name="connsiteY19" fmla="*/ 203016 h 612843"/>
                <a:gd name="connsiteX20" fmla="*/ 19800 w 612871"/>
                <a:gd name="connsiteY20" fmla="*/ 538847 h 612843"/>
                <a:gd name="connsiteX21" fmla="*/ 9429 w 612871"/>
                <a:gd name="connsiteY21" fmla="*/ 538847 h 612843"/>
                <a:gd name="connsiteX22" fmla="*/ 0 w 612871"/>
                <a:gd name="connsiteY22" fmla="*/ 548334 h 612843"/>
                <a:gd name="connsiteX23" fmla="*/ 0 w 612871"/>
                <a:gd name="connsiteY23" fmla="*/ 603357 h 612843"/>
                <a:gd name="connsiteX24" fmla="*/ 9429 w 612871"/>
                <a:gd name="connsiteY24" fmla="*/ 612844 h 612843"/>
                <a:gd name="connsiteX25" fmla="*/ 603442 w 612871"/>
                <a:gd name="connsiteY25" fmla="*/ 612844 h 612843"/>
                <a:gd name="connsiteX26" fmla="*/ 612871 w 612871"/>
                <a:gd name="connsiteY26" fmla="*/ 603357 h 612843"/>
                <a:gd name="connsiteX27" fmla="*/ 612871 w 612871"/>
                <a:gd name="connsiteY27" fmla="*/ 548334 h 612843"/>
                <a:gd name="connsiteX28" fmla="*/ 603442 w 612871"/>
                <a:gd name="connsiteY28" fmla="*/ 537899 h 612843"/>
                <a:gd name="connsiteX29" fmla="*/ 493126 w 612871"/>
                <a:gd name="connsiteY29" fmla="*/ 139455 h 612843"/>
                <a:gd name="connsiteX30" fmla="*/ 573270 w 612871"/>
                <a:gd name="connsiteY30" fmla="*/ 207760 h 612843"/>
                <a:gd name="connsiteX31" fmla="*/ 573270 w 612871"/>
                <a:gd name="connsiteY31" fmla="*/ 538847 h 612843"/>
                <a:gd name="connsiteX32" fmla="*/ 493126 w 612871"/>
                <a:gd name="connsiteY32" fmla="*/ 538847 h 612843"/>
                <a:gd name="connsiteX33" fmla="*/ 493126 w 612871"/>
                <a:gd name="connsiteY33" fmla="*/ 139455 h 612843"/>
                <a:gd name="connsiteX34" fmla="*/ 180090 w 612871"/>
                <a:gd name="connsiteY34" fmla="*/ 18973 h 612843"/>
                <a:gd name="connsiteX35" fmla="*/ 432781 w 612871"/>
                <a:gd name="connsiteY35" fmla="*/ 18973 h 612843"/>
                <a:gd name="connsiteX36" fmla="*/ 432781 w 612871"/>
                <a:gd name="connsiteY36" fmla="*/ 537899 h 612843"/>
                <a:gd name="connsiteX37" fmla="*/ 180090 w 612871"/>
                <a:gd name="connsiteY37" fmla="*/ 537899 h 612843"/>
                <a:gd name="connsiteX38" fmla="*/ 180090 w 612871"/>
                <a:gd name="connsiteY38" fmla="*/ 18973 h 612843"/>
                <a:gd name="connsiteX39" fmla="*/ 39601 w 612871"/>
                <a:gd name="connsiteY39" fmla="*/ 206811 h 612843"/>
                <a:gd name="connsiteX40" fmla="*/ 119746 w 612871"/>
                <a:gd name="connsiteY40" fmla="*/ 138507 h 612843"/>
                <a:gd name="connsiteX41" fmla="*/ 119746 w 612871"/>
                <a:gd name="connsiteY41" fmla="*/ 537899 h 612843"/>
                <a:gd name="connsiteX42" fmla="*/ 39601 w 612871"/>
                <a:gd name="connsiteY42" fmla="*/ 537899 h 612843"/>
                <a:gd name="connsiteX43" fmla="*/ 39601 w 612871"/>
                <a:gd name="connsiteY43" fmla="*/ 206811 h 612843"/>
                <a:gd name="connsiteX44" fmla="*/ 594014 w 612871"/>
                <a:gd name="connsiteY44" fmla="*/ 593870 h 612843"/>
                <a:gd name="connsiteX45" fmla="*/ 18858 w 612871"/>
                <a:gd name="connsiteY45" fmla="*/ 593870 h 612843"/>
                <a:gd name="connsiteX46" fmla="*/ 18858 w 612871"/>
                <a:gd name="connsiteY46" fmla="*/ 557821 h 612843"/>
                <a:gd name="connsiteX47" fmla="*/ 594014 w 612871"/>
                <a:gd name="connsiteY47" fmla="*/ 557821 h 612843"/>
                <a:gd name="connsiteX48" fmla="*/ 594014 w 612871"/>
                <a:gd name="connsiteY48" fmla="*/ 593870 h 612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12871" h="612843">
                  <a:moveTo>
                    <a:pt x="603442" y="537899"/>
                  </a:moveTo>
                  <a:lnTo>
                    <a:pt x="592128" y="537899"/>
                  </a:lnTo>
                  <a:lnTo>
                    <a:pt x="592128" y="203016"/>
                  </a:lnTo>
                  <a:cubicBezTo>
                    <a:pt x="592128" y="200170"/>
                    <a:pt x="591185" y="197324"/>
                    <a:pt x="588356" y="195427"/>
                  </a:cubicBezTo>
                  <a:lnTo>
                    <a:pt x="489354" y="110995"/>
                  </a:lnTo>
                  <a:cubicBezTo>
                    <a:pt x="486525" y="108149"/>
                    <a:pt x="482754" y="108149"/>
                    <a:pt x="478982" y="110046"/>
                  </a:cubicBezTo>
                  <a:cubicBezTo>
                    <a:pt x="475211" y="111944"/>
                    <a:pt x="473325" y="114790"/>
                    <a:pt x="473325" y="118584"/>
                  </a:cubicBezTo>
                  <a:lnTo>
                    <a:pt x="473325" y="537899"/>
                  </a:lnTo>
                  <a:lnTo>
                    <a:pt x="450696" y="537899"/>
                  </a:lnTo>
                  <a:lnTo>
                    <a:pt x="450696" y="9487"/>
                  </a:lnTo>
                  <a:cubicBezTo>
                    <a:pt x="450696" y="3795"/>
                    <a:pt x="446925" y="0"/>
                    <a:pt x="441267" y="0"/>
                  </a:cubicBezTo>
                  <a:lnTo>
                    <a:pt x="170661" y="0"/>
                  </a:lnTo>
                  <a:cubicBezTo>
                    <a:pt x="165004" y="0"/>
                    <a:pt x="161232" y="3795"/>
                    <a:pt x="161232" y="9487"/>
                  </a:cubicBezTo>
                  <a:lnTo>
                    <a:pt x="161232" y="537899"/>
                  </a:lnTo>
                  <a:lnTo>
                    <a:pt x="138603" y="537899"/>
                  </a:lnTo>
                  <a:lnTo>
                    <a:pt x="138603" y="118584"/>
                  </a:lnTo>
                  <a:cubicBezTo>
                    <a:pt x="138603" y="114790"/>
                    <a:pt x="136717" y="111944"/>
                    <a:pt x="132946" y="110046"/>
                  </a:cubicBezTo>
                  <a:cubicBezTo>
                    <a:pt x="129174" y="108149"/>
                    <a:pt x="125403" y="109098"/>
                    <a:pt x="122574" y="110995"/>
                  </a:cubicBezTo>
                  <a:lnTo>
                    <a:pt x="23572" y="195427"/>
                  </a:lnTo>
                  <a:cubicBezTo>
                    <a:pt x="21686" y="197324"/>
                    <a:pt x="19800" y="200170"/>
                    <a:pt x="19800" y="203016"/>
                  </a:cubicBezTo>
                  <a:lnTo>
                    <a:pt x="19800" y="538847"/>
                  </a:lnTo>
                  <a:lnTo>
                    <a:pt x="9429" y="538847"/>
                  </a:lnTo>
                  <a:cubicBezTo>
                    <a:pt x="3772" y="538847"/>
                    <a:pt x="0" y="542642"/>
                    <a:pt x="0" y="548334"/>
                  </a:cubicBezTo>
                  <a:lnTo>
                    <a:pt x="0" y="603357"/>
                  </a:lnTo>
                  <a:cubicBezTo>
                    <a:pt x="0" y="609049"/>
                    <a:pt x="3772" y="612844"/>
                    <a:pt x="9429" y="612844"/>
                  </a:cubicBezTo>
                  <a:lnTo>
                    <a:pt x="603442" y="612844"/>
                  </a:lnTo>
                  <a:cubicBezTo>
                    <a:pt x="609100" y="612844"/>
                    <a:pt x="612871" y="609049"/>
                    <a:pt x="612871" y="603357"/>
                  </a:cubicBezTo>
                  <a:lnTo>
                    <a:pt x="612871" y="548334"/>
                  </a:lnTo>
                  <a:cubicBezTo>
                    <a:pt x="612871" y="542642"/>
                    <a:pt x="609100" y="537899"/>
                    <a:pt x="603442" y="537899"/>
                  </a:cubicBezTo>
                  <a:close/>
                  <a:moveTo>
                    <a:pt x="493126" y="139455"/>
                  </a:moveTo>
                  <a:lnTo>
                    <a:pt x="573270" y="207760"/>
                  </a:lnTo>
                  <a:lnTo>
                    <a:pt x="573270" y="538847"/>
                  </a:lnTo>
                  <a:lnTo>
                    <a:pt x="493126" y="538847"/>
                  </a:lnTo>
                  <a:lnTo>
                    <a:pt x="493126" y="139455"/>
                  </a:lnTo>
                  <a:close/>
                  <a:moveTo>
                    <a:pt x="180090" y="18973"/>
                  </a:moveTo>
                  <a:lnTo>
                    <a:pt x="432781" y="18973"/>
                  </a:lnTo>
                  <a:lnTo>
                    <a:pt x="432781" y="537899"/>
                  </a:lnTo>
                  <a:lnTo>
                    <a:pt x="180090" y="537899"/>
                  </a:lnTo>
                  <a:lnTo>
                    <a:pt x="180090" y="18973"/>
                  </a:lnTo>
                  <a:close/>
                  <a:moveTo>
                    <a:pt x="39601" y="206811"/>
                  </a:moveTo>
                  <a:lnTo>
                    <a:pt x="119746" y="138507"/>
                  </a:lnTo>
                  <a:lnTo>
                    <a:pt x="119746" y="537899"/>
                  </a:lnTo>
                  <a:lnTo>
                    <a:pt x="39601" y="537899"/>
                  </a:lnTo>
                  <a:lnTo>
                    <a:pt x="39601" y="206811"/>
                  </a:lnTo>
                  <a:close/>
                  <a:moveTo>
                    <a:pt x="594014" y="593870"/>
                  </a:moveTo>
                  <a:lnTo>
                    <a:pt x="18858" y="593870"/>
                  </a:lnTo>
                  <a:lnTo>
                    <a:pt x="18858" y="557821"/>
                  </a:lnTo>
                  <a:lnTo>
                    <a:pt x="594014" y="557821"/>
                  </a:lnTo>
                  <a:lnTo>
                    <a:pt x="594014" y="593870"/>
                  </a:lnTo>
                  <a:close/>
                </a:path>
              </a:pathLst>
            </a:custGeom>
            <a:grpFill/>
            <a:ln w="3175" cap="flat">
              <a:solidFill>
                <a:schemeClr val="accent2"/>
              </a:solidFill>
              <a:prstDash val="solid"/>
              <a:miter/>
            </a:ln>
          </p:spPr>
          <p:txBody>
            <a:bodyPr rtlCol="0" anchor="ctr"/>
            <a:lstStyle/>
            <a:p>
              <a:endParaRPr lang="en-US"/>
            </a:p>
          </p:txBody>
        </p:sp>
        <p:sp>
          <p:nvSpPr>
            <p:cNvPr id="383" name="Graphic 7">
              <a:extLst>
                <a:ext uri="{FF2B5EF4-FFF2-40B4-BE49-F238E27FC236}">
                  <a16:creationId xmlns:a16="http://schemas.microsoft.com/office/drawing/2014/main" id="{E72998EE-5386-A448-B945-1405789BA042}"/>
                </a:ext>
              </a:extLst>
            </p:cNvPr>
            <p:cNvSpPr/>
            <p:nvPr/>
          </p:nvSpPr>
          <p:spPr>
            <a:xfrm>
              <a:off x="-495480" y="2683143"/>
              <a:ext cx="84859" cy="97713"/>
            </a:xfrm>
            <a:custGeom>
              <a:avLst/>
              <a:gdLst>
                <a:gd name="connsiteX0" fmla="*/ 75430 w 84859"/>
                <a:gd name="connsiteY0" fmla="*/ 0 h 97713"/>
                <a:gd name="connsiteX1" fmla="*/ 9429 w 84859"/>
                <a:gd name="connsiteY1" fmla="*/ 0 h 97713"/>
                <a:gd name="connsiteX2" fmla="*/ 0 w 84859"/>
                <a:gd name="connsiteY2" fmla="*/ 9487 h 97713"/>
                <a:gd name="connsiteX3" fmla="*/ 0 w 84859"/>
                <a:gd name="connsiteY3" fmla="*/ 88227 h 97713"/>
                <a:gd name="connsiteX4" fmla="*/ 9429 w 84859"/>
                <a:gd name="connsiteY4" fmla="*/ 97713 h 97713"/>
                <a:gd name="connsiteX5" fmla="*/ 75430 w 84859"/>
                <a:gd name="connsiteY5" fmla="*/ 97713 h 97713"/>
                <a:gd name="connsiteX6" fmla="*/ 84859 w 84859"/>
                <a:gd name="connsiteY6" fmla="*/ 88227 h 97713"/>
                <a:gd name="connsiteX7" fmla="*/ 84859 w 84859"/>
                <a:gd name="connsiteY7" fmla="*/ 9487 h 97713"/>
                <a:gd name="connsiteX8" fmla="*/ 75430 w 84859"/>
                <a:gd name="connsiteY8" fmla="*/ 0 h 97713"/>
                <a:gd name="connsiteX9" fmla="*/ 66002 w 84859"/>
                <a:gd name="connsiteY9" fmla="*/ 78740 h 97713"/>
                <a:gd name="connsiteX10" fmla="*/ 18858 w 84859"/>
                <a:gd name="connsiteY10" fmla="*/ 78740 h 97713"/>
                <a:gd name="connsiteX11" fmla="*/ 18858 w 84859"/>
                <a:gd name="connsiteY11" fmla="*/ 18973 h 97713"/>
                <a:gd name="connsiteX12" fmla="*/ 66002 w 84859"/>
                <a:gd name="connsiteY12" fmla="*/ 18973 h 97713"/>
                <a:gd name="connsiteX13" fmla="*/ 66002 w 84859"/>
                <a:gd name="connsiteY13" fmla="*/ 78740 h 9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7713">
                  <a:moveTo>
                    <a:pt x="75430" y="0"/>
                  </a:moveTo>
                  <a:lnTo>
                    <a:pt x="9429" y="0"/>
                  </a:lnTo>
                  <a:cubicBezTo>
                    <a:pt x="3772" y="0"/>
                    <a:pt x="0" y="3795"/>
                    <a:pt x="0" y="9487"/>
                  </a:cubicBezTo>
                  <a:lnTo>
                    <a:pt x="0" y="88227"/>
                  </a:lnTo>
                  <a:cubicBezTo>
                    <a:pt x="0" y="93919"/>
                    <a:pt x="3772" y="97713"/>
                    <a:pt x="9429" y="97713"/>
                  </a:cubicBezTo>
                  <a:lnTo>
                    <a:pt x="75430" y="97713"/>
                  </a:lnTo>
                  <a:cubicBezTo>
                    <a:pt x="81088" y="97713"/>
                    <a:pt x="84859" y="93919"/>
                    <a:pt x="84859" y="88227"/>
                  </a:cubicBezTo>
                  <a:lnTo>
                    <a:pt x="84859" y="9487"/>
                  </a:lnTo>
                  <a:cubicBezTo>
                    <a:pt x="84859" y="3795"/>
                    <a:pt x="81088" y="0"/>
                    <a:pt x="75430" y="0"/>
                  </a:cubicBezTo>
                  <a:close/>
                  <a:moveTo>
                    <a:pt x="66002" y="78740"/>
                  </a:moveTo>
                  <a:lnTo>
                    <a:pt x="18858" y="78740"/>
                  </a:lnTo>
                  <a:lnTo>
                    <a:pt x="18858" y="18973"/>
                  </a:lnTo>
                  <a:lnTo>
                    <a:pt x="66002" y="18973"/>
                  </a:lnTo>
                  <a:lnTo>
                    <a:pt x="66002" y="78740"/>
                  </a:lnTo>
                  <a:close/>
                </a:path>
              </a:pathLst>
            </a:custGeom>
            <a:grpFill/>
            <a:ln w="3175" cap="flat">
              <a:solidFill>
                <a:schemeClr val="accent2"/>
              </a:solidFill>
              <a:prstDash val="solid"/>
              <a:miter/>
            </a:ln>
          </p:spPr>
          <p:txBody>
            <a:bodyPr rtlCol="0" anchor="ctr"/>
            <a:lstStyle/>
            <a:p>
              <a:endParaRPr lang="en-US"/>
            </a:p>
          </p:txBody>
        </p:sp>
        <p:sp>
          <p:nvSpPr>
            <p:cNvPr id="384" name="Graphic 7">
              <a:extLst>
                <a:ext uri="{FF2B5EF4-FFF2-40B4-BE49-F238E27FC236}">
                  <a16:creationId xmlns:a16="http://schemas.microsoft.com/office/drawing/2014/main" id="{5B22955E-91C8-3E47-98DC-12C1CFEC1CFA}"/>
                </a:ext>
              </a:extLst>
            </p:cNvPr>
            <p:cNvSpPr/>
            <p:nvPr/>
          </p:nvSpPr>
          <p:spPr>
            <a:xfrm>
              <a:off x="-382334" y="2683143"/>
              <a:ext cx="84859" cy="97713"/>
            </a:xfrm>
            <a:custGeom>
              <a:avLst/>
              <a:gdLst>
                <a:gd name="connsiteX0" fmla="*/ 75430 w 84859"/>
                <a:gd name="connsiteY0" fmla="*/ 0 h 97713"/>
                <a:gd name="connsiteX1" fmla="*/ 9429 w 84859"/>
                <a:gd name="connsiteY1" fmla="*/ 0 h 97713"/>
                <a:gd name="connsiteX2" fmla="*/ 0 w 84859"/>
                <a:gd name="connsiteY2" fmla="*/ 9487 h 97713"/>
                <a:gd name="connsiteX3" fmla="*/ 0 w 84859"/>
                <a:gd name="connsiteY3" fmla="*/ 88227 h 97713"/>
                <a:gd name="connsiteX4" fmla="*/ 9429 w 84859"/>
                <a:gd name="connsiteY4" fmla="*/ 97713 h 97713"/>
                <a:gd name="connsiteX5" fmla="*/ 75430 w 84859"/>
                <a:gd name="connsiteY5" fmla="*/ 97713 h 97713"/>
                <a:gd name="connsiteX6" fmla="*/ 84859 w 84859"/>
                <a:gd name="connsiteY6" fmla="*/ 88227 h 97713"/>
                <a:gd name="connsiteX7" fmla="*/ 84859 w 84859"/>
                <a:gd name="connsiteY7" fmla="*/ 9487 h 97713"/>
                <a:gd name="connsiteX8" fmla="*/ 75430 w 84859"/>
                <a:gd name="connsiteY8" fmla="*/ 0 h 97713"/>
                <a:gd name="connsiteX9" fmla="*/ 66002 w 84859"/>
                <a:gd name="connsiteY9" fmla="*/ 78740 h 97713"/>
                <a:gd name="connsiteX10" fmla="*/ 18858 w 84859"/>
                <a:gd name="connsiteY10" fmla="*/ 78740 h 97713"/>
                <a:gd name="connsiteX11" fmla="*/ 18858 w 84859"/>
                <a:gd name="connsiteY11" fmla="*/ 18973 h 97713"/>
                <a:gd name="connsiteX12" fmla="*/ 66002 w 84859"/>
                <a:gd name="connsiteY12" fmla="*/ 18973 h 97713"/>
                <a:gd name="connsiteX13" fmla="*/ 66002 w 84859"/>
                <a:gd name="connsiteY13" fmla="*/ 78740 h 9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7713">
                  <a:moveTo>
                    <a:pt x="75430" y="0"/>
                  </a:moveTo>
                  <a:lnTo>
                    <a:pt x="9429" y="0"/>
                  </a:lnTo>
                  <a:cubicBezTo>
                    <a:pt x="3772" y="0"/>
                    <a:pt x="0" y="3795"/>
                    <a:pt x="0" y="9487"/>
                  </a:cubicBezTo>
                  <a:lnTo>
                    <a:pt x="0" y="88227"/>
                  </a:lnTo>
                  <a:cubicBezTo>
                    <a:pt x="0" y="93919"/>
                    <a:pt x="3772" y="97713"/>
                    <a:pt x="9429" y="97713"/>
                  </a:cubicBezTo>
                  <a:lnTo>
                    <a:pt x="75430" y="97713"/>
                  </a:lnTo>
                  <a:cubicBezTo>
                    <a:pt x="81088" y="97713"/>
                    <a:pt x="84859" y="93919"/>
                    <a:pt x="84859" y="88227"/>
                  </a:cubicBezTo>
                  <a:lnTo>
                    <a:pt x="84859" y="9487"/>
                  </a:lnTo>
                  <a:cubicBezTo>
                    <a:pt x="84859" y="3795"/>
                    <a:pt x="80145" y="0"/>
                    <a:pt x="75430" y="0"/>
                  </a:cubicBezTo>
                  <a:close/>
                  <a:moveTo>
                    <a:pt x="66002" y="78740"/>
                  </a:moveTo>
                  <a:lnTo>
                    <a:pt x="18858" y="78740"/>
                  </a:lnTo>
                  <a:lnTo>
                    <a:pt x="18858" y="18973"/>
                  </a:lnTo>
                  <a:lnTo>
                    <a:pt x="66002" y="18973"/>
                  </a:lnTo>
                  <a:lnTo>
                    <a:pt x="66002" y="78740"/>
                  </a:lnTo>
                  <a:close/>
                </a:path>
              </a:pathLst>
            </a:custGeom>
            <a:grpFill/>
            <a:ln w="3175" cap="flat">
              <a:solidFill>
                <a:schemeClr val="accent2"/>
              </a:solidFill>
              <a:prstDash val="solid"/>
              <a:miter/>
            </a:ln>
          </p:spPr>
          <p:txBody>
            <a:bodyPr rtlCol="0" anchor="ctr"/>
            <a:lstStyle/>
            <a:p>
              <a:endParaRPr lang="en-US"/>
            </a:p>
          </p:txBody>
        </p:sp>
        <p:sp>
          <p:nvSpPr>
            <p:cNvPr id="385" name="Graphic 7">
              <a:extLst>
                <a:ext uri="{FF2B5EF4-FFF2-40B4-BE49-F238E27FC236}">
                  <a16:creationId xmlns:a16="http://schemas.microsoft.com/office/drawing/2014/main" id="{76D0CC33-3846-F949-A16E-45AF4C7C4ACB}"/>
                </a:ext>
              </a:extLst>
            </p:cNvPr>
            <p:cNvSpPr/>
            <p:nvPr/>
          </p:nvSpPr>
          <p:spPr>
            <a:xfrm>
              <a:off x="-495480" y="2804573"/>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8740 h 98662"/>
                <a:gd name="connsiteX10" fmla="*/ 18858 w 84859"/>
                <a:gd name="connsiteY10" fmla="*/ 78740 h 98662"/>
                <a:gd name="connsiteX11" fmla="*/ 18858 w 84859"/>
                <a:gd name="connsiteY11" fmla="*/ 18025 h 98662"/>
                <a:gd name="connsiteX12" fmla="*/ 66002 w 84859"/>
                <a:gd name="connsiteY12" fmla="*/ 18025 h 98662"/>
                <a:gd name="connsiteX13" fmla="*/ 66002 w 84859"/>
                <a:gd name="connsiteY13" fmla="*/ 78740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3795"/>
                    <a:pt x="81088" y="0"/>
                    <a:pt x="75430" y="0"/>
                  </a:cubicBezTo>
                  <a:close/>
                  <a:moveTo>
                    <a:pt x="66002" y="78740"/>
                  </a:moveTo>
                  <a:lnTo>
                    <a:pt x="18858" y="78740"/>
                  </a:lnTo>
                  <a:lnTo>
                    <a:pt x="18858" y="18025"/>
                  </a:lnTo>
                  <a:lnTo>
                    <a:pt x="66002" y="18025"/>
                  </a:lnTo>
                  <a:lnTo>
                    <a:pt x="66002" y="78740"/>
                  </a:lnTo>
                  <a:close/>
                </a:path>
              </a:pathLst>
            </a:custGeom>
            <a:grpFill/>
            <a:ln w="3175" cap="flat">
              <a:solidFill>
                <a:schemeClr val="accent2"/>
              </a:solidFill>
              <a:prstDash val="solid"/>
              <a:miter/>
            </a:ln>
          </p:spPr>
          <p:txBody>
            <a:bodyPr rtlCol="0" anchor="ctr"/>
            <a:lstStyle/>
            <a:p>
              <a:endParaRPr lang="en-US"/>
            </a:p>
          </p:txBody>
        </p:sp>
        <p:sp>
          <p:nvSpPr>
            <p:cNvPr id="386" name="Graphic 7">
              <a:extLst>
                <a:ext uri="{FF2B5EF4-FFF2-40B4-BE49-F238E27FC236}">
                  <a16:creationId xmlns:a16="http://schemas.microsoft.com/office/drawing/2014/main" id="{C1A390A1-A7D2-3549-8298-45E67DD4A28E}"/>
                </a:ext>
              </a:extLst>
            </p:cNvPr>
            <p:cNvSpPr/>
            <p:nvPr/>
          </p:nvSpPr>
          <p:spPr>
            <a:xfrm>
              <a:off x="-382334" y="2804573"/>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8740 h 98662"/>
                <a:gd name="connsiteX10" fmla="*/ 18858 w 84859"/>
                <a:gd name="connsiteY10" fmla="*/ 78740 h 98662"/>
                <a:gd name="connsiteX11" fmla="*/ 18858 w 84859"/>
                <a:gd name="connsiteY11" fmla="*/ 18025 h 98662"/>
                <a:gd name="connsiteX12" fmla="*/ 66002 w 84859"/>
                <a:gd name="connsiteY12" fmla="*/ 18025 h 98662"/>
                <a:gd name="connsiteX13" fmla="*/ 66002 w 84859"/>
                <a:gd name="connsiteY13" fmla="*/ 78740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3795"/>
                    <a:pt x="80145" y="0"/>
                    <a:pt x="75430" y="0"/>
                  </a:cubicBezTo>
                  <a:close/>
                  <a:moveTo>
                    <a:pt x="66002" y="78740"/>
                  </a:moveTo>
                  <a:lnTo>
                    <a:pt x="18858" y="78740"/>
                  </a:lnTo>
                  <a:lnTo>
                    <a:pt x="18858" y="18025"/>
                  </a:lnTo>
                  <a:lnTo>
                    <a:pt x="66002" y="18025"/>
                  </a:lnTo>
                  <a:lnTo>
                    <a:pt x="66002" y="78740"/>
                  </a:lnTo>
                  <a:close/>
                </a:path>
              </a:pathLst>
            </a:custGeom>
            <a:grpFill/>
            <a:ln w="3175" cap="flat">
              <a:solidFill>
                <a:schemeClr val="accent2"/>
              </a:solidFill>
              <a:prstDash val="solid"/>
              <a:miter/>
            </a:ln>
          </p:spPr>
          <p:txBody>
            <a:bodyPr rtlCol="0" anchor="ctr"/>
            <a:lstStyle/>
            <a:p>
              <a:endParaRPr lang="en-US"/>
            </a:p>
          </p:txBody>
        </p:sp>
        <p:sp>
          <p:nvSpPr>
            <p:cNvPr id="387" name="Graphic 7">
              <a:extLst>
                <a:ext uri="{FF2B5EF4-FFF2-40B4-BE49-F238E27FC236}">
                  <a16:creationId xmlns:a16="http://schemas.microsoft.com/office/drawing/2014/main" id="{DDA1F04C-494E-1041-9AC9-9E93DB1DC50D}"/>
                </a:ext>
              </a:extLst>
            </p:cNvPr>
            <p:cNvSpPr/>
            <p:nvPr/>
          </p:nvSpPr>
          <p:spPr>
            <a:xfrm>
              <a:off x="-495480" y="2926004"/>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9689 h 98662"/>
                <a:gd name="connsiteX10" fmla="*/ 18858 w 84859"/>
                <a:gd name="connsiteY10" fmla="*/ 79689 h 98662"/>
                <a:gd name="connsiteX11" fmla="*/ 18858 w 84859"/>
                <a:gd name="connsiteY11" fmla="*/ 18973 h 98662"/>
                <a:gd name="connsiteX12" fmla="*/ 66002 w 84859"/>
                <a:gd name="connsiteY12" fmla="*/ 18973 h 98662"/>
                <a:gd name="connsiteX13" fmla="*/ 66002 w 84859"/>
                <a:gd name="connsiteY13" fmla="*/ 79689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4743"/>
                    <a:pt x="81088" y="0"/>
                    <a:pt x="75430" y="0"/>
                  </a:cubicBezTo>
                  <a:close/>
                  <a:moveTo>
                    <a:pt x="66002" y="79689"/>
                  </a:moveTo>
                  <a:lnTo>
                    <a:pt x="18858" y="79689"/>
                  </a:lnTo>
                  <a:lnTo>
                    <a:pt x="18858" y="18973"/>
                  </a:lnTo>
                  <a:lnTo>
                    <a:pt x="66002" y="18973"/>
                  </a:lnTo>
                  <a:lnTo>
                    <a:pt x="66002" y="79689"/>
                  </a:lnTo>
                  <a:close/>
                </a:path>
              </a:pathLst>
            </a:custGeom>
            <a:grpFill/>
            <a:ln w="3175" cap="flat">
              <a:solidFill>
                <a:schemeClr val="accent2"/>
              </a:solidFill>
              <a:prstDash val="solid"/>
              <a:miter/>
            </a:ln>
          </p:spPr>
          <p:txBody>
            <a:bodyPr rtlCol="0" anchor="ctr"/>
            <a:lstStyle/>
            <a:p>
              <a:endParaRPr lang="en-US"/>
            </a:p>
          </p:txBody>
        </p:sp>
        <p:sp>
          <p:nvSpPr>
            <p:cNvPr id="388" name="Graphic 7">
              <a:extLst>
                <a:ext uri="{FF2B5EF4-FFF2-40B4-BE49-F238E27FC236}">
                  <a16:creationId xmlns:a16="http://schemas.microsoft.com/office/drawing/2014/main" id="{5028BDC2-F677-CB45-8F57-48826E85F1EC}"/>
                </a:ext>
              </a:extLst>
            </p:cNvPr>
            <p:cNvSpPr/>
            <p:nvPr/>
          </p:nvSpPr>
          <p:spPr>
            <a:xfrm>
              <a:off x="-382334" y="2926004"/>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9689 h 98662"/>
                <a:gd name="connsiteX10" fmla="*/ 18858 w 84859"/>
                <a:gd name="connsiteY10" fmla="*/ 79689 h 98662"/>
                <a:gd name="connsiteX11" fmla="*/ 18858 w 84859"/>
                <a:gd name="connsiteY11" fmla="*/ 18973 h 98662"/>
                <a:gd name="connsiteX12" fmla="*/ 66002 w 84859"/>
                <a:gd name="connsiteY12" fmla="*/ 18973 h 98662"/>
                <a:gd name="connsiteX13" fmla="*/ 66002 w 84859"/>
                <a:gd name="connsiteY13" fmla="*/ 79689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4743"/>
                    <a:pt x="80145" y="0"/>
                    <a:pt x="75430" y="0"/>
                  </a:cubicBezTo>
                  <a:close/>
                  <a:moveTo>
                    <a:pt x="66002" y="79689"/>
                  </a:moveTo>
                  <a:lnTo>
                    <a:pt x="18858" y="79689"/>
                  </a:lnTo>
                  <a:lnTo>
                    <a:pt x="18858" y="18973"/>
                  </a:lnTo>
                  <a:lnTo>
                    <a:pt x="66002" y="18973"/>
                  </a:lnTo>
                  <a:lnTo>
                    <a:pt x="66002" y="79689"/>
                  </a:lnTo>
                  <a:close/>
                </a:path>
              </a:pathLst>
            </a:custGeom>
            <a:grpFill/>
            <a:ln w="3175" cap="flat">
              <a:solidFill>
                <a:schemeClr val="accent2"/>
              </a:solidFill>
              <a:prstDash val="solid"/>
              <a:miter/>
            </a:ln>
          </p:spPr>
          <p:txBody>
            <a:bodyPr rtlCol="0" anchor="ctr"/>
            <a:lstStyle/>
            <a:p>
              <a:endParaRPr lang="en-US"/>
            </a:p>
          </p:txBody>
        </p:sp>
        <p:sp>
          <p:nvSpPr>
            <p:cNvPr id="389" name="Graphic 7">
              <a:extLst>
                <a:ext uri="{FF2B5EF4-FFF2-40B4-BE49-F238E27FC236}">
                  <a16:creationId xmlns:a16="http://schemas.microsoft.com/office/drawing/2014/main" id="{A61093B4-D3AE-6847-B823-01E9E19485F2}"/>
                </a:ext>
              </a:extLst>
            </p:cNvPr>
            <p:cNvSpPr/>
            <p:nvPr/>
          </p:nvSpPr>
          <p:spPr>
            <a:xfrm>
              <a:off x="-495480" y="3047434"/>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9689 h 98662"/>
                <a:gd name="connsiteX10" fmla="*/ 18858 w 84859"/>
                <a:gd name="connsiteY10" fmla="*/ 79689 h 98662"/>
                <a:gd name="connsiteX11" fmla="*/ 18858 w 84859"/>
                <a:gd name="connsiteY11" fmla="*/ 18973 h 98662"/>
                <a:gd name="connsiteX12" fmla="*/ 66002 w 84859"/>
                <a:gd name="connsiteY12" fmla="*/ 18973 h 98662"/>
                <a:gd name="connsiteX13" fmla="*/ 66002 w 84859"/>
                <a:gd name="connsiteY13" fmla="*/ 79689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4743"/>
                    <a:pt x="81088" y="0"/>
                    <a:pt x="75430" y="0"/>
                  </a:cubicBezTo>
                  <a:close/>
                  <a:moveTo>
                    <a:pt x="66002" y="79689"/>
                  </a:moveTo>
                  <a:lnTo>
                    <a:pt x="18858" y="79689"/>
                  </a:lnTo>
                  <a:lnTo>
                    <a:pt x="18858" y="18973"/>
                  </a:lnTo>
                  <a:lnTo>
                    <a:pt x="66002" y="18973"/>
                  </a:lnTo>
                  <a:lnTo>
                    <a:pt x="66002" y="79689"/>
                  </a:lnTo>
                  <a:close/>
                </a:path>
              </a:pathLst>
            </a:custGeom>
            <a:grpFill/>
            <a:ln w="3175" cap="flat">
              <a:solidFill>
                <a:schemeClr val="accent2"/>
              </a:solidFill>
              <a:prstDash val="solid"/>
              <a:miter/>
            </a:ln>
          </p:spPr>
          <p:txBody>
            <a:bodyPr rtlCol="0" anchor="ctr"/>
            <a:lstStyle/>
            <a:p>
              <a:endParaRPr lang="en-US"/>
            </a:p>
          </p:txBody>
        </p:sp>
        <p:sp>
          <p:nvSpPr>
            <p:cNvPr id="390" name="Graphic 7">
              <a:extLst>
                <a:ext uri="{FF2B5EF4-FFF2-40B4-BE49-F238E27FC236}">
                  <a16:creationId xmlns:a16="http://schemas.microsoft.com/office/drawing/2014/main" id="{6CF8601E-A9A5-2F46-9684-3BCD5BB6C24E}"/>
                </a:ext>
              </a:extLst>
            </p:cNvPr>
            <p:cNvSpPr/>
            <p:nvPr/>
          </p:nvSpPr>
          <p:spPr>
            <a:xfrm>
              <a:off x="-382334" y="3047434"/>
              <a:ext cx="84859" cy="98662"/>
            </a:xfrm>
            <a:custGeom>
              <a:avLst/>
              <a:gdLst>
                <a:gd name="connsiteX0" fmla="*/ 75430 w 84859"/>
                <a:gd name="connsiteY0" fmla="*/ 0 h 98662"/>
                <a:gd name="connsiteX1" fmla="*/ 9429 w 84859"/>
                <a:gd name="connsiteY1" fmla="*/ 0 h 98662"/>
                <a:gd name="connsiteX2" fmla="*/ 0 w 84859"/>
                <a:gd name="connsiteY2" fmla="*/ 9487 h 98662"/>
                <a:gd name="connsiteX3" fmla="*/ 0 w 84859"/>
                <a:gd name="connsiteY3" fmla="*/ 89175 h 98662"/>
                <a:gd name="connsiteX4" fmla="*/ 9429 w 84859"/>
                <a:gd name="connsiteY4" fmla="*/ 98662 h 98662"/>
                <a:gd name="connsiteX5" fmla="*/ 75430 w 84859"/>
                <a:gd name="connsiteY5" fmla="*/ 98662 h 98662"/>
                <a:gd name="connsiteX6" fmla="*/ 84859 w 84859"/>
                <a:gd name="connsiteY6" fmla="*/ 89175 h 98662"/>
                <a:gd name="connsiteX7" fmla="*/ 84859 w 84859"/>
                <a:gd name="connsiteY7" fmla="*/ 9487 h 98662"/>
                <a:gd name="connsiteX8" fmla="*/ 75430 w 84859"/>
                <a:gd name="connsiteY8" fmla="*/ 0 h 98662"/>
                <a:gd name="connsiteX9" fmla="*/ 66002 w 84859"/>
                <a:gd name="connsiteY9" fmla="*/ 79689 h 98662"/>
                <a:gd name="connsiteX10" fmla="*/ 18858 w 84859"/>
                <a:gd name="connsiteY10" fmla="*/ 79689 h 98662"/>
                <a:gd name="connsiteX11" fmla="*/ 18858 w 84859"/>
                <a:gd name="connsiteY11" fmla="*/ 18973 h 98662"/>
                <a:gd name="connsiteX12" fmla="*/ 66002 w 84859"/>
                <a:gd name="connsiteY12" fmla="*/ 18973 h 98662"/>
                <a:gd name="connsiteX13" fmla="*/ 66002 w 84859"/>
                <a:gd name="connsiteY13" fmla="*/ 79689 h 9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859" h="98662">
                  <a:moveTo>
                    <a:pt x="75430" y="0"/>
                  </a:moveTo>
                  <a:lnTo>
                    <a:pt x="9429" y="0"/>
                  </a:lnTo>
                  <a:cubicBezTo>
                    <a:pt x="3772" y="0"/>
                    <a:pt x="0" y="3795"/>
                    <a:pt x="0" y="9487"/>
                  </a:cubicBezTo>
                  <a:lnTo>
                    <a:pt x="0" y="89175"/>
                  </a:lnTo>
                  <a:cubicBezTo>
                    <a:pt x="0" y="94867"/>
                    <a:pt x="3772" y="98662"/>
                    <a:pt x="9429" y="98662"/>
                  </a:cubicBezTo>
                  <a:lnTo>
                    <a:pt x="75430" y="98662"/>
                  </a:lnTo>
                  <a:cubicBezTo>
                    <a:pt x="81088" y="98662"/>
                    <a:pt x="84859" y="94867"/>
                    <a:pt x="84859" y="89175"/>
                  </a:cubicBezTo>
                  <a:lnTo>
                    <a:pt x="84859" y="9487"/>
                  </a:lnTo>
                  <a:cubicBezTo>
                    <a:pt x="84859" y="4743"/>
                    <a:pt x="80145" y="0"/>
                    <a:pt x="75430" y="0"/>
                  </a:cubicBezTo>
                  <a:close/>
                  <a:moveTo>
                    <a:pt x="66002" y="79689"/>
                  </a:moveTo>
                  <a:lnTo>
                    <a:pt x="18858" y="79689"/>
                  </a:lnTo>
                  <a:lnTo>
                    <a:pt x="18858" y="18973"/>
                  </a:lnTo>
                  <a:lnTo>
                    <a:pt x="66002" y="18973"/>
                  </a:lnTo>
                  <a:lnTo>
                    <a:pt x="66002" y="79689"/>
                  </a:lnTo>
                  <a:close/>
                </a:path>
              </a:pathLst>
            </a:custGeom>
            <a:grpFill/>
            <a:ln w="3175" cap="flat">
              <a:solidFill>
                <a:schemeClr val="accent2"/>
              </a:solidFill>
              <a:prstDash val="solid"/>
              <a:miter/>
            </a:ln>
          </p:spPr>
          <p:txBody>
            <a:bodyPr rtlCol="0" anchor="ctr"/>
            <a:lstStyle/>
            <a:p>
              <a:endParaRPr lang="en-US"/>
            </a:p>
          </p:txBody>
        </p:sp>
        <p:sp>
          <p:nvSpPr>
            <p:cNvPr id="391" name="Graphic 7">
              <a:extLst>
                <a:ext uri="{FF2B5EF4-FFF2-40B4-BE49-F238E27FC236}">
                  <a16:creationId xmlns:a16="http://schemas.microsoft.com/office/drawing/2014/main" id="{7E78A210-5573-C540-8EF3-06CBB46A9C99}"/>
                </a:ext>
              </a:extLst>
            </p:cNvPr>
            <p:cNvSpPr/>
            <p:nvPr/>
          </p:nvSpPr>
          <p:spPr>
            <a:xfrm>
              <a:off x="-193759" y="286908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4743"/>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92" name="Graphic 7">
              <a:extLst>
                <a:ext uri="{FF2B5EF4-FFF2-40B4-BE49-F238E27FC236}">
                  <a16:creationId xmlns:a16="http://schemas.microsoft.com/office/drawing/2014/main" id="{87620A51-E588-3A4B-9BF3-E929CDD79E35}"/>
                </a:ext>
              </a:extLst>
            </p:cNvPr>
            <p:cNvSpPr/>
            <p:nvPr/>
          </p:nvSpPr>
          <p:spPr>
            <a:xfrm>
              <a:off x="-193759" y="295541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3795"/>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93" name="Graphic 7">
              <a:extLst>
                <a:ext uri="{FF2B5EF4-FFF2-40B4-BE49-F238E27FC236}">
                  <a16:creationId xmlns:a16="http://schemas.microsoft.com/office/drawing/2014/main" id="{2E6631E4-4C09-E94E-BAB8-233A4E5F6864}"/>
                </a:ext>
              </a:extLst>
            </p:cNvPr>
            <p:cNvSpPr/>
            <p:nvPr/>
          </p:nvSpPr>
          <p:spPr>
            <a:xfrm>
              <a:off x="-193759" y="304079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4743"/>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94" name="Graphic 7">
              <a:extLst>
                <a:ext uri="{FF2B5EF4-FFF2-40B4-BE49-F238E27FC236}">
                  <a16:creationId xmlns:a16="http://schemas.microsoft.com/office/drawing/2014/main" id="{80D1F8FF-7729-4548-A5D1-AF0CDB2C329C}"/>
                </a:ext>
              </a:extLst>
            </p:cNvPr>
            <p:cNvSpPr/>
            <p:nvPr/>
          </p:nvSpPr>
          <p:spPr>
            <a:xfrm>
              <a:off x="-193759" y="312712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3795"/>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95" name="Graphic 7">
              <a:extLst>
                <a:ext uri="{FF2B5EF4-FFF2-40B4-BE49-F238E27FC236}">
                  <a16:creationId xmlns:a16="http://schemas.microsoft.com/office/drawing/2014/main" id="{A414CD26-B2F7-A343-AD30-FD380923CEE2}"/>
                </a:ext>
              </a:extLst>
            </p:cNvPr>
            <p:cNvSpPr/>
            <p:nvPr/>
          </p:nvSpPr>
          <p:spPr>
            <a:xfrm>
              <a:off x="-647283" y="286908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4743"/>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96" name="Graphic 7">
              <a:extLst>
                <a:ext uri="{FF2B5EF4-FFF2-40B4-BE49-F238E27FC236}">
                  <a16:creationId xmlns:a16="http://schemas.microsoft.com/office/drawing/2014/main" id="{DC1E7C4C-F663-1049-AE3E-59151411ED73}"/>
                </a:ext>
              </a:extLst>
            </p:cNvPr>
            <p:cNvSpPr/>
            <p:nvPr/>
          </p:nvSpPr>
          <p:spPr>
            <a:xfrm>
              <a:off x="-647283" y="295541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3795"/>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97" name="Graphic 7">
              <a:extLst>
                <a:ext uri="{FF2B5EF4-FFF2-40B4-BE49-F238E27FC236}">
                  <a16:creationId xmlns:a16="http://schemas.microsoft.com/office/drawing/2014/main" id="{7A03003A-7EFD-5D4F-AC38-51E49F22E3D5}"/>
                </a:ext>
              </a:extLst>
            </p:cNvPr>
            <p:cNvSpPr/>
            <p:nvPr/>
          </p:nvSpPr>
          <p:spPr>
            <a:xfrm>
              <a:off x="-647283" y="304079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4743"/>
                    <a:pt x="44315" y="0"/>
                    <a:pt x="38658" y="0"/>
                  </a:cubicBezTo>
                  <a:close/>
                </a:path>
              </a:pathLst>
            </a:custGeom>
            <a:grpFill/>
            <a:ln w="3175" cap="flat">
              <a:solidFill>
                <a:schemeClr val="accent2"/>
              </a:solidFill>
              <a:prstDash val="solid"/>
              <a:miter/>
            </a:ln>
          </p:spPr>
          <p:txBody>
            <a:bodyPr rtlCol="0" anchor="ctr"/>
            <a:lstStyle/>
            <a:p>
              <a:endParaRPr lang="en-US"/>
            </a:p>
          </p:txBody>
        </p:sp>
        <p:sp>
          <p:nvSpPr>
            <p:cNvPr id="398" name="Graphic 7">
              <a:extLst>
                <a:ext uri="{FF2B5EF4-FFF2-40B4-BE49-F238E27FC236}">
                  <a16:creationId xmlns:a16="http://schemas.microsoft.com/office/drawing/2014/main" id="{8D5E9A78-9A48-CC47-8D32-9BAA33718ED2}"/>
                </a:ext>
              </a:extLst>
            </p:cNvPr>
            <p:cNvSpPr/>
            <p:nvPr/>
          </p:nvSpPr>
          <p:spPr>
            <a:xfrm>
              <a:off x="-647283" y="3127123"/>
              <a:ext cx="48086" cy="18973"/>
            </a:xfrm>
            <a:custGeom>
              <a:avLst/>
              <a:gdLst>
                <a:gd name="connsiteX0" fmla="*/ 38658 w 48086"/>
                <a:gd name="connsiteY0" fmla="*/ 0 h 18973"/>
                <a:gd name="connsiteX1" fmla="*/ 9429 w 48086"/>
                <a:gd name="connsiteY1" fmla="*/ 0 h 18973"/>
                <a:gd name="connsiteX2" fmla="*/ 0 w 48086"/>
                <a:gd name="connsiteY2" fmla="*/ 9487 h 18973"/>
                <a:gd name="connsiteX3" fmla="*/ 9429 w 48086"/>
                <a:gd name="connsiteY3" fmla="*/ 18973 h 18973"/>
                <a:gd name="connsiteX4" fmla="*/ 38658 w 48086"/>
                <a:gd name="connsiteY4" fmla="*/ 18973 h 18973"/>
                <a:gd name="connsiteX5" fmla="*/ 48087 w 48086"/>
                <a:gd name="connsiteY5" fmla="*/ 9487 h 18973"/>
                <a:gd name="connsiteX6" fmla="*/ 38658 w 48086"/>
                <a:gd name="connsiteY6" fmla="*/ 0 h 1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86" h="18973">
                  <a:moveTo>
                    <a:pt x="38658" y="0"/>
                  </a:moveTo>
                  <a:lnTo>
                    <a:pt x="9429" y="0"/>
                  </a:lnTo>
                  <a:cubicBezTo>
                    <a:pt x="3772" y="0"/>
                    <a:pt x="0" y="3795"/>
                    <a:pt x="0" y="9487"/>
                  </a:cubicBezTo>
                  <a:cubicBezTo>
                    <a:pt x="0" y="15179"/>
                    <a:pt x="3772" y="18973"/>
                    <a:pt x="9429" y="18973"/>
                  </a:cubicBezTo>
                  <a:lnTo>
                    <a:pt x="38658" y="18973"/>
                  </a:lnTo>
                  <a:cubicBezTo>
                    <a:pt x="44315" y="18973"/>
                    <a:pt x="48087" y="15179"/>
                    <a:pt x="48087" y="9487"/>
                  </a:cubicBezTo>
                  <a:cubicBezTo>
                    <a:pt x="48087" y="3795"/>
                    <a:pt x="44315" y="0"/>
                    <a:pt x="38658" y="0"/>
                  </a:cubicBezTo>
                  <a:close/>
                </a:path>
              </a:pathLst>
            </a:custGeom>
            <a:grpFill/>
            <a:ln w="3175" cap="flat">
              <a:solidFill>
                <a:schemeClr val="accent2"/>
              </a:solidFill>
              <a:prstDash val="solid"/>
              <a:miter/>
            </a:ln>
          </p:spPr>
          <p:txBody>
            <a:bodyPr rtlCol="0" anchor="ctr"/>
            <a:lstStyle/>
            <a:p>
              <a:endParaRPr lang="en-US"/>
            </a:p>
          </p:txBody>
        </p:sp>
      </p:grpSp>
      <p:grpSp>
        <p:nvGrpSpPr>
          <p:cNvPr id="399" name="Group 398">
            <a:extLst>
              <a:ext uri="{FF2B5EF4-FFF2-40B4-BE49-F238E27FC236}">
                <a16:creationId xmlns:a16="http://schemas.microsoft.com/office/drawing/2014/main" id="{FB1B5B92-3DC7-DB48-B4C2-9FB142592DA8}"/>
              </a:ext>
            </a:extLst>
          </p:cNvPr>
          <p:cNvGrpSpPr/>
          <p:nvPr/>
        </p:nvGrpSpPr>
        <p:grpSpPr>
          <a:xfrm>
            <a:off x="6082473" y="4676965"/>
            <a:ext cx="5869534" cy="1605884"/>
            <a:chOff x="261718" y="2525602"/>
            <a:chExt cx="11955186" cy="3270897"/>
          </a:xfrm>
        </p:grpSpPr>
        <p:grpSp>
          <p:nvGrpSpPr>
            <p:cNvPr id="400" name="Group 399">
              <a:extLst>
                <a:ext uri="{FF2B5EF4-FFF2-40B4-BE49-F238E27FC236}">
                  <a16:creationId xmlns:a16="http://schemas.microsoft.com/office/drawing/2014/main" id="{CB35E66F-EB1C-9340-A50A-EF0AEBEC3FA0}"/>
                </a:ext>
              </a:extLst>
            </p:cNvPr>
            <p:cNvGrpSpPr/>
            <p:nvPr/>
          </p:nvGrpSpPr>
          <p:grpSpPr>
            <a:xfrm>
              <a:off x="1165234" y="2641188"/>
              <a:ext cx="10711068" cy="2338568"/>
              <a:chOff x="1101224" y="1936049"/>
              <a:chExt cx="7795345" cy="2338568"/>
            </a:xfrm>
          </p:grpSpPr>
          <p:cxnSp>
            <p:nvCxnSpPr>
              <p:cNvPr id="487" name="Straight Connector 486">
                <a:extLst>
                  <a:ext uri="{FF2B5EF4-FFF2-40B4-BE49-F238E27FC236}">
                    <a16:creationId xmlns:a16="http://schemas.microsoft.com/office/drawing/2014/main" id="{F2367463-A83C-6F44-98F2-FD194B5BB36F}"/>
                  </a:ext>
                </a:extLst>
              </p:cNvPr>
              <p:cNvCxnSpPr/>
              <p:nvPr/>
            </p:nvCxnSpPr>
            <p:spPr bwMode="auto">
              <a:xfrm>
                <a:off x="1101224" y="4274617"/>
                <a:ext cx="7795345" cy="0"/>
              </a:xfrm>
              <a:prstGeom prst="line">
                <a:avLst/>
              </a:prstGeom>
              <a:noFill/>
              <a:ln w="6350" cap="flat" cmpd="sng" algn="ctr">
                <a:solidFill>
                  <a:schemeClr val="bg1">
                    <a:lumMod val="65000"/>
                  </a:schemeClr>
                </a:solidFill>
                <a:prstDash val="dash"/>
                <a:round/>
                <a:headEnd type="none" w="med" len="med"/>
                <a:tailEnd type="none" w="med" len="med"/>
              </a:ln>
              <a:effectLst/>
            </p:spPr>
          </p:cxnSp>
          <p:cxnSp>
            <p:nvCxnSpPr>
              <p:cNvPr id="488" name="Straight Connector 487">
                <a:extLst>
                  <a:ext uri="{FF2B5EF4-FFF2-40B4-BE49-F238E27FC236}">
                    <a16:creationId xmlns:a16="http://schemas.microsoft.com/office/drawing/2014/main" id="{2A8593FB-C141-D441-84BE-B3DCA7B4CDE6}"/>
                  </a:ext>
                </a:extLst>
              </p:cNvPr>
              <p:cNvCxnSpPr/>
              <p:nvPr/>
            </p:nvCxnSpPr>
            <p:spPr bwMode="auto">
              <a:xfrm>
                <a:off x="1101224" y="1936049"/>
                <a:ext cx="7795345" cy="0"/>
              </a:xfrm>
              <a:prstGeom prst="line">
                <a:avLst/>
              </a:prstGeom>
              <a:noFill/>
              <a:ln w="6350" cap="flat" cmpd="sng" algn="ctr">
                <a:solidFill>
                  <a:schemeClr val="bg1">
                    <a:lumMod val="65000"/>
                  </a:schemeClr>
                </a:solidFill>
                <a:prstDash val="dash"/>
                <a:round/>
                <a:headEnd type="none" w="med" len="med"/>
                <a:tailEnd type="none" w="med" len="med"/>
              </a:ln>
              <a:effectLst/>
            </p:spPr>
          </p:cxnSp>
          <p:cxnSp>
            <p:nvCxnSpPr>
              <p:cNvPr id="489" name="Straight Connector 488">
                <a:extLst>
                  <a:ext uri="{FF2B5EF4-FFF2-40B4-BE49-F238E27FC236}">
                    <a16:creationId xmlns:a16="http://schemas.microsoft.com/office/drawing/2014/main" id="{1FF76666-6874-5D47-AEA9-DB0A595FD78F}"/>
                  </a:ext>
                </a:extLst>
              </p:cNvPr>
              <p:cNvCxnSpPr/>
              <p:nvPr/>
            </p:nvCxnSpPr>
            <p:spPr bwMode="auto">
              <a:xfrm>
                <a:off x="1101224" y="3105333"/>
                <a:ext cx="7795345" cy="0"/>
              </a:xfrm>
              <a:prstGeom prst="line">
                <a:avLst/>
              </a:prstGeom>
              <a:noFill/>
              <a:ln w="6350" cap="flat" cmpd="sng" algn="ctr">
                <a:solidFill>
                  <a:schemeClr val="bg1">
                    <a:lumMod val="65000"/>
                  </a:schemeClr>
                </a:solidFill>
                <a:prstDash val="dash"/>
                <a:round/>
                <a:headEnd type="none" w="med" len="med"/>
                <a:tailEnd type="none" w="med" len="med"/>
              </a:ln>
              <a:effectLst/>
            </p:spPr>
          </p:cxnSp>
          <p:cxnSp>
            <p:nvCxnSpPr>
              <p:cNvPr id="490" name="Straight Connector 489">
                <a:extLst>
                  <a:ext uri="{FF2B5EF4-FFF2-40B4-BE49-F238E27FC236}">
                    <a16:creationId xmlns:a16="http://schemas.microsoft.com/office/drawing/2014/main" id="{2FABE3AA-0FC5-4946-8821-C9E79C6C580E}"/>
                  </a:ext>
                </a:extLst>
              </p:cNvPr>
              <p:cNvCxnSpPr/>
              <p:nvPr/>
            </p:nvCxnSpPr>
            <p:spPr bwMode="auto">
              <a:xfrm>
                <a:off x="1101224" y="3689975"/>
                <a:ext cx="7795345" cy="0"/>
              </a:xfrm>
              <a:prstGeom prst="line">
                <a:avLst/>
              </a:prstGeom>
              <a:noFill/>
              <a:ln w="6350" cap="flat" cmpd="sng" algn="ctr">
                <a:solidFill>
                  <a:schemeClr val="bg1">
                    <a:lumMod val="65000"/>
                  </a:schemeClr>
                </a:solidFill>
                <a:prstDash val="dash"/>
                <a:round/>
                <a:headEnd type="none" w="med" len="med"/>
                <a:tailEnd type="none" w="med" len="med"/>
              </a:ln>
              <a:effectLst/>
            </p:spPr>
          </p:cxnSp>
          <p:cxnSp>
            <p:nvCxnSpPr>
              <p:cNvPr id="491" name="Straight Connector 490">
                <a:extLst>
                  <a:ext uri="{FF2B5EF4-FFF2-40B4-BE49-F238E27FC236}">
                    <a16:creationId xmlns:a16="http://schemas.microsoft.com/office/drawing/2014/main" id="{B171F1E5-7DF5-FB43-B54D-0C451234D9F8}"/>
                  </a:ext>
                </a:extLst>
              </p:cNvPr>
              <p:cNvCxnSpPr/>
              <p:nvPr/>
            </p:nvCxnSpPr>
            <p:spPr bwMode="auto">
              <a:xfrm>
                <a:off x="1101224" y="2520691"/>
                <a:ext cx="7795345" cy="0"/>
              </a:xfrm>
              <a:prstGeom prst="line">
                <a:avLst/>
              </a:prstGeom>
              <a:noFill/>
              <a:ln w="6350" cap="flat" cmpd="sng" algn="ctr">
                <a:solidFill>
                  <a:schemeClr val="bg1">
                    <a:lumMod val="65000"/>
                  </a:schemeClr>
                </a:solidFill>
                <a:prstDash val="dash"/>
                <a:round/>
                <a:headEnd type="none" w="med" len="med"/>
                <a:tailEnd type="none" w="med" len="med"/>
              </a:ln>
              <a:effectLst/>
            </p:spPr>
          </p:cxnSp>
        </p:grpSp>
        <p:sp>
          <p:nvSpPr>
            <p:cNvPr id="401" name="TextBox 400">
              <a:extLst>
                <a:ext uri="{FF2B5EF4-FFF2-40B4-BE49-F238E27FC236}">
                  <a16:creationId xmlns:a16="http://schemas.microsoft.com/office/drawing/2014/main" id="{BB4104B0-216D-9A4A-A0D4-A7A733AEA3A4}"/>
                </a:ext>
              </a:extLst>
            </p:cNvPr>
            <p:cNvSpPr txBox="1"/>
            <p:nvPr/>
          </p:nvSpPr>
          <p:spPr>
            <a:xfrm>
              <a:off x="386993" y="2558590"/>
              <a:ext cx="783133" cy="191341"/>
            </a:xfrm>
            <a:prstGeom prst="rect">
              <a:avLst/>
            </a:prstGeom>
            <a:noFill/>
          </p:spPr>
          <p:txBody>
            <a:bodyPr wrap="square" lIns="0" tIns="0" rIns="0" bIns="0" rtlCol="0" anchor="ctr">
              <a:spAutoFit/>
            </a:bodyPr>
            <a:lstStyle/>
            <a:p>
              <a:pPr algn="r">
                <a:spcBef>
                  <a:spcPts val="0"/>
                </a:spcBef>
                <a:spcAft>
                  <a:spcPts val="0"/>
                </a:spcAft>
              </a:pPr>
              <a:r>
                <a:rPr lang="pt-BR" sz="600" dirty="0">
                  <a:latin typeface="+mn-lt"/>
                </a:rPr>
                <a:t>High (5)</a:t>
              </a:r>
              <a:endParaRPr lang="en-US" sz="600" dirty="0">
                <a:latin typeface="+mn-lt"/>
              </a:endParaRPr>
            </a:p>
          </p:txBody>
        </p:sp>
        <p:sp>
          <p:nvSpPr>
            <p:cNvPr id="402" name="TextBox 401">
              <a:extLst>
                <a:ext uri="{FF2B5EF4-FFF2-40B4-BE49-F238E27FC236}">
                  <a16:creationId xmlns:a16="http://schemas.microsoft.com/office/drawing/2014/main" id="{F04C12CE-F05F-4F44-8D39-9EBBF073FCC2}"/>
                </a:ext>
              </a:extLst>
            </p:cNvPr>
            <p:cNvSpPr txBox="1"/>
            <p:nvPr/>
          </p:nvSpPr>
          <p:spPr>
            <a:xfrm>
              <a:off x="558811" y="4857500"/>
              <a:ext cx="611315" cy="191341"/>
            </a:xfrm>
            <a:prstGeom prst="rect">
              <a:avLst/>
            </a:prstGeom>
            <a:noFill/>
          </p:spPr>
          <p:txBody>
            <a:bodyPr wrap="square" lIns="0" tIns="0" rIns="0" bIns="0" rtlCol="0" anchor="ctr">
              <a:spAutoFit/>
            </a:bodyPr>
            <a:lstStyle/>
            <a:p>
              <a:pPr algn="r">
                <a:spcBef>
                  <a:spcPts val="0"/>
                </a:spcBef>
                <a:spcAft>
                  <a:spcPts val="0"/>
                </a:spcAft>
              </a:pPr>
              <a:r>
                <a:rPr lang="en-US" sz="600" dirty="0">
                  <a:latin typeface="+mn-lt"/>
                </a:rPr>
                <a:t>Low (1)</a:t>
              </a:r>
            </a:p>
          </p:txBody>
        </p:sp>
        <p:sp>
          <p:nvSpPr>
            <p:cNvPr id="403" name="TextBox 402">
              <a:extLst>
                <a:ext uri="{FF2B5EF4-FFF2-40B4-BE49-F238E27FC236}">
                  <a16:creationId xmlns:a16="http://schemas.microsoft.com/office/drawing/2014/main" id="{ADCC7601-1085-7D4C-BE4B-75F6A0547DCC}"/>
                </a:ext>
              </a:extLst>
            </p:cNvPr>
            <p:cNvSpPr txBox="1"/>
            <p:nvPr/>
          </p:nvSpPr>
          <p:spPr>
            <a:xfrm>
              <a:off x="261718" y="3725122"/>
              <a:ext cx="908408" cy="191341"/>
            </a:xfrm>
            <a:prstGeom prst="rect">
              <a:avLst/>
            </a:prstGeom>
            <a:noFill/>
          </p:spPr>
          <p:txBody>
            <a:bodyPr wrap="square" lIns="0" tIns="0" rIns="0" bIns="0" rtlCol="0" anchor="ctr">
              <a:spAutoFit/>
            </a:bodyPr>
            <a:lstStyle/>
            <a:p>
              <a:pPr algn="r">
                <a:spcBef>
                  <a:spcPts val="0"/>
                </a:spcBef>
                <a:spcAft>
                  <a:spcPts val="0"/>
                </a:spcAft>
              </a:pPr>
              <a:r>
                <a:rPr lang="pt-BR" sz="600" dirty="0" err="1">
                  <a:latin typeface="+mn-lt"/>
                </a:rPr>
                <a:t>Medium</a:t>
              </a:r>
              <a:r>
                <a:rPr lang="pt-BR" sz="600" dirty="0">
                  <a:latin typeface="+mn-lt"/>
                </a:rPr>
                <a:t> (3)</a:t>
              </a:r>
              <a:endParaRPr lang="en-US" sz="600" dirty="0">
                <a:latin typeface="+mn-lt"/>
              </a:endParaRPr>
            </a:p>
          </p:txBody>
        </p:sp>
        <p:sp>
          <p:nvSpPr>
            <p:cNvPr id="404" name="TextBox 403">
              <a:extLst>
                <a:ext uri="{FF2B5EF4-FFF2-40B4-BE49-F238E27FC236}">
                  <a16:creationId xmlns:a16="http://schemas.microsoft.com/office/drawing/2014/main" id="{6C28EAF7-B1D0-E945-9614-B81CEB031EC7}"/>
                </a:ext>
              </a:extLst>
            </p:cNvPr>
            <p:cNvSpPr txBox="1"/>
            <p:nvPr/>
          </p:nvSpPr>
          <p:spPr>
            <a:xfrm>
              <a:off x="500230" y="4181628"/>
              <a:ext cx="669896" cy="382680"/>
            </a:xfrm>
            <a:prstGeom prst="rect">
              <a:avLst/>
            </a:prstGeom>
            <a:noFill/>
          </p:spPr>
          <p:txBody>
            <a:bodyPr wrap="square" lIns="0" tIns="0" rIns="0" bIns="0" rtlCol="0" anchor="ctr">
              <a:spAutoFit/>
            </a:bodyPr>
            <a:lstStyle/>
            <a:p>
              <a:pPr algn="r">
                <a:spcBef>
                  <a:spcPts val="0"/>
                </a:spcBef>
                <a:spcAft>
                  <a:spcPts val="0"/>
                </a:spcAft>
              </a:pPr>
              <a:r>
                <a:rPr lang="pt-BR" sz="600" dirty="0" err="1">
                  <a:latin typeface="+mn-lt"/>
                </a:rPr>
                <a:t>Medium-low</a:t>
              </a:r>
              <a:r>
                <a:rPr lang="pt-BR" sz="600" dirty="0">
                  <a:latin typeface="+mn-lt"/>
                </a:rPr>
                <a:t> (2)</a:t>
              </a:r>
              <a:endParaRPr lang="en-US" sz="600" dirty="0">
                <a:latin typeface="+mn-lt"/>
              </a:endParaRPr>
            </a:p>
          </p:txBody>
        </p:sp>
        <p:sp>
          <p:nvSpPr>
            <p:cNvPr id="405" name="TextBox 404">
              <a:extLst>
                <a:ext uri="{FF2B5EF4-FFF2-40B4-BE49-F238E27FC236}">
                  <a16:creationId xmlns:a16="http://schemas.microsoft.com/office/drawing/2014/main" id="{A64FE779-1096-5D44-875D-D2CFA7CB903E}"/>
                </a:ext>
              </a:extLst>
            </p:cNvPr>
            <p:cNvSpPr txBox="1"/>
            <p:nvPr/>
          </p:nvSpPr>
          <p:spPr>
            <a:xfrm>
              <a:off x="500234" y="2989005"/>
              <a:ext cx="669892" cy="382680"/>
            </a:xfrm>
            <a:prstGeom prst="rect">
              <a:avLst/>
            </a:prstGeom>
            <a:noFill/>
          </p:spPr>
          <p:txBody>
            <a:bodyPr wrap="square" lIns="0" tIns="0" rIns="0" bIns="0" rtlCol="0" anchor="ctr">
              <a:spAutoFit/>
            </a:bodyPr>
            <a:lstStyle/>
            <a:p>
              <a:pPr algn="r">
                <a:spcBef>
                  <a:spcPts val="0"/>
                </a:spcBef>
                <a:spcAft>
                  <a:spcPts val="0"/>
                </a:spcAft>
              </a:pPr>
              <a:r>
                <a:rPr lang="pt-BR" sz="600" dirty="0" err="1">
                  <a:latin typeface="+mn-lt"/>
                </a:rPr>
                <a:t>Medium</a:t>
              </a:r>
              <a:r>
                <a:rPr lang="pt-BR" sz="600" dirty="0">
                  <a:latin typeface="+mn-lt"/>
                </a:rPr>
                <a:t>-high (4)</a:t>
              </a:r>
              <a:endParaRPr lang="en-US" sz="600" dirty="0">
                <a:latin typeface="+mn-lt"/>
              </a:endParaRPr>
            </a:p>
          </p:txBody>
        </p:sp>
        <p:grpSp>
          <p:nvGrpSpPr>
            <p:cNvPr id="406" name="Group 405">
              <a:extLst>
                <a:ext uri="{FF2B5EF4-FFF2-40B4-BE49-F238E27FC236}">
                  <a16:creationId xmlns:a16="http://schemas.microsoft.com/office/drawing/2014/main" id="{68F5F311-E0C6-8D44-A436-316891E7B21C}"/>
                </a:ext>
              </a:extLst>
            </p:cNvPr>
            <p:cNvGrpSpPr/>
            <p:nvPr/>
          </p:nvGrpSpPr>
          <p:grpSpPr>
            <a:xfrm>
              <a:off x="902650" y="2533001"/>
              <a:ext cx="1194563" cy="2880819"/>
              <a:chOff x="902650" y="2533001"/>
              <a:chExt cx="1194563" cy="2880819"/>
            </a:xfrm>
          </p:grpSpPr>
          <p:sp>
            <p:nvSpPr>
              <p:cNvPr id="480" name="TextBox 479">
                <a:extLst>
                  <a:ext uri="{FF2B5EF4-FFF2-40B4-BE49-F238E27FC236}">
                    <a16:creationId xmlns:a16="http://schemas.microsoft.com/office/drawing/2014/main" id="{E4A8B95B-2ECE-0848-8856-4C4BD84049DA}"/>
                  </a:ext>
                </a:extLst>
              </p:cNvPr>
              <p:cNvSpPr txBox="1"/>
              <p:nvPr/>
            </p:nvSpPr>
            <p:spPr>
              <a:xfrm>
                <a:off x="902650" y="5031140"/>
                <a:ext cx="972257" cy="382680"/>
              </a:xfrm>
              <a:prstGeom prst="rect">
                <a:avLst/>
              </a:prstGeom>
              <a:noFill/>
            </p:spPr>
            <p:txBody>
              <a:bodyPr wrap="square" lIns="0" tIns="0" rIns="0" bIns="0" rtlCol="0" anchor="t" anchorCtr="0">
                <a:spAutoFit/>
              </a:bodyPr>
              <a:lstStyle/>
              <a:p>
                <a:pPr algn="ctr">
                  <a:spcBef>
                    <a:spcPts val="0"/>
                  </a:spcBef>
                  <a:spcAft>
                    <a:spcPts val="0"/>
                  </a:spcAft>
                </a:pPr>
                <a:r>
                  <a:rPr lang="pt-BR" sz="600" dirty="0">
                    <a:latin typeface="+mn-lt"/>
                  </a:rPr>
                  <a:t>R&amp;R </a:t>
                </a:r>
                <a:r>
                  <a:rPr lang="pt-BR" sz="600" dirty="0" err="1">
                    <a:latin typeface="+mn-lt"/>
                  </a:rPr>
                  <a:t>scope</a:t>
                </a:r>
                <a:r>
                  <a:rPr lang="pt-BR" sz="600" dirty="0">
                    <a:latin typeface="+mn-lt"/>
                  </a:rPr>
                  <a:t> </a:t>
                </a:r>
                <a:r>
                  <a:rPr lang="pt-BR" sz="600" dirty="0" err="1">
                    <a:latin typeface="+mn-lt"/>
                  </a:rPr>
                  <a:t>of</a:t>
                </a:r>
                <a:r>
                  <a:rPr lang="pt-BR" sz="600" dirty="0">
                    <a:latin typeface="+mn-lt"/>
                  </a:rPr>
                  <a:t> processes</a:t>
                </a:r>
              </a:p>
            </p:txBody>
          </p:sp>
          <p:sp>
            <p:nvSpPr>
              <p:cNvPr id="481" name="Rectangle 480">
                <a:extLst>
                  <a:ext uri="{FF2B5EF4-FFF2-40B4-BE49-F238E27FC236}">
                    <a16:creationId xmlns:a16="http://schemas.microsoft.com/office/drawing/2014/main" id="{8DA4BD95-5B5A-7C49-9A25-5633C6A9D83A}"/>
                  </a:ext>
                </a:extLst>
              </p:cNvPr>
              <p:cNvSpPr/>
              <p:nvPr/>
            </p:nvSpPr>
            <p:spPr bwMode="auto">
              <a:xfrm>
                <a:off x="1272285" y="2533001"/>
                <a:ext cx="227618" cy="18288"/>
              </a:xfrm>
              <a:prstGeom prst="rect">
                <a:avLst/>
              </a:prstGeom>
              <a:solidFill>
                <a:schemeClr val="accent4">
                  <a:lumMod val="5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600" b="0" i="0" u="none" strike="noStrike" cap="none" normalizeH="0" baseline="0" dirty="0">
                  <a:ln>
                    <a:noFill/>
                  </a:ln>
                  <a:solidFill>
                    <a:schemeClr val="tx1"/>
                  </a:solidFill>
                  <a:effectLst/>
                  <a:latin typeface="+mn-lt"/>
                </a:endParaRPr>
              </a:p>
            </p:txBody>
          </p:sp>
          <p:sp>
            <p:nvSpPr>
              <p:cNvPr id="482" name="Arrow: Pentagon 9">
                <a:extLst>
                  <a:ext uri="{FF2B5EF4-FFF2-40B4-BE49-F238E27FC236}">
                    <a16:creationId xmlns:a16="http://schemas.microsoft.com/office/drawing/2014/main" id="{6B921025-B021-CA48-8B20-57799B94EA7A}"/>
                  </a:ext>
                </a:extLst>
              </p:cNvPr>
              <p:cNvSpPr/>
              <p:nvPr/>
            </p:nvSpPr>
            <p:spPr bwMode="auto">
              <a:xfrm rot="16200000">
                <a:off x="163821" y="3747240"/>
                <a:ext cx="2446741" cy="18288"/>
              </a:xfrm>
              <a:prstGeom prst="homePlate">
                <a:avLst>
                  <a:gd name="adj" fmla="val 0"/>
                </a:avLst>
              </a:prstGeom>
              <a:solidFill>
                <a:schemeClr val="accent4">
                  <a:lumMod val="50000"/>
                </a:schemeClr>
              </a:solidFill>
              <a:ln w="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600" b="0" i="0" u="none" strike="noStrike" cap="none" normalizeH="0" baseline="0" dirty="0">
                  <a:ln>
                    <a:noFill/>
                  </a:ln>
                  <a:solidFill>
                    <a:schemeClr val="tx1"/>
                  </a:solidFill>
                  <a:effectLst/>
                  <a:latin typeface="+mn-lt"/>
                </a:endParaRPr>
              </a:p>
            </p:txBody>
          </p:sp>
          <p:sp>
            <p:nvSpPr>
              <p:cNvPr id="483" name="Oval 482">
                <a:extLst>
                  <a:ext uri="{FF2B5EF4-FFF2-40B4-BE49-F238E27FC236}">
                    <a16:creationId xmlns:a16="http://schemas.microsoft.com/office/drawing/2014/main" id="{54CC49AA-6488-D245-9268-4F43819EA4DB}"/>
                  </a:ext>
                </a:extLst>
              </p:cNvPr>
              <p:cNvSpPr>
                <a:spLocks noChangeAspect="1"/>
              </p:cNvSpPr>
              <p:nvPr/>
            </p:nvSpPr>
            <p:spPr bwMode="auto">
              <a:xfrm>
                <a:off x="1294235" y="3247782"/>
                <a:ext cx="182880" cy="182880"/>
              </a:xfrm>
              <a:prstGeom prst="ellipse">
                <a:avLst/>
              </a:prstGeom>
              <a:solidFill>
                <a:schemeClr val="accent5"/>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84" name="Oval 483">
                <a:extLst>
                  <a:ext uri="{FF2B5EF4-FFF2-40B4-BE49-F238E27FC236}">
                    <a16:creationId xmlns:a16="http://schemas.microsoft.com/office/drawing/2014/main" id="{1131C672-C5A3-6D46-8CAF-6BD5E211D7BA}"/>
                  </a:ext>
                </a:extLst>
              </p:cNvPr>
              <p:cNvSpPr>
                <a:spLocks noChangeAspect="1"/>
              </p:cNvSpPr>
              <p:nvPr/>
            </p:nvSpPr>
            <p:spPr bwMode="auto">
              <a:xfrm>
                <a:off x="1304207" y="2754666"/>
                <a:ext cx="182880" cy="182880"/>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85" name="TextBox 484">
                <a:extLst>
                  <a:ext uri="{FF2B5EF4-FFF2-40B4-BE49-F238E27FC236}">
                    <a16:creationId xmlns:a16="http://schemas.microsoft.com/office/drawing/2014/main" id="{B62EC2C4-6836-0647-9660-16AC354AB5D7}"/>
                  </a:ext>
                </a:extLst>
              </p:cNvPr>
              <p:cNvSpPr txBox="1"/>
              <p:nvPr/>
            </p:nvSpPr>
            <p:spPr>
              <a:xfrm flipH="1">
                <a:off x="1465031" y="2708768"/>
                <a:ext cx="632182" cy="382680"/>
              </a:xfrm>
              <a:prstGeom prst="rect">
                <a:avLst/>
              </a:prstGeom>
              <a:noFill/>
              <a:ln>
                <a:noFill/>
              </a:ln>
            </p:spPr>
            <p:txBody>
              <a:bodyPr wrap="square" rtlCol="0">
                <a:spAutoFit/>
              </a:bodyPr>
              <a:lstStyle/>
              <a:p>
                <a:r>
                  <a:rPr lang="en-IN" sz="600" b="1" dirty="0">
                    <a:latin typeface="+mn-lt"/>
                  </a:rPr>
                  <a:t>4.7</a:t>
                </a:r>
              </a:p>
            </p:txBody>
          </p:sp>
          <p:sp>
            <p:nvSpPr>
              <p:cNvPr id="486" name="TextBox 485">
                <a:extLst>
                  <a:ext uri="{FF2B5EF4-FFF2-40B4-BE49-F238E27FC236}">
                    <a16:creationId xmlns:a16="http://schemas.microsoft.com/office/drawing/2014/main" id="{8BF3D2D9-466B-3E44-AFE7-45BA54A68843}"/>
                  </a:ext>
                </a:extLst>
              </p:cNvPr>
              <p:cNvSpPr txBox="1"/>
              <p:nvPr/>
            </p:nvSpPr>
            <p:spPr>
              <a:xfrm flipH="1">
                <a:off x="1465031" y="3226131"/>
                <a:ext cx="604065" cy="382680"/>
              </a:xfrm>
              <a:prstGeom prst="rect">
                <a:avLst/>
              </a:prstGeom>
              <a:noFill/>
              <a:ln>
                <a:noFill/>
              </a:ln>
            </p:spPr>
            <p:txBody>
              <a:bodyPr wrap="square" rtlCol="0">
                <a:spAutoFit/>
              </a:bodyPr>
              <a:lstStyle/>
              <a:p>
                <a:r>
                  <a:rPr lang="en-IN" sz="600" b="1">
                    <a:latin typeface="+mn-lt"/>
                  </a:rPr>
                  <a:t>3.9</a:t>
                </a:r>
              </a:p>
            </p:txBody>
          </p:sp>
        </p:grpSp>
        <p:grpSp>
          <p:nvGrpSpPr>
            <p:cNvPr id="407" name="Group 406">
              <a:extLst>
                <a:ext uri="{FF2B5EF4-FFF2-40B4-BE49-F238E27FC236}">
                  <a16:creationId xmlns:a16="http://schemas.microsoft.com/office/drawing/2014/main" id="{EA469206-4959-CA43-A259-F1050286A204}"/>
                </a:ext>
              </a:extLst>
            </p:cNvPr>
            <p:cNvGrpSpPr/>
            <p:nvPr/>
          </p:nvGrpSpPr>
          <p:grpSpPr>
            <a:xfrm>
              <a:off x="2015825" y="2533002"/>
              <a:ext cx="1353299" cy="3263496"/>
              <a:chOff x="1914082" y="2533002"/>
              <a:chExt cx="1353299" cy="3263496"/>
            </a:xfrm>
          </p:grpSpPr>
          <p:sp>
            <p:nvSpPr>
              <p:cNvPr id="473" name="TextBox 472">
                <a:extLst>
                  <a:ext uri="{FF2B5EF4-FFF2-40B4-BE49-F238E27FC236}">
                    <a16:creationId xmlns:a16="http://schemas.microsoft.com/office/drawing/2014/main" id="{C09A1CD3-F4F0-304A-8536-36FE614204C6}"/>
                  </a:ext>
                </a:extLst>
              </p:cNvPr>
              <p:cNvSpPr txBox="1"/>
              <p:nvPr/>
            </p:nvSpPr>
            <p:spPr>
              <a:xfrm>
                <a:off x="1914082" y="5031139"/>
                <a:ext cx="1142121" cy="765359"/>
              </a:xfrm>
              <a:prstGeom prst="rect">
                <a:avLst/>
              </a:prstGeom>
              <a:noFill/>
            </p:spPr>
            <p:txBody>
              <a:bodyPr wrap="square" lIns="0" tIns="0" rIns="0" bIns="0" rtlCol="0" anchor="t" anchorCtr="0">
                <a:spAutoFit/>
              </a:bodyPr>
              <a:lstStyle/>
              <a:p>
                <a:pPr algn="ctr">
                  <a:spcBef>
                    <a:spcPts val="0"/>
                  </a:spcBef>
                  <a:spcAft>
                    <a:spcPts val="0"/>
                  </a:spcAft>
                </a:pPr>
                <a:r>
                  <a:rPr lang="pt-BR" sz="600" dirty="0" err="1">
                    <a:latin typeface="+mn-lt"/>
                  </a:rPr>
                  <a:t>Implementation</a:t>
                </a:r>
                <a:r>
                  <a:rPr lang="pt-BR" sz="600" dirty="0">
                    <a:latin typeface="+mn-lt"/>
                  </a:rPr>
                  <a:t>, </a:t>
                </a:r>
                <a:r>
                  <a:rPr lang="pt-BR" sz="600" dirty="0" err="1">
                    <a:latin typeface="+mn-lt"/>
                  </a:rPr>
                  <a:t>support</a:t>
                </a:r>
                <a:r>
                  <a:rPr lang="pt-BR" sz="600" dirty="0">
                    <a:latin typeface="+mn-lt"/>
                  </a:rPr>
                  <a:t>, </a:t>
                </a:r>
                <a:r>
                  <a:rPr lang="pt-BR" sz="600" dirty="0" err="1">
                    <a:latin typeface="+mn-lt"/>
                  </a:rPr>
                  <a:t>and</a:t>
                </a:r>
                <a:r>
                  <a:rPr lang="pt-BR" sz="600" dirty="0">
                    <a:latin typeface="+mn-lt"/>
                  </a:rPr>
                  <a:t> </a:t>
                </a:r>
                <a:r>
                  <a:rPr lang="pt-BR" sz="600" dirty="0" err="1">
                    <a:latin typeface="+mn-lt"/>
                  </a:rPr>
                  <a:t>deployment</a:t>
                </a:r>
                <a:r>
                  <a:rPr lang="pt-BR" sz="600" dirty="0">
                    <a:latin typeface="+mn-lt"/>
                  </a:rPr>
                  <a:t> </a:t>
                </a:r>
                <a:r>
                  <a:rPr lang="pt-BR" sz="600" dirty="0" err="1">
                    <a:latin typeface="+mn-lt"/>
                  </a:rPr>
                  <a:t>model</a:t>
                </a:r>
                <a:endParaRPr lang="pt-BR" sz="600" dirty="0">
                  <a:latin typeface="+mn-lt"/>
                </a:endParaRPr>
              </a:p>
            </p:txBody>
          </p:sp>
          <p:sp>
            <p:nvSpPr>
              <p:cNvPr id="474" name="Rectangle 473">
                <a:extLst>
                  <a:ext uri="{FF2B5EF4-FFF2-40B4-BE49-F238E27FC236}">
                    <a16:creationId xmlns:a16="http://schemas.microsoft.com/office/drawing/2014/main" id="{8AA8F0D0-9B83-B642-932A-00E7BECCC136}"/>
                  </a:ext>
                </a:extLst>
              </p:cNvPr>
              <p:cNvSpPr/>
              <p:nvPr/>
            </p:nvSpPr>
            <p:spPr bwMode="auto">
              <a:xfrm>
                <a:off x="2413909" y="2533002"/>
                <a:ext cx="227618" cy="18288"/>
              </a:xfrm>
              <a:prstGeom prst="rect">
                <a:avLst/>
              </a:prstGeom>
              <a:solidFill>
                <a:schemeClr val="accent4">
                  <a:lumMod val="5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600" b="0" i="0" u="none" strike="noStrike" cap="none" normalizeH="0" baseline="0">
                  <a:ln>
                    <a:noFill/>
                  </a:ln>
                  <a:solidFill>
                    <a:schemeClr val="tx1"/>
                  </a:solidFill>
                  <a:effectLst/>
                  <a:latin typeface="+mn-lt"/>
                </a:endParaRPr>
              </a:p>
            </p:txBody>
          </p:sp>
          <p:sp>
            <p:nvSpPr>
              <p:cNvPr id="475" name="Arrow: Pentagon 10">
                <a:extLst>
                  <a:ext uri="{FF2B5EF4-FFF2-40B4-BE49-F238E27FC236}">
                    <a16:creationId xmlns:a16="http://schemas.microsoft.com/office/drawing/2014/main" id="{4431BB3F-5258-5546-BA4D-DC4CC6B00C00}"/>
                  </a:ext>
                </a:extLst>
              </p:cNvPr>
              <p:cNvSpPr/>
              <p:nvPr/>
            </p:nvSpPr>
            <p:spPr bwMode="auto">
              <a:xfrm rot="16200000">
                <a:off x="1305448" y="3747240"/>
                <a:ext cx="2446741" cy="18288"/>
              </a:xfrm>
              <a:prstGeom prst="homePlate">
                <a:avLst>
                  <a:gd name="adj" fmla="val 0"/>
                </a:avLst>
              </a:prstGeom>
              <a:solidFill>
                <a:schemeClr val="accent4">
                  <a:lumMod val="50000"/>
                </a:schemeClr>
              </a:solidFill>
              <a:ln w="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600" b="0" i="0" u="none" strike="noStrike" cap="none" normalizeH="0" baseline="0">
                  <a:ln>
                    <a:noFill/>
                  </a:ln>
                  <a:solidFill>
                    <a:schemeClr val="tx1"/>
                  </a:solidFill>
                  <a:effectLst/>
                  <a:latin typeface="+mn-lt"/>
                </a:endParaRPr>
              </a:p>
            </p:txBody>
          </p:sp>
          <p:sp>
            <p:nvSpPr>
              <p:cNvPr id="476" name="Oval 475">
                <a:extLst>
                  <a:ext uri="{FF2B5EF4-FFF2-40B4-BE49-F238E27FC236}">
                    <a16:creationId xmlns:a16="http://schemas.microsoft.com/office/drawing/2014/main" id="{67530D38-0E25-4048-BB47-E0048A00BA50}"/>
                  </a:ext>
                </a:extLst>
              </p:cNvPr>
              <p:cNvSpPr>
                <a:spLocks noChangeAspect="1"/>
              </p:cNvSpPr>
              <p:nvPr/>
            </p:nvSpPr>
            <p:spPr bwMode="auto">
              <a:xfrm>
                <a:off x="2444609" y="3024561"/>
                <a:ext cx="182880" cy="182880"/>
              </a:xfrm>
              <a:prstGeom prst="ellipse">
                <a:avLst/>
              </a:prstGeom>
              <a:solidFill>
                <a:schemeClr val="accent5"/>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77" name="Oval 476">
                <a:extLst>
                  <a:ext uri="{FF2B5EF4-FFF2-40B4-BE49-F238E27FC236}">
                    <a16:creationId xmlns:a16="http://schemas.microsoft.com/office/drawing/2014/main" id="{96B4DAD5-DB3A-BA49-A2AA-13E56EEEE64A}"/>
                  </a:ext>
                </a:extLst>
              </p:cNvPr>
              <p:cNvSpPr>
                <a:spLocks noChangeAspect="1"/>
              </p:cNvSpPr>
              <p:nvPr/>
            </p:nvSpPr>
            <p:spPr bwMode="auto">
              <a:xfrm>
                <a:off x="2436970" y="2666429"/>
                <a:ext cx="182880" cy="182880"/>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78" name="TextBox 477">
                <a:extLst>
                  <a:ext uri="{FF2B5EF4-FFF2-40B4-BE49-F238E27FC236}">
                    <a16:creationId xmlns:a16="http://schemas.microsoft.com/office/drawing/2014/main" id="{CC7238A9-DC42-5948-BAF8-42DB106865DA}"/>
                  </a:ext>
                </a:extLst>
              </p:cNvPr>
              <p:cNvSpPr txBox="1"/>
              <p:nvPr/>
            </p:nvSpPr>
            <p:spPr>
              <a:xfrm flipH="1">
                <a:off x="2610215" y="2652436"/>
                <a:ext cx="657166" cy="382680"/>
              </a:xfrm>
              <a:prstGeom prst="rect">
                <a:avLst/>
              </a:prstGeom>
              <a:noFill/>
              <a:ln>
                <a:noFill/>
              </a:ln>
            </p:spPr>
            <p:txBody>
              <a:bodyPr wrap="square" rtlCol="0">
                <a:spAutoFit/>
              </a:bodyPr>
              <a:lstStyle/>
              <a:p>
                <a:r>
                  <a:rPr lang="en-IN" sz="600" b="1" dirty="0">
                    <a:latin typeface="+mn-lt"/>
                  </a:rPr>
                  <a:t>4.9</a:t>
                </a:r>
              </a:p>
            </p:txBody>
          </p:sp>
          <p:sp>
            <p:nvSpPr>
              <p:cNvPr id="479" name="TextBox 478">
                <a:extLst>
                  <a:ext uri="{FF2B5EF4-FFF2-40B4-BE49-F238E27FC236}">
                    <a16:creationId xmlns:a16="http://schemas.microsoft.com/office/drawing/2014/main" id="{50CC294C-90E3-1746-B04E-698A6377D1FC}"/>
                  </a:ext>
                </a:extLst>
              </p:cNvPr>
              <p:cNvSpPr txBox="1"/>
              <p:nvPr/>
            </p:nvSpPr>
            <p:spPr>
              <a:xfrm flipH="1">
                <a:off x="2610215" y="3017742"/>
                <a:ext cx="605819" cy="382680"/>
              </a:xfrm>
              <a:prstGeom prst="rect">
                <a:avLst/>
              </a:prstGeom>
              <a:noFill/>
              <a:ln>
                <a:noFill/>
              </a:ln>
            </p:spPr>
            <p:txBody>
              <a:bodyPr wrap="square" rtlCol="0">
                <a:spAutoFit/>
              </a:bodyPr>
              <a:lstStyle/>
              <a:p>
                <a:r>
                  <a:rPr lang="en-IN" sz="600" b="1" dirty="0">
                    <a:latin typeface="+mn-lt"/>
                  </a:rPr>
                  <a:t>4.1</a:t>
                </a:r>
              </a:p>
            </p:txBody>
          </p:sp>
        </p:grpSp>
        <p:grpSp>
          <p:nvGrpSpPr>
            <p:cNvPr id="408" name="Group 407">
              <a:extLst>
                <a:ext uri="{FF2B5EF4-FFF2-40B4-BE49-F238E27FC236}">
                  <a16:creationId xmlns:a16="http://schemas.microsoft.com/office/drawing/2014/main" id="{75995C05-3F1C-5647-86E3-576B3839C92E}"/>
                </a:ext>
              </a:extLst>
            </p:cNvPr>
            <p:cNvGrpSpPr/>
            <p:nvPr/>
          </p:nvGrpSpPr>
          <p:grpSpPr>
            <a:xfrm>
              <a:off x="4458370" y="2533002"/>
              <a:ext cx="1232534" cy="3263496"/>
              <a:chOff x="4309442" y="2533002"/>
              <a:chExt cx="1232534" cy="3263496"/>
            </a:xfrm>
          </p:grpSpPr>
          <p:sp>
            <p:nvSpPr>
              <p:cNvPr id="466" name="TextBox 465">
                <a:extLst>
                  <a:ext uri="{FF2B5EF4-FFF2-40B4-BE49-F238E27FC236}">
                    <a16:creationId xmlns:a16="http://schemas.microsoft.com/office/drawing/2014/main" id="{0B9F3954-0F0A-384C-9588-8724B084DA89}"/>
                  </a:ext>
                </a:extLst>
              </p:cNvPr>
              <p:cNvSpPr txBox="1"/>
              <p:nvPr/>
            </p:nvSpPr>
            <p:spPr>
              <a:xfrm>
                <a:off x="4309442" y="5031139"/>
                <a:ext cx="1014984" cy="765359"/>
              </a:xfrm>
              <a:prstGeom prst="rect">
                <a:avLst/>
              </a:prstGeom>
              <a:noFill/>
            </p:spPr>
            <p:txBody>
              <a:bodyPr wrap="square" lIns="0" tIns="0" rIns="0" bIns="0" rtlCol="0" anchor="t" anchorCtr="0">
                <a:spAutoFit/>
              </a:bodyPr>
              <a:lstStyle/>
              <a:p>
                <a:pPr algn="ctr"/>
                <a:r>
                  <a:rPr lang="en-US" sz="600" dirty="0">
                    <a:latin typeface="+mn-lt"/>
                  </a:rPr>
                  <a:t>Rewards catalog and service delivery</a:t>
                </a:r>
              </a:p>
            </p:txBody>
          </p:sp>
          <p:sp>
            <p:nvSpPr>
              <p:cNvPr id="467" name="Rectangle 466">
                <a:extLst>
                  <a:ext uri="{FF2B5EF4-FFF2-40B4-BE49-F238E27FC236}">
                    <a16:creationId xmlns:a16="http://schemas.microsoft.com/office/drawing/2014/main" id="{81018C61-8409-BF49-B507-31B6D4118028}"/>
                  </a:ext>
                </a:extLst>
              </p:cNvPr>
              <p:cNvSpPr/>
              <p:nvPr/>
            </p:nvSpPr>
            <p:spPr bwMode="auto">
              <a:xfrm>
                <a:off x="4698405" y="2533002"/>
                <a:ext cx="227618" cy="18288"/>
              </a:xfrm>
              <a:prstGeom prst="rect">
                <a:avLst/>
              </a:prstGeom>
              <a:solidFill>
                <a:schemeClr val="accent4">
                  <a:lumMod val="5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600" b="0" i="0" u="none" strike="noStrike" cap="none" normalizeH="0" baseline="0">
                  <a:ln>
                    <a:noFill/>
                  </a:ln>
                  <a:solidFill>
                    <a:schemeClr val="tx1"/>
                  </a:solidFill>
                  <a:effectLst/>
                  <a:latin typeface="+mn-lt"/>
                </a:endParaRPr>
              </a:p>
            </p:txBody>
          </p:sp>
          <p:sp>
            <p:nvSpPr>
              <p:cNvPr id="468" name="Arrow: Pentagon 12">
                <a:extLst>
                  <a:ext uri="{FF2B5EF4-FFF2-40B4-BE49-F238E27FC236}">
                    <a16:creationId xmlns:a16="http://schemas.microsoft.com/office/drawing/2014/main" id="{BC2EF36C-ABA8-9747-AC21-54C12D561892}"/>
                  </a:ext>
                </a:extLst>
              </p:cNvPr>
              <p:cNvSpPr/>
              <p:nvPr/>
            </p:nvSpPr>
            <p:spPr bwMode="auto">
              <a:xfrm rot="16200000">
                <a:off x="3589941" y="3747239"/>
                <a:ext cx="2446745" cy="18288"/>
              </a:xfrm>
              <a:prstGeom prst="homePlate">
                <a:avLst>
                  <a:gd name="adj" fmla="val 0"/>
                </a:avLst>
              </a:prstGeom>
              <a:solidFill>
                <a:schemeClr val="accent4">
                  <a:lumMod val="50000"/>
                </a:schemeClr>
              </a:solidFill>
              <a:ln w="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600" b="0" i="0" u="none" strike="noStrike" cap="none" normalizeH="0" baseline="0">
                  <a:ln>
                    <a:noFill/>
                  </a:ln>
                  <a:solidFill>
                    <a:schemeClr val="tx1"/>
                  </a:solidFill>
                  <a:effectLst/>
                  <a:latin typeface="+mn-lt"/>
                </a:endParaRPr>
              </a:p>
            </p:txBody>
          </p:sp>
          <p:sp>
            <p:nvSpPr>
              <p:cNvPr id="469" name="Oval 468">
                <a:extLst>
                  <a:ext uri="{FF2B5EF4-FFF2-40B4-BE49-F238E27FC236}">
                    <a16:creationId xmlns:a16="http://schemas.microsoft.com/office/drawing/2014/main" id="{F2894D59-36D3-454E-B363-E18F0BB934ED}"/>
                  </a:ext>
                </a:extLst>
              </p:cNvPr>
              <p:cNvSpPr>
                <a:spLocks noChangeAspect="1"/>
              </p:cNvSpPr>
              <p:nvPr/>
            </p:nvSpPr>
            <p:spPr bwMode="auto">
              <a:xfrm>
                <a:off x="4719223" y="3458054"/>
                <a:ext cx="182880" cy="182880"/>
              </a:xfrm>
              <a:prstGeom prst="ellipse">
                <a:avLst/>
              </a:prstGeom>
              <a:solidFill>
                <a:schemeClr val="accent5"/>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70" name="Oval 469">
                <a:extLst>
                  <a:ext uri="{FF2B5EF4-FFF2-40B4-BE49-F238E27FC236}">
                    <a16:creationId xmlns:a16="http://schemas.microsoft.com/office/drawing/2014/main" id="{86366623-C6FC-1C45-81DF-FAC76F8B8A23}"/>
                  </a:ext>
                </a:extLst>
              </p:cNvPr>
              <p:cNvSpPr>
                <a:spLocks noChangeAspect="1"/>
              </p:cNvSpPr>
              <p:nvPr/>
            </p:nvSpPr>
            <p:spPr bwMode="auto">
              <a:xfrm>
                <a:off x="4725358" y="2836078"/>
                <a:ext cx="182880" cy="182880"/>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71" name="TextBox 470">
                <a:extLst>
                  <a:ext uri="{FF2B5EF4-FFF2-40B4-BE49-F238E27FC236}">
                    <a16:creationId xmlns:a16="http://schemas.microsoft.com/office/drawing/2014/main" id="{C01720C0-9879-A84F-B53F-52653C37AECC}"/>
                  </a:ext>
                </a:extLst>
              </p:cNvPr>
              <p:cNvSpPr txBox="1"/>
              <p:nvPr/>
            </p:nvSpPr>
            <p:spPr>
              <a:xfrm flipH="1">
                <a:off x="4858582" y="2804593"/>
                <a:ext cx="669891" cy="382680"/>
              </a:xfrm>
              <a:prstGeom prst="rect">
                <a:avLst/>
              </a:prstGeom>
              <a:noFill/>
              <a:ln>
                <a:noFill/>
              </a:ln>
            </p:spPr>
            <p:txBody>
              <a:bodyPr wrap="square" rtlCol="0">
                <a:spAutoFit/>
              </a:bodyPr>
              <a:lstStyle/>
              <a:p>
                <a:r>
                  <a:rPr lang="en-IN" sz="600" b="1" dirty="0">
                    <a:latin typeface="+mn-lt"/>
                  </a:rPr>
                  <a:t>4.5</a:t>
                </a:r>
              </a:p>
            </p:txBody>
          </p:sp>
          <p:sp>
            <p:nvSpPr>
              <p:cNvPr id="472" name="TextBox 471">
                <a:extLst>
                  <a:ext uri="{FF2B5EF4-FFF2-40B4-BE49-F238E27FC236}">
                    <a16:creationId xmlns:a16="http://schemas.microsoft.com/office/drawing/2014/main" id="{59091A42-BC78-B74D-81EC-8BAA2C08B36D}"/>
                  </a:ext>
                </a:extLst>
              </p:cNvPr>
              <p:cNvSpPr txBox="1"/>
              <p:nvPr/>
            </p:nvSpPr>
            <p:spPr>
              <a:xfrm flipH="1">
                <a:off x="4858582" y="3412731"/>
                <a:ext cx="683394" cy="382680"/>
              </a:xfrm>
              <a:prstGeom prst="rect">
                <a:avLst/>
              </a:prstGeom>
              <a:noFill/>
              <a:ln>
                <a:noFill/>
              </a:ln>
            </p:spPr>
            <p:txBody>
              <a:bodyPr wrap="square" rtlCol="0">
                <a:spAutoFit/>
              </a:bodyPr>
              <a:lstStyle/>
              <a:p>
                <a:r>
                  <a:rPr lang="en-IN" sz="600" b="1" dirty="0">
                    <a:latin typeface="+mn-lt"/>
                  </a:rPr>
                  <a:t>3.5</a:t>
                </a:r>
              </a:p>
            </p:txBody>
          </p:sp>
        </p:grpSp>
        <p:grpSp>
          <p:nvGrpSpPr>
            <p:cNvPr id="409" name="Group 408">
              <a:extLst>
                <a:ext uri="{FF2B5EF4-FFF2-40B4-BE49-F238E27FC236}">
                  <a16:creationId xmlns:a16="http://schemas.microsoft.com/office/drawing/2014/main" id="{73B5C697-6BEC-714E-AFDF-C8F58D2D7207}"/>
                </a:ext>
              </a:extLst>
            </p:cNvPr>
            <p:cNvGrpSpPr/>
            <p:nvPr/>
          </p:nvGrpSpPr>
          <p:grpSpPr>
            <a:xfrm>
              <a:off x="5647531" y="2533002"/>
              <a:ext cx="1292147" cy="2880818"/>
              <a:chOff x="5447457" y="2533002"/>
              <a:chExt cx="1292147" cy="2880818"/>
            </a:xfrm>
          </p:grpSpPr>
          <p:sp>
            <p:nvSpPr>
              <p:cNvPr id="459" name="TextBox 458">
                <a:extLst>
                  <a:ext uri="{FF2B5EF4-FFF2-40B4-BE49-F238E27FC236}">
                    <a16:creationId xmlns:a16="http://schemas.microsoft.com/office/drawing/2014/main" id="{2A1A1428-699E-DC49-85CC-ECDBC001220F}"/>
                  </a:ext>
                </a:extLst>
              </p:cNvPr>
              <p:cNvSpPr txBox="1"/>
              <p:nvPr/>
            </p:nvSpPr>
            <p:spPr>
              <a:xfrm>
                <a:off x="5447457" y="5031140"/>
                <a:ext cx="1014984" cy="382680"/>
              </a:xfrm>
              <a:prstGeom prst="rect">
                <a:avLst/>
              </a:prstGeom>
              <a:noFill/>
            </p:spPr>
            <p:txBody>
              <a:bodyPr wrap="square" lIns="0" tIns="0" rIns="0" bIns="0" rtlCol="0" anchor="ctr">
                <a:spAutoFit/>
              </a:bodyPr>
              <a:lstStyle/>
              <a:p>
                <a:pPr algn="ctr"/>
                <a:r>
                  <a:rPr lang="en-US" sz="600" dirty="0">
                    <a:latin typeface="+mn-lt"/>
                  </a:rPr>
                  <a:t>Add-on services</a:t>
                </a:r>
              </a:p>
            </p:txBody>
          </p:sp>
          <p:sp>
            <p:nvSpPr>
              <p:cNvPr id="460" name="Rectangle 459">
                <a:extLst>
                  <a:ext uri="{FF2B5EF4-FFF2-40B4-BE49-F238E27FC236}">
                    <a16:creationId xmlns:a16="http://schemas.microsoft.com/office/drawing/2014/main" id="{60BC65EB-09F7-884A-8323-C52B2A9F27D5}"/>
                  </a:ext>
                </a:extLst>
              </p:cNvPr>
              <p:cNvSpPr/>
              <p:nvPr/>
            </p:nvSpPr>
            <p:spPr bwMode="auto">
              <a:xfrm>
                <a:off x="5840653" y="2533002"/>
                <a:ext cx="227618" cy="18288"/>
              </a:xfrm>
              <a:prstGeom prst="rect">
                <a:avLst/>
              </a:prstGeom>
              <a:solidFill>
                <a:schemeClr val="accent4">
                  <a:lumMod val="5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600" b="0" i="0" u="none" strike="noStrike" cap="none" normalizeH="0" baseline="0">
                  <a:ln>
                    <a:noFill/>
                  </a:ln>
                  <a:solidFill>
                    <a:schemeClr val="tx1"/>
                  </a:solidFill>
                  <a:effectLst/>
                  <a:latin typeface="+mn-lt"/>
                </a:endParaRPr>
              </a:p>
            </p:txBody>
          </p:sp>
          <p:sp>
            <p:nvSpPr>
              <p:cNvPr id="461" name="Arrow: Pentagon 13">
                <a:extLst>
                  <a:ext uri="{FF2B5EF4-FFF2-40B4-BE49-F238E27FC236}">
                    <a16:creationId xmlns:a16="http://schemas.microsoft.com/office/drawing/2014/main" id="{A3DA19C8-FA06-3B46-86C7-9C70110B7DA2}"/>
                  </a:ext>
                </a:extLst>
              </p:cNvPr>
              <p:cNvSpPr/>
              <p:nvPr/>
            </p:nvSpPr>
            <p:spPr bwMode="auto">
              <a:xfrm rot="16200000">
                <a:off x="4732186" y="3747238"/>
                <a:ext cx="2446746" cy="18288"/>
              </a:xfrm>
              <a:prstGeom prst="homePlate">
                <a:avLst>
                  <a:gd name="adj" fmla="val 0"/>
                </a:avLst>
              </a:prstGeom>
              <a:solidFill>
                <a:schemeClr val="accent4">
                  <a:lumMod val="50000"/>
                </a:schemeClr>
              </a:solidFill>
              <a:ln w="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600" b="0" i="0" u="none" strike="noStrike" cap="none" normalizeH="0" baseline="0">
                  <a:ln>
                    <a:noFill/>
                  </a:ln>
                  <a:solidFill>
                    <a:schemeClr val="tx1"/>
                  </a:solidFill>
                  <a:effectLst/>
                  <a:latin typeface="+mn-lt"/>
                </a:endParaRPr>
              </a:p>
            </p:txBody>
          </p:sp>
          <p:sp>
            <p:nvSpPr>
              <p:cNvPr id="462" name="Oval 461">
                <a:extLst>
                  <a:ext uri="{FF2B5EF4-FFF2-40B4-BE49-F238E27FC236}">
                    <a16:creationId xmlns:a16="http://schemas.microsoft.com/office/drawing/2014/main" id="{BBB34422-9FBD-A046-AD2B-62A0EFAB4B5D}"/>
                  </a:ext>
                </a:extLst>
              </p:cNvPr>
              <p:cNvSpPr>
                <a:spLocks noChangeAspect="1"/>
              </p:cNvSpPr>
              <p:nvPr/>
            </p:nvSpPr>
            <p:spPr bwMode="auto">
              <a:xfrm>
                <a:off x="5863531" y="3525400"/>
                <a:ext cx="182880" cy="182880"/>
              </a:xfrm>
              <a:prstGeom prst="ellipse">
                <a:avLst/>
              </a:prstGeom>
              <a:solidFill>
                <a:schemeClr val="accent5"/>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63" name="Oval 462">
                <a:extLst>
                  <a:ext uri="{FF2B5EF4-FFF2-40B4-BE49-F238E27FC236}">
                    <a16:creationId xmlns:a16="http://schemas.microsoft.com/office/drawing/2014/main" id="{B7781CC7-A8DD-1440-8FEA-849A36471698}"/>
                  </a:ext>
                </a:extLst>
              </p:cNvPr>
              <p:cNvSpPr>
                <a:spLocks noChangeAspect="1"/>
              </p:cNvSpPr>
              <p:nvPr/>
            </p:nvSpPr>
            <p:spPr bwMode="auto">
              <a:xfrm>
                <a:off x="5874620" y="2832931"/>
                <a:ext cx="182880" cy="182880"/>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64" name="TextBox 463">
                <a:extLst>
                  <a:ext uri="{FF2B5EF4-FFF2-40B4-BE49-F238E27FC236}">
                    <a16:creationId xmlns:a16="http://schemas.microsoft.com/office/drawing/2014/main" id="{FDA2CC34-DE58-8E4E-B7A2-BD4C694F6182}"/>
                  </a:ext>
                </a:extLst>
              </p:cNvPr>
              <p:cNvSpPr txBox="1"/>
              <p:nvPr/>
            </p:nvSpPr>
            <p:spPr>
              <a:xfrm flipH="1">
                <a:off x="6047125" y="2800937"/>
                <a:ext cx="669891" cy="382680"/>
              </a:xfrm>
              <a:prstGeom prst="rect">
                <a:avLst/>
              </a:prstGeom>
              <a:noFill/>
              <a:ln>
                <a:noFill/>
              </a:ln>
            </p:spPr>
            <p:txBody>
              <a:bodyPr wrap="square" rtlCol="0">
                <a:spAutoFit/>
              </a:bodyPr>
              <a:lstStyle/>
              <a:p>
                <a:r>
                  <a:rPr lang="en-IN" sz="600" b="1">
                    <a:latin typeface="+mn-lt"/>
                  </a:rPr>
                  <a:t>4.5</a:t>
                </a:r>
              </a:p>
            </p:txBody>
          </p:sp>
          <p:sp>
            <p:nvSpPr>
              <p:cNvPr id="465" name="TextBox 464">
                <a:extLst>
                  <a:ext uri="{FF2B5EF4-FFF2-40B4-BE49-F238E27FC236}">
                    <a16:creationId xmlns:a16="http://schemas.microsoft.com/office/drawing/2014/main" id="{02CB7063-D668-B744-AB51-0DECA86D05A9}"/>
                  </a:ext>
                </a:extLst>
              </p:cNvPr>
              <p:cNvSpPr txBox="1"/>
              <p:nvPr/>
            </p:nvSpPr>
            <p:spPr>
              <a:xfrm flipH="1">
                <a:off x="6047125" y="3480795"/>
                <a:ext cx="692479" cy="382680"/>
              </a:xfrm>
              <a:prstGeom prst="rect">
                <a:avLst/>
              </a:prstGeom>
              <a:noFill/>
              <a:ln>
                <a:noFill/>
              </a:ln>
            </p:spPr>
            <p:txBody>
              <a:bodyPr wrap="square" rtlCol="0">
                <a:spAutoFit/>
              </a:bodyPr>
              <a:lstStyle/>
              <a:p>
                <a:r>
                  <a:rPr lang="en-IN" sz="600" b="1">
                    <a:latin typeface="+mn-lt"/>
                  </a:rPr>
                  <a:t>3.3</a:t>
                </a:r>
              </a:p>
            </p:txBody>
          </p:sp>
        </p:grpSp>
        <p:grpSp>
          <p:nvGrpSpPr>
            <p:cNvPr id="410" name="Group 409">
              <a:extLst>
                <a:ext uri="{FF2B5EF4-FFF2-40B4-BE49-F238E27FC236}">
                  <a16:creationId xmlns:a16="http://schemas.microsoft.com/office/drawing/2014/main" id="{B0D37479-272C-634A-BA07-1216F7D583DD}"/>
                </a:ext>
              </a:extLst>
            </p:cNvPr>
            <p:cNvGrpSpPr/>
            <p:nvPr/>
          </p:nvGrpSpPr>
          <p:grpSpPr>
            <a:xfrm>
              <a:off x="6836692" y="2533002"/>
              <a:ext cx="1172932" cy="2880817"/>
              <a:chOff x="6658614" y="2533002"/>
              <a:chExt cx="1172932" cy="2880817"/>
            </a:xfrm>
          </p:grpSpPr>
          <p:sp>
            <p:nvSpPr>
              <p:cNvPr id="452" name="TextBox 451">
                <a:extLst>
                  <a:ext uri="{FF2B5EF4-FFF2-40B4-BE49-F238E27FC236}">
                    <a16:creationId xmlns:a16="http://schemas.microsoft.com/office/drawing/2014/main" id="{9AC512CA-1171-0740-81DD-3741AF4CBA0B}"/>
                  </a:ext>
                </a:extLst>
              </p:cNvPr>
              <p:cNvSpPr txBox="1"/>
              <p:nvPr/>
            </p:nvSpPr>
            <p:spPr>
              <a:xfrm>
                <a:off x="6658614" y="5031139"/>
                <a:ext cx="870058" cy="382680"/>
              </a:xfrm>
              <a:prstGeom prst="rect">
                <a:avLst/>
              </a:prstGeom>
              <a:noFill/>
            </p:spPr>
            <p:txBody>
              <a:bodyPr wrap="square" lIns="0" tIns="0" rIns="0" bIns="0" rtlCol="0" anchor="t" anchorCtr="0">
                <a:spAutoFit/>
              </a:bodyPr>
              <a:lstStyle/>
              <a:p>
                <a:pPr algn="ctr">
                  <a:spcBef>
                    <a:spcPts val="0"/>
                  </a:spcBef>
                  <a:spcAft>
                    <a:spcPts val="0"/>
                  </a:spcAft>
                </a:pPr>
                <a:r>
                  <a:rPr lang="en-US" sz="600" dirty="0">
                    <a:latin typeface="+mn-lt"/>
                  </a:rPr>
                  <a:t>Flexibility of the solution</a:t>
                </a:r>
              </a:p>
            </p:txBody>
          </p:sp>
          <p:sp>
            <p:nvSpPr>
              <p:cNvPr id="453" name="Rectangle 452">
                <a:extLst>
                  <a:ext uri="{FF2B5EF4-FFF2-40B4-BE49-F238E27FC236}">
                    <a16:creationId xmlns:a16="http://schemas.microsoft.com/office/drawing/2014/main" id="{2B5B61F3-A6E1-4B41-8566-B4452267ADFC}"/>
                  </a:ext>
                </a:extLst>
              </p:cNvPr>
              <p:cNvSpPr/>
              <p:nvPr/>
            </p:nvSpPr>
            <p:spPr bwMode="auto">
              <a:xfrm>
                <a:off x="6982901" y="2533002"/>
                <a:ext cx="227618" cy="18288"/>
              </a:xfrm>
              <a:prstGeom prst="rect">
                <a:avLst/>
              </a:prstGeom>
              <a:solidFill>
                <a:schemeClr val="accent4">
                  <a:lumMod val="5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600" b="0" i="0" u="none" strike="noStrike" cap="none" normalizeH="0" baseline="0">
                  <a:ln>
                    <a:noFill/>
                  </a:ln>
                  <a:solidFill>
                    <a:schemeClr val="tx1"/>
                  </a:solidFill>
                  <a:effectLst/>
                  <a:latin typeface="+mn-lt"/>
                </a:endParaRPr>
              </a:p>
            </p:txBody>
          </p:sp>
          <p:sp>
            <p:nvSpPr>
              <p:cNvPr id="454" name="Arrow: Pentagon 14">
                <a:extLst>
                  <a:ext uri="{FF2B5EF4-FFF2-40B4-BE49-F238E27FC236}">
                    <a16:creationId xmlns:a16="http://schemas.microsoft.com/office/drawing/2014/main" id="{364D4489-0763-3E44-ABEE-A844E00AA2E8}"/>
                  </a:ext>
                </a:extLst>
              </p:cNvPr>
              <p:cNvSpPr/>
              <p:nvPr/>
            </p:nvSpPr>
            <p:spPr bwMode="auto">
              <a:xfrm rot="16200000">
                <a:off x="5874435" y="3747238"/>
                <a:ext cx="2446747" cy="18288"/>
              </a:xfrm>
              <a:prstGeom prst="homePlate">
                <a:avLst>
                  <a:gd name="adj" fmla="val 0"/>
                </a:avLst>
              </a:prstGeom>
              <a:solidFill>
                <a:schemeClr val="accent4">
                  <a:lumMod val="50000"/>
                </a:schemeClr>
              </a:solidFill>
              <a:ln w="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600" b="0" i="0" u="none" strike="noStrike" cap="none" normalizeH="0" baseline="0">
                  <a:ln>
                    <a:noFill/>
                  </a:ln>
                  <a:solidFill>
                    <a:schemeClr val="tx1"/>
                  </a:solidFill>
                  <a:effectLst/>
                  <a:latin typeface="+mn-lt"/>
                </a:endParaRPr>
              </a:p>
            </p:txBody>
          </p:sp>
          <p:sp>
            <p:nvSpPr>
              <p:cNvPr id="455" name="Oval 454">
                <a:extLst>
                  <a:ext uri="{FF2B5EF4-FFF2-40B4-BE49-F238E27FC236}">
                    <a16:creationId xmlns:a16="http://schemas.microsoft.com/office/drawing/2014/main" id="{E6CC906E-1356-BD4F-84BF-5D16254066D5}"/>
                  </a:ext>
                </a:extLst>
              </p:cNvPr>
              <p:cNvSpPr>
                <a:spLocks noChangeAspect="1"/>
              </p:cNvSpPr>
              <p:nvPr/>
            </p:nvSpPr>
            <p:spPr bwMode="auto">
              <a:xfrm>
                <a:off x="7016827" y="3860298"/>
                <a:ext cx="182880" cy="182880"/>
              </a:xfrm>
              <a:prstGeom prst="ellipse">
                <a:avLst/>
              </a:prstGeom>
              <a:solidFill>
                <a:schemeClr val="accent5"/>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56" name="Oval 455">
                <a:extLst>
                  <a:ext uri="{FF2B5EF4-FFF2-40B4-BE49-F238E27FC236}">
                    <a16:creationId xmlns:a16="http://schemas.microsoft.com/office/drawing/2014/main" id="{B2E01FC9-61D9-E44E-91F7-54BE640F61CD}"/>
                  </a:ext>
                </a:extLst>
              </p:cNvPr>
              <p:cNvSpPr>
                <a:spLocks noChangeAspect="1"/>
              </p:cNvSpPr>
              <p:nvPr/>
            </p:nvSpPr>
            <p:spPr bwMode="auto">
              <a:xfrm>
                <a:off x="7009016" y="2769461"/>
                <a:ext cx="182880" cy="182880"/>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57" name="TextBox 456">
                <a:extLst>
                  <a:ext uri="{FF2B5EF4-FFF2-40B4-BE49-F238E27FC236}">
                    <a16:creationId xmlns:a16="http://schemas.microsoft.com/office/drawing/2014/main" id="{5D10D13C-9009-4448-BBC7-2BC10B468686}"/>
                  </a:ext>
                </a:extLst>
              </p:cNvPr>
              <p:cNvSpPr txBox="1"/>
              <p:nvPr/>
            </p:nvSpPr>
            <p:spPr>
              <a:xfrm flipH="1">
                <a:off x="7161652" y="2710876"/>
                <a:ext cx="669888" cy="382680"/>
              </a:xfrm>
              <a:prstGeom prst="rect">
                <a:avLst/>
              </a:prstGeom>
              <a:noFill/>
              <a:ln>
                <a:noFill/>
              </a:ln>
            </p:spPr>
            <p:txBody>
              <a:bodyPr wrap="square" rtlCol="0">
                <a:spAutoFit/>
              </a:bodyPr>
              <a:lstStyle/>
              <a:p>
                <a:r>
                  <a:rPr lang="en-IN" sz="600" b="1" dirty="0">
                    <a:latin typeface="+mn-lt"/>
                  </a:rPr>
                  <a:t>4.6</a:t>
                </a:r>
              </a:p>
            </p:txBody>
          </p:sp>
          <p:sp>
            <p:nvSpPr>
              <p:cNvPr id="458" name="TextBox 457">
                <a:extLst>
                  <a:ext uri="{FF2B5EF4-FFF2-40B4-BE49-F238E27FC236}">
                    <a16:creationId xmlns:a16="http://schemas.microsoft.com/office/drawing/2014/main" id="{8B62A2C5-6A13-BE41-BDA4-86035784BA27}"/>
                  </a:ext>
                </a:extLst>
              </p:cNvPr>
              <p:cNvSpPr txBox="1"/>
              <p:nvPr/>
            </p:nvSpPr>
            <p:spPr>
              <a:xfrm flipH="1">
                <a:off x="7161652" y="3815799"/>
                <a:ext cx="669894" cy="382680"/>
              </a:xfrm>
              <a:prstGeom prst="rect">
                <a:avLst/>
              </a:prstGeom>
              <a:noFill/>
              <a:ln>
                <a:noFill/>
              </a:ln>
            </p:spPr>
            <p:txBody>
              <a:bodyPr wrap="square" rtlCol="0">
                <a:spAutoFit/>
              </a:bodyPr>
              <a:lstStyle/>
              <a:p>
                <a:r>
                  <a:rPr lang="en-IN" sz="600" b="1" dirty="0">
                    <a:latin typeface="+mn-lt"/>
                  </a:rPr>
                  <a:t>2.9</a:t>
                </a:r>
              </a:p>
            </p:txBody>
          </p:sp>
        </p:grpSp>
        <p:grpSp>
          <p:nvGrpSpPr>
            <p:cNvPr id="411" name="Group 410">
              <a:extLst>
                <a:ext uri="{FF2B5EF4-FFF2-40B4-BE49-F238E27FC236}">
                  <a16:creationId xmlns:a16="http://schemas.microsoft.com/office/drawing/2014/main" id="{D41BD093-B78F-FE4A-9B16-F8F91AB28929}"/>
                </a:ext>
              </a:extLst>
            </p:cNvPr>
            <p:cNvGrpSpPr/>
            <p:nvPr/>
          </p:nvGrpSpPr>
          <p:grpSpPr>
            <a:xfrm>
              <a:off x="7890524" y="2533001"/>
              <a:ext cx="1172932" cy="3263498"/>
              <a:chOff x="7800544" y="2533001"/>
              <a:chExt cx="1172932" cy="3263498"/>
            </a:xfrm>
          </p:grpSpPr>
          <p:sp>
            <p:nvSpPr>
              <p:cNvPr id="445" name="TextBox 444">
                <a:extLst>
                  <a:ext uri="{FF2B5EF4-FFF2-40B4-BE49-F238E27FC236}">
                    <a16:creationId xmlns:a16="http://schemas.microsoft.com/office/drawing/2014/main" id="{6BAC7E6D-E436-3C4E-81F0-7FF88D9440E6}"/>
                  </a:ext>
                </a:extLst>
              </p:cNvPr>
              <p:cNvSpPr txBox="1"/>
              <p:nvPr/>
            </p:nvSpPr>
            <p:spPr>
              <a:xfrm>
                <a:off x="7800544" y="5031140"/>
                <a:ext cx="879657" cy="765359"/>
              </a:xfrm>
              <a:prstGeom prst="rect">
                <a:avLst/>
              </a:prstGeom>
              <a:noFill/>
            </p:spPr>
            <p:txBody>
              <a:bodyPr wrap="square" lIns="0" tIns="0" rIns="0" bIns="0" rtlCol="0" anchor="t" anchorCtr="0">
                <a:spAutoFit/>
              </a:bodyPr>
              <a:lstStyle/>
              <a:p>
                <a:pPr algn="ctr">
                  <a:spcBef>
                    <a:spcPts val="0"/>
                  </a:spcBef>
                  <a:spcAft>
                    <a:spcPts val="0"/>
                  </a:spcAft>
                </a:pPr>
                <a:r>
                  <a:rPr lang="en-US" sz="600" dirty="0">
                    <a:latin typeface="+mn-lt"/>
                  </a:rPr>
                  <a:t>Innovation in process and technology</a:t>
                </a:r>
              </a:p>
            </p:txBody>
          </p:sp>
          <p:sp>
            <p:nvSpPr>
              <p:cNvPr id="446" name="Rectangle 445">
                <a:extLst>
                  <a:ext uri="{FF2B5EF4-FFF2-40B4-BE49-F238E27FC236}">
                    <a16:creationId xmlns:a16="http://schemas.microsoft.com/office/drawing/2014/main" id="{7C3E8857-B294-D347-A688-63AFE9817B2F}"/>
                  </a:ext>
                </a:extLst>
              </p:cNvPr>
              <p:cNvSpPr/>
              <p:nvPr/>
            </p:nvSpPr>
            <p:spPr bwMode="auto">
              <a:xfrm>
                <a:off x="8125149" y="2533002"/>
                <a:ext cx="227618" cy="18288"/>
              </a:xfrm>
              <a:prstGeom prst="rect">
                <a:avLst/>
              </a:prstGeom>
              <a:solidFill>
                <a:schemeClr val="accent4">
                  <a:lumMod val="5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600" b="0" i="0" u="none" strike="noStrike" cap="none" normalizeH="0" baseline="0">
                  <a:ln>
                    <a:noFill/>
                  </a:ln>
                  <a:solidFill>
                    <a:schemeClr val="tx1"/>
                  </a:solidFill>
                  <a:effectLst/>
                  <a:latin typeface="+mn-lt"/>
                </a:endParaRPr>
              </a:p>
            </p:txBody>
          </p:sp>
          <p:sp>
            <p:nvSpPr>
              <p:cNvPr id="447" name="Arrow: Pentagon 15">
                <a:extLst>
                  <a:ext uri="{FF2B5EF4-FFF2-40B4-BE49-F238E27FC236}">
                    <a16:creationId xmlns:a16="http://schemas.microsoft.com/office/drawing/2014/main" id="{113799A4-0642-6047-9DF2-3E72EE7046ED}"/>
                  </a:ext>
                </a:extLst>
              </p:cNvPr>
              <p:cNvSpPr/>
              <p:nvPr/>
            </p:nvSpPr>
            <p:spPr bwMode="auto">
              <a:xfrm rot="16200000">
                <a:off x="7016680" y="3747233"/>
                <a:ext cx="2446751" cy="18288"/>
              </a:xfrm>
              <a:prstGeom prst="homePlate">
                <a:avLst>
                  <a:gd name="adj" fmla="val 0"/>
                </a:avLst>
              </a:prstGeom>
              <a:solidFill>
                <a:schemeClr val="accent4">
                  <a:lumMod val="50000"/>
                </a:schemeClr>
              </a:solidFill>
              <a:ln w="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600" b="0" i="0" u="none" strike="noStrike" cap="none" normalizeH="0" baseline="0">
                  <a:ln>
                    <a:noFill/>
                  </a:ln>
                  <a:solidFill>
                    <a:schemeClr val="tx1"/>
                  </a:solidFill>
                  <a:effectLst/>
                  <a:latin typeface="+mn-lt"/>
                </a:endParaRPr>
              </a:p>
            </p:txBody>
          </p:sp>
          <p:sp>
            <p:nvSpPr>
              <p:cNvPr id="448" name="Oval 447">
                <a:extLst>
                  <a:ext uri="{FF2B5EF4-FFF2-40B4-BE49-F238E27FC236}">
                    <a16:creationId xmlns:a16="http://schemas.microsoft.com/office/drawing/2014/main" id="{45110A90-1D44-2447-BFCE-0568431578E1}"/>
                  </a:ext>
                </a:extLst>
              </p:cNvPr>
              <p:cNvSpPr>
                <a:spLocks noChangeAspect="1"/>
              </p:cNvSpPr>
              <p:nvPr/>
            </p:nvSpPr>
            <p:spPr bwMode="auto">
              <a:xfrm>
                <a:off x="8153556" y="3030030"/>
                <a:ext cx="182880" cy="182880"/>
              </a:xfrm>
              <a:prstGeom prst="ellipse">
                <a:avLst/>
              </a:prstGeom>
              <a:solidFill>
                <a:schemeClr val="accent5"/>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49" name="Oval 448">
                <a:extLst>
                  <a:ext uri="{FF2B5EF4-FFF2-40B4-BE49-F238E27FC236}">
                    <a16:creationId xmlns:a16="http://schemas.microsoft.com/office/drawing/2014/main" id="{EBB9491D-95EB-C241-89AE-9FA78B27C3F5}"/>
                  </a:ext>
                </a:extLst>
              </p:cNvPr>
              <p:cNvSpPr>
                <a:spLocks noChangeAspect="1"/>
              </p:cNvSpPr>
              <p:nvPr/>
            </p:nvSpPr>
            <p:spPr bwMode="auto">
              <a:xfrm>
                <a:off x="8142090" y="2841681"/>
                <a:ext cx="182880" cy="182880"/>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50" name="TextBox 449">
                <a:extLst>
                  <a:ext uri="{FF2B5EF4-FFF2-40B4-BE49-F238E27FC236}">
                    <a16:creationId xmlns:a16="http://schemas.microsoft.com/office/drawing/2014/main" id="{70AB17E0-689D-B345-A155-6D1050E23A29}"/>
                  </a:ext>
                </a:extLst>
              </p:cNvPr>
              <p:cNvSpPr txBox="1"/>
              <p:nvPr/>
            </p:nvSpPr>
            <p:spPr>
              <a:xfrm flipH="1">
                <a:off x="8303586" y="2792156"/>
                <a:ext cx="655260" cy="382680"/>
              </a:xfrm>
              <a:prstGeom prst="rect">
                <a:avLst/>
              </a:prstGeom>
              <a:noFill/>
              <a:ln>
                <a:noFill/>
              </a:ln>
            </p:spPr>
            <p:txBody>
              <a:bodyPr wrap="square" rtlCol="0">
                <a:spAutoFit/>
              </a:bodyPr>
              <a:lstStyle/>
              <a:p>
                <a:r>
                  <a:rPr lang="en-IN" sz="600" b="1" dirty="0">
                    <a:latin typeface="+mn-lt"/>
                  </a:rPr>
                  <a:t>4.5</a:t>
                </a:r>
              </a:p>
            </p:txBody>
          </p:sp>
          <p:sp>
            <p:nvSpPr>
              <p:cNvPr id="451" name="TextBox 450">
                <a:extLst>
                  <a:ext uri="{FF2B5EF4-FFF2-40B4-BE49-F238E27FC236}">
                    <a16:creationId xmlns:a16="http://schemas.microsoft.com/office/drawing/2014/main" id="{264AE9CC-5CC1-9F43-9D0D-F878CB13FD87}"/>
                  </a:ext>
                </a:extLst>
              </p:cNvPr>
              <p:cNvSpPr txBox="1"/>
              <p:nvPr/>
            </p:nvSpPr>
            <p:spPr>
              <a:xfrm flipH="1">
                <a:off x="8303584" y="2998282"/>
                <a:ext cx="669892" cy="382680"/>
              </a:xfrm>
              <a:prstGeom prst="rect">
                <a:avLst/>
              </a:prstGeom>
              <a:noFill/>
              <a:ln>
                <a:noFill/>
              </a:ln>
            </p:spPr>
            <p:txBody>
              <a:bodyPr wrap="square" rtlCol="0">
                <a:spAutoFit/>
              </a:bodyPr>
              <a:lstStyle/>
              <a:p>
                <a:r>
                  <a:rPr lang="en-IN" sz="600" b="1" dirty="0">
                    <a:latin typeface="+mn-lt"/>
                  </a:rPr>
                  <a:t>4.1</a:t>
                </a:r>
              </a:p>
            </p:txBody>
          </p:sp>
        </p:grpSp>
        <p:grpSp>
          <p:nvGrpSpPr>
            <p:cNvPr id="412" name="Group 411">
              <a:extLst>
                <a:ext uri="{FF2B5EF4-FFF2-40B4-BE49-F238E27FC236}">
                  <a16:creationId xmlns:a16="http://schemas.microsoft.com/office/drawing/2014/main" id="{A63C8167-AB3D-CB43-B731-2BAE3547D16F}"/>
                </a:ext>
              </a:extLst>
            </p:cNvPr>
            <p:cNvGrpSpPr/>
            <p:nvPr/>
          </p:nvGrpSpPr>
          <p:grpSpPr>
            <a:xfrm>
              <a:off x="8944357" y="2525602"/>
              <a:ext cx="1145951" cy="2696877"/>
              <a:chOff x="8930005" y="2525602"/>
              <a:chExt cx="1145951" cy="2696877"/>
            </a:xfrm>
          </p:grpSpPr>
          <p:sp>
            <p:nvSpPr>
              <p:cNvPr id="438" name="TextBox 437">
                <a:extLst>
                  <a:ext uri="{FF2B5EF4-FFF2-40B4-BE49-F238E27FC236}">
                    <a16:creationId xmlns:a16="http://schemas.microsoft.com/office/drawing/2014/main" id="{1DC1D3A2-CE9D-3345-8731-A4F07EB70239}"/>
                  </a:ext>
                </a:extLst>
              </p:cNvPr>
              <p:cNvSpPr txBox="1"/>
              <p:nvPr/>
            </p:nvSpPr>
            <p:spPr>
              <a:xfrm>
                <a:off x="8930005" y="5031139"/>
                <a:ext cx="1026787" cy="191340"/>
              </a:xfrm>
              <a:prstGeom prst="rect">
                <a:avLst/>
              </a:prstGeom>
              <a:noFill/>
            </p:spPr>
            <p:txBody>
              <a:bodyPr wrap="square" lIns="0" tIns="0" rIns="0" bIns="0" rtlCol="0" anchor="t" anchorCtr="0">
                <a:spAutoFit/>
              </a:bodyPr>
              <a:lstStyle/>
              <a:p>
                <a:pPr algn="ctr">
                  <a:spcBef>
                    <a:spcPts val="0"/>
                  </a:spcBef>
                  <a:spcAft>
                    <a:spcPts val="0"/>
                  </a:spcAft>
                </a:pPr>
                <a:r>
                  <a:rPr lang="en-US" sz="600" dirty="0">
                    <a:latin typeface="+mn-lt"/>
                  </a:rPr>
                  <a:t>Proactiveness</a:t>
                </a:r>
              </a:p>
            </p:txBody>
          </p:sp>
          <p:sp>
            <p:nvSpPr>
              <p:cNvPr id="439" name="Arrow: Pentagon 63">
                <a:extLst>
                  <a:ext uri="{FF2B5EF4-FFF2-40B4-BE49-F238E27FC236}">
                    <a16:creationId xmlns:a16="http://schemas.microsoft.com/office/drawing/2014/main" id="{52B9660A-5A75-644E-A1B3-9AE4B96F2303}"/>
                  </a:ext>
                </a:extLst>
              </p:cNvPr>
              <p:cNvSpPr/>
              <p:nvPr/>
            </p:nvSpPr>
            <p:spPr bwMode="auto">
              <a:xfrm rot="16200000">
                <a:off x="8149665" y="3751987"/>
                <a:ext cx="2446751" cy="18288"/>
              </a:xfrm>
              <a:prstGeom prst="homePlate">
                <a:avLst>
                  <a:gd name="adj" fmla="val 0"/>
                </a:avLst>
              </a:prstGeom>
              <a:solidFill>
                <a:schemeClr val="accent4">
                  <a:lumMod val="50000"/>
                </a:schemeClr>
              </a:solidFill>
              <a:ln w="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600" b="0" i="0" u="none" strike="noStrike" cap="none" normalizeH="0" baseline="0">
                  <a:ln>
                    <a:noFill/>
                  </a:ln>
                  <a:solidFill>
                    <a:schemeClr val="tx1"/>
                  </a:solidFill>
                  <a:effectLst/>
                  <a:latin typeface="+mn-lt"/>
                </a:endParaRPr>
              </a:p>
            </p:txBody>
          </p:sp>
          <p:sp>
            <p:nvSpPr>
              <p:cNvPr id="440" name="Rectangle 439">
                <a:extLst>
                  <a:ext uri="{FF2B5EF4-FFF2-40B4-BE49-F238E27FC236}">
                    <a16:creationId xmlns:a16="http://schemas.microsoft.com/office/drawing/2014/main" id="{427BFECB-DB11-FF48-925A-2A04A1C06893}"/>
                  </a:ext>
                </a:extLst>
              </p:cNvPr>
              <p:cNvSpPr/>
              <p:nvPr/>
            </p:nvSpPr>
            <p:spPr bwMode="auto">
              <a:xfrm>
                <a:off x="9267397" y="2525602"/>
                <a:ext cx="227618" cy="18288"/>
              </a:xfrm>
              <a:prstGeom prst="rect">
                <a:avLst/>
              </a:prstGeom>
              <a:solidFill>
                <a:schemeClr val="accent4">
                  <a:lumMod val="5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600" b="0" i="0" u="none" strike="noStrike" cap="none" normalizeH="0" baseline="0">
                  <a:ln>
                    <a:noFill/>
                  </a:ln>
                  <a:solidFill>
                    <a:schemeClr val="tx1"/>
                  </a:solidFill>
                  <a:effectLst/>
                  <a:latin typeface="+mn-lt"/>
                </a:endParaRPr>
              </a:p>
            </p:txBody>
          </p:sp>
          <p:sp>
            <p:nvSpPr>
              <p:cNvPr id="441" name="Oval 440">
                <a:extLst>
                  <a:ext uri="{FF2B5EF4-FFF2-40B4-BE49-F238E27FC236}">
                    <a16:creationId xmlns:a16="http://schemas.microsoft.com/office/drawing/2014/main" id="{B92D35CD-3A02-DD4C-A2D5-01466B9123EF}"/>
                  </a:ext>
                </a:extLst>
              </p:cNvPr>
              <p:cNvSpPr>
                <a:spLocks noChangeAspect="1"/>
              </p:cNvSpPr>
              <p:nvPr/>
            </p:nvSpPr>
            <p:spPr bwMode="auto">
              <a:xfrm>
                <a:off x="9297147" y="3020999"/>
                <a:ext cx="182880" cy="182880"/>
              </a:xfrm>
              <a:prstGeom prst="ellipse">
                <a:avLst/>
              </a:prstGeom>
              <a:solidFill>
                <a:schemeClr val="accent5"/>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42" name="Oval 441">
                <a:extLst>
                  <a:ext uri="{FF2B5EF4-FFF2-40B4-BE49-F238E27FC236}">
                    <a16:creationId xmlns:a16="http://schemas.microsoft.com/office/drawing/2014/main" id="{2E6A1616-8A4D-064F-99BD-FF873A131ADA}"/>
                  </a:ext>
                </a:extLst>
              </p:cNvPr>
              <p:cNvSpPr>
                <a:spLocks noChangeAspect="1"/>
              </p:cNvSpPr>
              <p:nvPr/>
            </p:nvSpPr>
            <p:spPr bwMode="auto">
              <a:xfrm>
                <a:off x="9283805" y="2752518"/>
                <a:ext cx="182880" cy="182880"/>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43" name="TextBox 442">
                <a:extLst>
                  <a:ext uri="{FF2B5EF4-FFF2-40B4-BE49-F238E27FC236}">
                    <a16:creationId xmlns:a16="http://schemas.microsoft.com/office/drawing/2014/main" id="{DC3CCFCF-9FF9-8549-A30D-04F314EEB84B}"/>
                  </a:ext>
                </a:extLst>
              </p:cNvPr>
              <p:cNvSpPr txBox="1"/>
              <p:nvPr/>
            </p:nvSpPr>
            <p:spPr>
              <a:xfrm flipH="1">
                <a:off x="9406064" y="3003464"/>
                <a:ext cx="669892" cy="382680"/>
              </a:xfrm>
              <a:prstGeom prst="rect">
                <a:avLst/>
              </a:prstGeom>
              <a:noFill/>
              <a:ln>
                <a:noFill/>
              </a:ln>
            </p:spPr>
            <p:txBody>
              <a:bodyPr wrap="square" rtlCol="0">
                <a:spAutoFit/>
              </a:bodyPr>
              <a:lstStyle/>
              <a:p>
                <a:r>
                  <a:rPr lang="en-IN" sz="600" b="1" dirty="0">
                    <a:latin typeface="+mn-lt"/>
                  </a:rPr>
                  <a:t>4.1</a:t>
                </a:r>
              </a:p>
            </p:txBody>
          </p:sp>
          <p:sp>
            <p:nvSpPr>
              <p:cNvPr id="444" name="TextBox 443">
                <a:extLst>
                  <a:ext uri="{FF2B5EF4-FFF2-40B4-BE49-F238E27FC236}">
                    <a16:creationId xmlns:a16="http://schemas.microsoft.com/office/drawing/2014/main" id="{92E89EAE-5439-984E-BEE7-D6956D7C5BE1}"/>
                  </a:ext>
                </a:extLst>
              </p:cNvPr>
              <p:cNvSpPr txBox="1"/>
              <p:nvPr/>
            </p:nvSpPr>
            <p:spPr>
              <a:xfrm flipH="1">
                <a:off x="9406062" y="2700084"/>
                <a:ext cx="669892" cy="382680"/>
              </a:xfrm>
              <a:prstGeom prst="rect">
                <a:avLst/>
              </a:prstGeom>
              <a:noFill/>
              <a:ln>
                <a:noFill/>
              </a:ln>
            </p:spPr>
            <p:txBody>
              <a:bodyPr wrap="square" rtlCol="0">
                <a:spAutoFit/>
              </a:bodyPr>
              <a:lstStyle/>
              <a:p>
                <a:r>
                  <a:rPr lang="en-IN" sz="600" b="1" dirty="0">
                    <a:latin typeface="+mn-lt"/>
                  </a:rPr>
                  <a:t>4.7</a:t>
                </a:r>
              </a:p>
            </p:txBody>
          </p:sp>
        </p:grpSp>
        <p:grpSp>
          <p:nvGrpSpPr>
            <p:cNvPr id="413" name="Group 412">
              <a:extLst>
                <a:ext uri="{FF2B5EF4-FFF2-40B4-BE49-F238E27FC236}">
                  <a16:creationId xmlns:a16="http://schemas.microsoft.com/office/drawing/2014/main" id="{75672C1A-0BC9-AE4B-AF52-747CB724599D}"/>
                </a:ext>
              </a:extLst>
            </p:cNvPr>
            <p:cNvGrpSpPr/>
            <p:nvPr/>
          </p:nvGrpSpPr>
          <p:grpSpPr>
            <a:xfrm>
              <a:off x="10005197" y="2535955"/>
              <a:ext cx="1241979" cy="3069203"/>
              <a:chOff x="10008002" y="2535955"/>
              <a:chExt cx="1241979" cy="3069203"/>
            </a:xfrm>
          </p:grpSpPr>
          <p:sp>
            <p:nvSpPr>
              <p:cNvPr id="431" name="TextBox 430">
                <a:extLst>
                  <a:ext uri="{FF2B5EF4-FFF2-40B4-BE49-F238E27FC236}">
                    <a16:creationId xmlns:a16="http://schemas.microsoft.com/office/drawing/2014/main" id="{93E5A874-B61B-5042-B309-CEE54DC68665}"/>
                  </a:ext>
                </a:extLst>
              </p:cNvPr>
              <p:cNvSpPr txBox="1"/>
              <p:nvPr/>
            </p:nvSpPr>
            <p:spPr>
              <a:xfrm>
                <a:off x="10008002" y="5031138"/>
                <a:ext cx="1034886" cy="574020"/>
              </a:xfrm>
              <a:prstGeom prst="rect">
                <a:avLst/>
              </a:prstGeom>
              <a:noFill/>
            </p:spPr>
            <p:txBody>
              <a:bodyPr wrap="square" lIns="0" tIns="0" rIns="0" bIns="0" rtlCol="0" anchor="t" anchorCtr="0">
                <a:spAutoFit/>
              </a:bodyPr>
              <a:lstStyle/>
              <a:p>
                <a:pPr algn="ctr">
                  <a:spcBef>
                    <a:spcPts val="0"/>
                  </a:spcBef>
                  <a:spcAft>
                    <a:spcPts val="0"/>
                  </a:spcAft>
                </a:pPr>
                <a:r>
                  <a:rPr lang="en-US" sz="600" dirty="0">
                    <a:latin typeface="+mn-lt"/>
                  </a:rPr>
                  <a:t>Next-generation technologies</a:t>
                </a:r>
              </a:p>
            </p:txBody>
          </p:sp>
          <p:sp>
            <p:nvSpPr>
              <p:cNvPr id="432" name="Arrow: Pentagon 64">
                <a:extLst>
                  <a:ext uri="{FF2B5EF4-FFF2-40B4-BE49-F238E27FC236}">
                    <a16:creationId xmlns:a16="http://schemas.microsoft.com/office/drawing/2014/main" id="{4EF95E48-867F-7741-9251-F8D78591C870}"/>
                  </a:ext>
                </a:extLst>
              </p:cNvPr>
              <p:cNvSpPr/>
              <p:nvPr/>
            </p:nvSpPr>
            <p:spPr bwMode="auto">
              <a:xfrm rot="16200000">
                <a:off x="9300215" y="3756378"/>
                <a:ext cx="2446751" cy="18288"/>
              </a:xfrm>
              <a:prstGeom prst="homePlate">
                <a:avLst>
                  <a:gd name="adj" fmla="val 0"/>
                </a:avLst>
              </a:prstGeom>
              <a:solidFill>
                <a:schemeClr val="accent4">
                  <a:lumMod val="50000"/>
                </a:schemeClr>
              </a:solidFill>
              <a:ln w="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600" b="0" i="0" u="none" strike="noStrike" cap="none" normalizeH="0" baseline="0">
                  <a:ln>
                    <a:noFill/>
                  </a:ln>
                  <a:solidFill>
                    <a:schemeClr val="tx1"/>
                  </a:solidFill>
                  <a:effectLst/>
                  <a:latin typeface="+mn-lt"/>
                </a:endParaRPr>
              </a:p>
            </p:txBody>
          </p:sp>
          <p:sp>
            <p:nvSpPr>
              <p:cNvPr id="433" name="Rectangle 432">
                <a:extLst>
                  <a:ext uri="{FF2B5EF4-FFF2-40B4-BE49-F238E27FC236}">
                    <a16:creationId xmlns:a16="http://schemas.microsoft.com/office/drawing/2014/main" id="{FAC3E10C-A147-1B4B-A923-DDD85FD67DA2}"/>
                  </a:ext>
                </a:extLst>
              </p:cNvPr>
              <p:cNvSpPr/>
              <p:nvPr/>
            </p:nvSpPr>
            <p:spPr bwMode="auto">
              <a:xfrm>
                <a:off x="10409459" y="2535955"/>
                <a:ext cx="227618" cy="18288"/>
              </a:xfrm>
              <a:prstGeom prst="rect">
                <a:avLst/>
              </a:prstGeom>
              <a:solidFill>
                <a:schemeClr val="accent4">
                  <a:lumMod val="5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600" b="0" i="0" u="none" strike="noStrike" cap="none" normalizeH="0" baseline="0">
                  <a:ln>
                    <a:noFill/>
                  </a:ln>
                  <a:solidFill>
                    <a:schemeClr val="tx1"/>
                  </a:solidFill>
                  <a:effectLst/>
                  <a:latin typeface="+mn-lt"/>
                </a:endParaRPr>
              </a:p>
            </p:txBody>
          </p:sp>
          <p:sp>
            <p:nvSpPr>
              <p:cNvPr id="434" name="Oval 433">
                <a:extLst>
                  <a:ext uri="{FF2B5EF4-FFF2-40B4-BE49-F238E27FC236}">
                    <a16:creationId xmlns:a16="http://schemas.microsoft.com/office/drawing/2014/main" id="{2C722544-554F-C644-8D17-9533907507BC}"/>
                  </a:ext>
                </a:extLst>
              </p:cNvPr>
              <p:cNvSpPr>
                <a:spLocks noChangeAspect="1"/>
              </p:cNvSpPr>
              <p:nvPr/>
            </p:nvSpPr>
            <p:spPr bwMode="auto">
              <a:xfrm>
                <a:off x="10432324" y="4008119"/>
                <a:ext cx="182880" cy="182880"/>
              </a:xfrm>
              <a:prstGeom prst="ellipse">
                <a:avLst/>
              </a:prstGeom>
              <a:solidFill>
                <a:schemeClr val="accent5"/>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35" name="Oval 434">
                <a:extLst>
                  <a:ext uri="{FF2B5EF4-FFF2-40B4-BE49-F238E27FC236}">
                    <a16:creationId xmlns:a16="http://schemas.microsoft.com/office/drawing/2014/main" id="{45143657-EDD4-F34F-8A62-65A7AE8D3681}"/>
                  </a:ext>
                </a:extLst>
              </p:cNvPr>
              <p:cNvSpPr>
                <a:spLocks noChangeAspect="1"/>
              </p:cNvSpPr>
              <p:nvPr/>
            </p:nvSpPr>
            <p:spPr bwMode="auto">
              <a:xfrm>
                <a:off x="10437701" y="2841681"/>
                <a:ext cx="182880" cy="182880"/>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36" name="TextBox 435">
                <a:extLst>
                  <a:ext uri="{FF2B5EF4-FFF2-40B4-BE49-F238E27FC236}">
                    <a16:creationId xmlns:a16="http://schemas.microsoft.com/office/drawing/2014/main" id="{2C8EC859-DF5B-B546-B81C-613A704860F9}"/>
                  </a:ext>
                </a:extLst>
              </p:cNvPr>
              <p:cNvSpPr txBox="1"/>
              <p:nvPr/>
            </p:nvSpPr>
            <p:spPr>
              <a:xfrm flipH="1">
                <a:off x="10580088" y="2796225"/>
                <a:ext cx="669887" cy="382680"/>
              </a:xfrm>
              <a:prstGeom prst="rect">
                <a:avLst/>
              </a:prstGeom>
              <a:noFill/>
              <a:ln>
                <a:noFill/>
              </a:ln>
            </p:spPr>
            <p:txBody>
              <a:bodyPr wrap="square" rtlCol="0">
                <a:spAutoFit/>
              </a:bodyPr>
              <a:lstStyle/>
              <a:p>
                <a:r>
                  <a:rPr lang="en-IN" sz="600" b="1">
                    <a:latin typeface="+mn-lt"/>
                  </a:rPr>
                  <a:t>4.5</a:t>
                </a:r>
              </a:p>
            </p:txBody>
          </p:sp>
          <p:sp>
            <p:nvSpPr>
              <p:cNvPr id="437" name="TextBox 436">
                <a:extLst>
                  <a:ext uri="{FF2B5EF4-FFF2-40B4-BE49-F238E27FC236}">
                    <a16:creationId xmlns:a16="http://schemas.microsoft.com/office/drawing/2014/main" id="{F0D2B068-8F29-EA45-81D7-0659EFA8CF3B}"/>
                  </a:ext>
                </a:extLst>
              </p:cNvPr>
              <p:cNvSpPr txBox="1"/>
              <p:nvPr/>
            </p:nvSpPr>
            <p:spPr>
              <a:xfrm flipH="1">
                <a:off x="10580088" y="3977073"/>
                <a:ext cx="669893" cy="382680"/>
              </a:xfrm>
              <a:prstGeom prst="rect">
                <a:avLst/>
              </a:prstGeom>
              <a:noFill/>
              <a:ln>
                <a:noFill/>
              </a:ln>
            </p:spPr>
            <p:txBody>
              <a:bodyPr wrap="square" rtlCol="0">
                <a:spAutoFit/>
              </a:bodyPr>
              <a:lstStyle/>
              <a:p>
                <a:r>
                  <a:rPr lang="en-IN" sz="600" b="1">
                    <a:latin typeface="+mn-lt"/>
                  </a:rPr>
                  <a:t>2.5</a:t>
                </a:r>
              </a:p>
            </p:txBody>
          </p:sp>
        </p:grpSp>
        <p:grpSp>
          <p:nvGrpSpPr>
            <p:cNvPr id="414" name="Group 413">
              <a:extLst>
                <a:ext uri="{FF2B5EF4-FFF2-40B4-BE49-F238E27FC236}">
                  <a16:creationId xmlns:a16="http://schemas.microsoft.com/office/drawing/2014/main" id="{E2014FAB-4ED2-904E-B402-398D9A970C5D}"/>
                </a:ext>
              </a:extLst>
            </p:cNvPr>
            <p:cNvGrpSpPr/>
            <p:nvPr/>
          </p:nvGrpSpPr>
          <p:grpSpPr>
            <a:xfrm>
              <a:off x="3426222" y="2533002"/>
              <a:ext cx="1151132" cy="2689477"/>
              <a:chOff x="3273333" y="2533002"/>
              <a:chExt cx="1151132" cy="2689477"/>
            </a:xfrm>
          </p:grpSpPr>
          <p:sp>
            <p:nvSpPr>
              <p:cNvPr id="423" name="TextBox 422">
                <a:extLst>
                  <a:ext uri="{FF2B5EF4-FFF2-40B4-BE49-F238E27FC236}">
                    <a16:creationId xmlns:a16="http://schemas.microsoft.com/office/drawing/2014/main" id="{7E5DFF3B-A255-8C42-A1A2-D157911C6713}"/>
                  </a:ext>
                </a:extLst>
              </p:cNvPr>
              <p:cNvSpPr txBox="1"/>
              <p:nvPr/>
            </p:nvSpPr>
            <p:spPr>
              <a:xfrm>
                <a:off x="3273333" y="5031139"/>
                <a:ext cx="808166" cy="191340"/>
              </a:xfrm>
              <a:prstGeom prst="rect">
                <a:avLst/>
              </a:prstGeom>
              <a:noFill/>
            </p:spPr>
            <p:txBody>
              <a:bodyPr wrap="square" lIns="0" tIns="0" rIns="0" bIns="0" rtlCol="0" anchor="t" anchorCtr="0">
                <a:spAutoFit/>
              </a:bodyPr>
              <a:lstStyle/>
              <a:p>
                <a:pPr algn="ctr">
                  <a:spcBef>
                    <a:spcPts val="0"/>
                  </a:spcBef>
                  <a:spcAft>
                    <a:spcPts val="0"/>
                  </a:spcAft>
                </a:pPr>
                <a:r>
                  <a:rPr lang="pt-BR" sz="600">
                    <a:latin typeface="+mn-lt"/>
                  </a:rPr>
                  <a:t>Feature set</a:t>
                </a:r>
              </a:p>
            </p:txBody>
          </p:sp>
          <p:sp>
            <p:nvSpPr>
              <p:cNvPr id="424" name="Rectangle 423">
                <a:extLst>
                  <a:ext uri="{FF2B5EF4-FFF2-40B4-BE49-F238E27FC236}">
                    <a16:creationId xmlns:a16="http://schemas.microsoft.com/office/drawing/2014/main" id="{D4656B83-BDE5-494C-86A4-6648224EAB5D}"/>
                  </a:ext>
                </a:extLst>
              </p:cNvPr>
              <p:cNvSpPr/>
              <p:nvPr/>
            </p:nvSpPr>
            <p:spPr bwMode="auto">
              <a:xfrm>
                <a:off x="3556157" y="2533002"/>
                <a:ext cx="227618" cy="18288"/>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600" b="0" i="0" u="none" strike="noStrike" cap="none" normalizeH="0" baseline="0">
                  <a:ln>
                    <a:noFill/>
                  </a:ln>
                  <a:solidFill>
                    <a:schemeClr val="tx1"/>
                  </a:solidFill>
                  <a:effectLst/>
                  <a:latin typeface="+mn-lt"/>
                </a:endParaRPr>
              </a:p>
            </p:txBody>
          </p:sp>
          <p:sp>
            <p:nvSpPr>
              <p:cNvPr id="425" name="Arrow: Pentagon 11">
                <a:extLst>
                  <a:ext uri="{FF2B5EF4-FFF2-40B4-BE49-F238E27FC236}">
                    <a16:creationId xmlns:a16="http://schemas.microsoft.com/office/drawing/2014/main" id="{749922F4-3379-BA45-9EA5-73255C8E387C}"/>
                  </a:ext>
                </a:extLst>
              </p:cNvPr>
              <p:cNvSpPr/>
              <p:nvPr/>
            </p:nvSpPr>
            <p:spPr bwMode="auto">
              <a:xfrm rot="16200000">
                <a:off x="2447692" y="3747241"/>
                <a:ext cx="2446744" cy="18288"/>
              </a:xfrm>
              <a:prstGeom prst="homePlate">
                <a:avLst>
                  <a:gd name="adj" fmla="val 0"/>
                </a:avLst>
              </a:prstGeom>
              <a:solidFill>
                <a:schemeClr val="accent4">
                  <a:lumMod val="50000"/>
                </a:schemeClr>
              </a:solidFill>
              <a:ln w="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600" b="0" i="0" u="none" strike="noStrike" cap="none" normalizeH="0" baseline="0">
                  <a:ln>
                    <a:noFill/>
                  </a:ln>
                  <a:solidFill>
                    <a:schemeClr val="tx1"/>
                  </a:solidFill>
                  <a:effectLst/>
                  <a:latin typeface="+mn-lt"/>
                </a:endParaRPr>
              </a:p>
            </p:txBody>
          </p:sp>
          <p:sp>
            <p:nvSpPr>
              <p:cNvPr id="426" name="Oval 425">
                <a:extLst>
                  <a:ext uri="{FF2B5EF4-FFF2-40B4-BE49-F238E27FC236}">
                    <a16:creationId xmlns:a16="http://schemas.microsoft.com/office/drawing/2014/main" id="{C8FDE998-FF9B-6F45-B630-CE16AD88F641}"/>
                  </a:ext>
                </a:extLst>
              </p:cNvPr>
              <p:cNvSpPr>
                <a:spLocks noChangeAspect="1"/>
              </p:cNvSpPr>
              <p:nvPr/>
            </p:nvSpPr>
            <p:spPr bwMode="auto">
              <a:xfrm>
                <a:off x="3569704" y="3367455"/>
                <a:ext cx="182880" cy="182880"/>
              </a:xfrm>
              <a:prstGeom prst="ellipse">
                <a:avLst/>
              </a:prstGeom>
              <a:solidFill>
                <a:schemeClr val="accent5"/>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27" name="Oval 426">
                <a:extLst>
                  <a:ext uri="{FF2B5EF4-FFF2-40B4-BE49-F238E27FC236}">
                    <a16:creationId xmlns:a16="http://schemas.microsoft.com/office/drawing/2014/main" id="{A3535B11-E97B-FA46-84CB-A9CB185B0AE9}"/>
                  </a:ext>
                </a:extLst>
              </p:cNvPr>
              <p:cNvSpPr>
                <a:spLocks noChangeAspect="1"/>
              </p:cNvSpPr>
              <p:nvPr/>
            </p:nvSpPr>
            <p:spPr bwMode="auto">
              <a:xfrm>
                <a:off x="3588839" y="2848061"/>
                <a:ext cx="182880" cy="182880"/>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28" name="TextBox 427">
                <a:extLst>
                  <a:ext uri="{FF2B5EF4-FFF2-40B4-BE49-F238E27FC236}">
                    <a16:creationId xmlns:a16="http://schemas.microsoft.com/office/drawing/2014/main" id="{FB92D29F-690A-5B49-8931-DB6C911C97FF}"/>
                  </a:ext>
                </a:extLst>
              </p:cNvPr>
              <p:cNvSpPr txBox="1"/>
              <p:nvPr/>
            </p:nvSpPr>
            <p:spPr>
              <a:xfrm flipH="1">
                <a:off x="3754578" y="2807032"/>
                <a:ext cx="669887" cy="382680"/>
              </a:xfrm>
              <a:prstGeom prst="rect">
                <a:avLst/>
              </a:prstGeom>
              <a:noFill/>
              <a:ln>
                <a:noFill/>
              </a:ln>
            </p:spPr>
            <p:txBody>
              <a:bodyPr wrap="square" rtlCol="0">
                <a:spAutoFit/>
              </a:bodyPr>
              <a:lstStyle/>
              <a:p>
                <a:r>
                  <a:rPr lang="en-IN" sz="600" b="1" dirty="0">
                    <a:latin typeface="+mn-lt"/>
                  </a:rPr>
                  <a:t>4.5</a:t>
                </a:r>
              </a:p>
            </p:txBody>
          </p:sp>
          <p:sp>
            <p:nvSpPr>
              <p:cNvPr id="429" name="TextBox 428">
                <a:extLst>
                  <a:ext uri="{FF2B5EF4-FFF2-40B4-BE49-F238E27FC236}">
                    <a16:creationId xmlns:a16="http://schemas.microsoft.com/office/drawing/2014/main" id="{9D509AC5-BB23-404A-BF61-9EFA3F05D67C}"/>
                  </a:ext>
                </a:extLst>
              </p:cNvPr>
              <p:cNvSpPr txBox="1"/>
              <p:nvPr/>
            </p:nvSpPr>
            <p:spPr>
              <a:xfrm flipH="1">
                <a:off x="3754690" y="3350795"/>
                <a:ext cx="376614" cy="765360"/>
              </a:xfrm>
              <a:prstGeom prst="rect">
                <a:avLst/>
              </a:prstGeom>
              <a:noFill/>
              <a:ln>
                <a:noFill/>
              </a:ln>
            </p:spPr>
            <p:txBody>
              <a:bodyPr wrap="square" rtlCol="0">
                <a:spAutoFit/>
              </a:bodyPr>
              <a:lstStyle/>
              <a:p>
                <a:r>
                  <a:rPr lang="en-IN" sz="600">
                    <a:latin typeface="+mn-lt"/>
                  </a:rPr>
                  <a:t>3.7</a:t>
                </a:r>
              </a:p>
            </p:txBody>
          </p:sp>
          <p:sp>
            <p:nvSpPr>
              <p:cNvPr id="430" name="TextBox 429">
                <a:extLst>
                  <a:ext uri="{FF2B5EF4-FFF2-40B4-BE49-F238E27FC236}">
                    <a16:creationId xmlns:a16="http://schemas.microsoft.com/office/drawing/2014/main" id="{F7B95977-14D8-CD4C-AA15-A7ABDC64B9E3}"/>
                  </a:ext>
                </a:extLst>
              </p:cNvPr>
              <p:cNvSpPr txBox="1"/>
              <p:nvPr/>
            </p:nvSpPr>
            <p:spPr>
              <a:xfrm flipH="1">
                <a:off x="3754576" y="3349990"/>
                <a:ext cx="669889" cy="382680"/>
              </a:xfrm>
              <a:prstGeom prst="rect">
                <a:avLst/>
              </a:prstGeom>
              <a:noFill/>
              <a:ln>
                <a:noFill/>
              </a:ln>
            </p:spPr>
            <p:txBody>
              <a:bodyPr wrap="square" rtlCol="0">
                <a:spAutoFit/>
              </a:bodyPr>
              <a:lstStyle/>
              <a:p>
                <a:r>
                  <a:rPr lang="en-IN" sz="600" b="1" dirty="0">
                    <a:latin typeface="+mn-lt"/>
                  </a:rPr>
                  <a:t>3.7</a:t>
                </a:r>
              </a:p>
            </p:txBody>
          </p:sp>
        </p:grpSp>
        <p:grpSp>
          <p:nvGrpSpPr>
            <p:cNvPr id="415" name="Group 414">
              <a:extLst>
                <a:ext uri="{FF2B5EF4-FFF2-40B4-BE49-F238E27FC236}">
                  <a16:creationId xmlns:a16="http://schemas.microsoft.com/office/drawing/2014/main" id="{E2996C73-DD5B-564A-B6A9-07E4C826AC1E}"/>
                </a:ext>
              </a:extLst>
            </p:cNvPr>
            <p:cNvGrpSpPr/>
            <p:nvPr/>
          </p:nvGrpSpPr>
          <p:grpSpPr>
            <a:xfrm>
              <a:off x="11214262" y="2535956"/>
              <a:ext cx="1002642" cy="2877864"/>
              <a:chOff x="11312661" y="2535956"/>
              <a:chExt cx="1002642" cy="2877864"/>
            </a:xfrm>
          </p:grpSpPr>
          <p:sp>
            <p:nvSpPr>
              <p:cNvPr id="416" name="TextBox 415">
                <a:extLst>
                  <a:ext uri="{FF2B5EF4-FFF2-40B4-BE49-F238E27FC236}">
                    <a16:creationId xmlns:a16="http://schemas.microsoft.com/office/drawing/2014/main" id="{34B9D88A-6475-8545-A726-4DD15A34DB41}"/>
                  </a:ext>
                </a:extLst>
              </p:cNvPr>
              <p:cNvSpPr txBox="1"/>
              <p:nvPr/>
            </p:nvSpPr>
            <p:spPr>
              <a:xfrm>
                <a:off x="11312661" y="5031140"/>
                <a:ext cx="819925" cy="382680"/>
              </a:xfrm>
              <a:prstGeom prst="rect">
                <a:avLst/>
              </a:prstGeom>
              <a:noFill/>
            </p:spPr>
            <p:txBody>
              <a:bodyPr wrap="square" lIns="0" tIns="0" rIns="0" bIns="0" rtlCol="0" anchor="t" anchorCtr="0">
                <a:spAutoFit/>
              </a:bodyPr>
              <a:lstStyle/>
              <a:p>
                <a:pPr algn="ctr">
                  <a:spcBef>
                    <a:spcPts val="0"/>
                  </a:spcBef>
                  <a:spcAft>
                    <a:spcPts val="0"/>
                  </a:spcAft>
                </a:pPr>
                <a:r>
                  <a:rPr lang="en-US" sz="600" dirty="0">
                    <a:latin typeface="+mn-lt"/>
                  </a:rPr>
                  <a:t>COVID-19 response</a:t>
                </a:r>
              </a:p>
            </p:txBody>
          </p:sp>
          <p:sp>
            <p:nvSpPr>
              <p:cNvPr id="417" name="Arrow: Pentagon 89">
                <a:extLst>
                  <a:ext uri="{FF2B5EF4-FFF2-40B4-BE49-F238E27FC236}">
                    <a16:creationId xmlns:a16="http://schemas.microsoft.com/office/drawing/2014/main" id="{8C2B9096-DF74-7F47-9888-68B08A232731}"/>
                  </a:ext>
                </a:extLst>
              </p:cNvPr>
              <p:cNvSpPr/>
              <p:nvPr/>
            </p:nvSpPr>
            <p:spPr bwMode="auto">
              <a:xfrm rot="16200000">
                <a:off x="10440685" y="3756379"/>
                <a:ext cx="2446751" cy="18288"/>
              </a:xfrm>
              <a:prstGeom prst="homePlate">
                <a:avLst>
                  <a:gd name="adj" fmla="val 0"/>
                </a:avLst>
              </a:prstGeom>
              <a:solidFill>
                <a:schemeClr val="accent4">
                  <a:lumMod val="50000"/>
                </a:schemeClr>
              </a:solidFill>
              <a:ln w="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600" b="0" i="0" u="none" strike="noStrike" cap="none" normalizeH="0" baseline="0">
                  <a:ln>
                    <a:noFill/>
                  </a:ln>
                  <a:solidFill>
                    <a:schemeClr val="tx1"/>
                  </a:solidFill>
                  <a:effectLst/>
                  <a:latin typeface="+mn-lt"/>
                </a:endParaRPr>
              </a:p>
            </p:txBody>
          </p:sp>
          <p:sp>
            <p:nvSpPr>
              <p:cNvPr id="418" name="Rectangle 417">
                <a:extLst>
                  <a:ext uri="{FF2B5EF4-FFF2-40B4-BE49-F238E27FC236}">
                    <a16:creationId xmlns:a16="http://schemas.microsoft.com/office/drawing/2014/main" id="{27B8E724-E80A-534A-87FB-BA18930096A3}"/>
                  </a:ext>
                </a:extLst>
              </p:cNvPr>
              <p:cNvSpPr/>
              <p:nvPr/>
            </p:nvSpPr>
            <p:spPr bwMode="auto">
              <a:xfrm>
                <a:off x="11549929" y="2535956"/>
                <a:ext cx="227618" cy="18288"/>
              </a:xfrm>
              <a:prstGeom prst="rect">
                <a:avLst/>
              </a:prstGeom>
              <a:solidFill>
                <a:schemeClr val="accent4">
                  <a:lumMod val="5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600" b="0" i="0" u="none" strike="noStrike" cap="none" normalizeH="0" baseline="0">
                  <a:ln>
                    <a:noFill/>
                  </a:ln>
                  <a:solidFill>
                    <a:schemeClr val="tx1"/>
                  </a:solidFill>
                  <a:effectLst/>
                  <a:latin typeface="+mn-lt"/>
                </a:endParaRPr>
              </a:p>
            </p:txBody>
          </p:sp>
          <p:sp>
            <p:nvSpPr>
              <p:cNvPr id="419" name="Oval 418">
                <a:extLst>
                  <a:ext uri="{FF2B5EF4-FFF2-40B4-BE49-F238E27FC236}">
                    <a16:creationId xmlns:a16="http://schemas.microsoft.com/office/drawing/2014/main" id="{47CB6E6E-3FB6-2944-AF81-5F91FC6F927B}"/>
                  </a:ext>
                </a:extLst>
              </p:cNvPr>
              <p:cNvSpPr>
                <a:spLocks noChangeAspect="1"/>
              </p:cNvSpPr>
              <p:nvPr/>
            </p:nvSpPr>
            <p:spPr bwMode="auto">
              <a:xfrm>
                <a:off x="11555195" y="3374257"/>
                <a:ext cx="182880" cy="182880"/>
              </a:xfrm>
              <a:prstGeom prst="ellipse">
                <a:avLst/>
              </a:prstGeom>
              <a:solidFill>
                <a:schemeClr val="accent5"/>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20" name="Oval 419">
                <a:extLst>
                  <a:ext uri="{FF2B5EF4-FFF2-40B4-BE49-F238E27FC236}">
                    <a16:creationId xmlns:a16="http://schemas.microsoft.com/office/drawing/2014/main" id="{988DACA1-AAB8-7B4C-A2C2-5EC16AEBA6D0}"/>
                  </a:ext>
                </a:extLst>
              </p:cNvPr>
              <p:cNvSpPr>
                <a:spLocks noChangeAspect="1"/>
              </p:cNvSpPr>
              <p:nvPr/>
            </p:nvSpPr>
            <p:spPr bwMode="auto">
              <a:xfrm>
                <a:off x="11573409" y="2665181"/>
                <a:ext cx="182880" cy="182880"/>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600" b="0" i="0" u="none" strike="noStrike" kern="1200" cap="none" spc="0" normalizeH="0" baseline="0" noProof="0">
                  <a:ln>
                    <a:noFill/>
                  </a:ln>
                  <a:solidFill>
                    <a:srgbClr val="00B050"/>
                  </a:solidFill>
                  <a:effectLst/>
                  <a:uLnTx/>
                  <a:uFillTx/>
                  <a:latin typeface="+mn-lt"/>
                  <a:ea typeface="+mn-ea"/>
                  <a:cs typeface="Arial" charset="0"/>
                </a:endParaRPr>
              </a:p>
            </p:txBody>
          </p:sp>
          <p:sp>
            <p:nvSpPr>
              <p:cNvPr id="421" name="TextBox 420">
                <a:extLst>
                  <a:ext uri="{FF2B5EF4-FFF2-40B4-BE49-F238E27FC236}">
                    <a16:creationId xmlns:a16="http://schemas.microsoft.com/office/drawing/2014/main" id="{A50FFFA9-35F1-0448-8130-660C87B943EC}"/>
                  </a:ext>
                </a:extLst>
              </p:cNvPr>
              <p:cNvSpPr txBox="1"/>
              <p:nvPr/>
            </p:nvSpPr>
            <p:spPr>
              <a:xfrm flipH="1">
                <a:off x="11707656" y="2648933"/>
                <a:ext cx="607647" cy="382680"/>
              </a:xfrm>
              <a:prstGeom prst="rect">
                <a:avLst/>
              </a:prstGeom>
              <a:noFill/>
              <a:ln>
                <a:noFill/>
              </a:ln>
            </p:spPr>
            <p:txBody>
              <a:bodyPr wrap="square" rtlCol="0">
                <a:spAutoFit/>
              </a:bodyPr>
              <a:lstStyle/>
              <a:p>
                <a:r>
                  <a:rPr lang="en-IN" sz="600" b="1" dirty="0">
                    <a:latin typeface="+mn-lt"/>
                  </a:rPr>
                  <a:t>4.9</a:t>
                </a:r>
              </a:p>
            </p:txBody>
          </p:sp>
          <p:sp>
            <p:nvSpPr>
              <p:cNvPr id="422" name="TextBox 421">
                <a:extLst>
                  <a:ext uri="{FF2B5EF4-FFF2-40B4-BE49-F238E27FC236}">
                    <a16:creationId xmlns:a16="http://schemas.microsoft.com/office/drawing/2014/main" id="{85081F6C-7774-B24B-BB31-E7A9E5A75252}"/>
                  </a:ext>
                </a:extLst>
              </p:cNvPr>
              <p:cNvSpPr txBox="1"/>
              <p:nvPr/>
            </p:nvSpPr>
            <p:spPr>
              <a:xfrm flipH="1">
                <a:off x="11707656" y="3343580"/>
                <a:ext cx="605205" cy="382680"/>
              </a:xfrm>
              <a:prstGeom prst="rect">
                <a:avLst/>
              </a:prstGeom>
              <a:noFill/>
              <a:ln>
                <a:noFill/>
              </a:ln>
            </p:spPr>
            <p:txBody>
              <a:bodyPr wrap="square" rtlCol="0">
                <a:spAutoFit/>
              </a:bodyPr>
              <a:lstStyle/>
              <a:p>
                <a:r>
                  <a:rPr lang="en-IN" sz="600" b="1">
                    <a:latin typeface="+mn-lt"/>
                  </a:rPr>
                  <a:t>3.7</a:t>
                </a:r>
              </a:p>
            </p:txBody>
          </p:sp>
        </p:grpSp>
      </p:grpSp>
      <p:grpSp>
        <p:nvGrpSpPr>
          <p:cNvPr id="492" name="Group 491">
            <a:extLst>
              <a:ext uri="{FF2B5EF4-FFF2-40B4-BE49-F238E27FC236}">
                <a16:creationId xmlns:a16="http://schemas.microsoft.com/office/drawing/2014/main" id="{E28EF670-8CBE-0B4A-BC80-553B16F5CCA6}"/>
              </a:ext>
            </a:extLst>
          </p:cNvPr>
          <p:cNvGrpSpPr/>
          <p:nvPr/>
        </p:nvGrpSpPr>
        <p:grpSpPr>
          <a:xfrm>
            <a:off x="6143978" y="4374628"/>
            <a:ext cx="1675813" cy="92333"/>
            <a:chOff x="403727" y="2267069"/>
            <a:chExt cx="3472756" cy="191340"/>
          </a:xfrm>
        </p:grpSpPr>
        <p:sp>
          <p:nvSpPr>
            <p:cNvPr id="494" name="Rectangle 493">
              <a:extLst>
                <a:ext uri="{FF2B5EF4-FFF2-40B4-BE49-F238E27FC236}">
                  <a16:creationId xmlns:a16="http://schemas.microsoft.com/office/drawing/2014/main" id="{935FC65E-18D5-A543-95A6-EE4AF6A35A25}"/>
                </a:ext>
              </a:extLst>
            </p:cNvPr>
            <p:cNvSpPr/>
            <p:nvPr/>
          </p:nvSpPr>
          <p:spPr>
            <a:xfrm>
              <a:off x="403727" y="2267069"/>
              <a:ext cx="1765981" cy="191340"/>
            </a:xfrm>
            <a:prstGeom prst="rect">
              <a:avLst/>
            </a:prstGeom>
          </p:spPr>
          <p:txBody>
            <a:bodyPr wrap="square" lIns="0" tIns="0" rIns="0" bIns="0">
              <a:spAutoFit/>
            </a:bodyPr>
            <a:lstStyle/>
            <a:p>
              <a:r>
                <a:rPr lang="en-US" sz="600" b="1" dirty="0">
                  <a:latin typeface="+mn-lt"/>
                </a:rPr>
                <a:t>Value-delivered score:</a:t>
              </a:r>
              <a:endParaRPr lang="en-IN" sz="600" b="1" dirty="0">
                <a:latin typeface="+mn-lt"/>
              </a:endParaRPr>
            </a:p>
          </p:txBody>
        </p:sp>
        <p:sp>
          <p:nvSpPr>
            <p:cNvPr id="495" name="TextBox 494">
              <a:extLst>
                <a:ext uri="{FF2B5EF4-FFF2-40B4-BE49-F238E27FC236}">
                  <a16:creationId xmlns:a16="http://schemas.microsoft.com/office/drawing/2014/main" id="{E6679A96-6B94-3C4E-B654-AACAD1F2792C}"/>
                </a:ext>
              </a:extLst>
            </p:cNvPr>
            <p:cNvSpPr txBox="1"/>
            <p:nvPr/>
          </p:nvSpPr>
          <p:spPr>
            <a:xfrm>
              <a:off x="3392344" y="2267069"/>
              <a:ext cx="484139" cy="191340"/>
            </a:xfrm>
            <a:prstGeom prst="rect">
              <a:avLst/>
            </a:prstGeom>
            <a:noFill/>
          </p:spPr>
          <p:txBody>
            <a:bodyPr wrap="square" lIns="0" tIns="0" rIns="0" bIns="0" rtlCol="0" anchor="ctr">
              <a:spAutoFit/>
            </a:bodyPr>
            <a:lstStyle/>
            <a:p>
              <a:pPr>
                <a:defRPr/>
              </a:pPr>
              <a:r>
                <a:rPr lang="en-US" sz="600" dirty="0">
                  <a:solidFill>
                    <a:srgbClr val="3F3F3F"/>
                  </a:solidFill>
                  <a:latin typeface="+mn-lt"/>
                </a:rPr>
                <a:t>Others</a:t>
              </a:r>
              <a:endParaRPr lang="en-IN" sz="600" dirty="0">
                <a:solidFill>
                  <a:srgbClr val="3F3F3F"/>
                </a:solidFill>
                <a:latin typeface="+mn-lt"/>
              </a:endParaRPr>
            </a:p>
          </p:txBody>
        </p:sp>
        <p:sp>
          <p:nvSpPr>
            <p:cNvPr id="496" name="TextBox 495">
              <a:extLst>
                <a:ext uri="{FF2B5EF4-FFF2-40B4-BE49-F238E27FC236}">
                  <a16:creationId xmlns:a16="http://schemas.microsoft.com/office/drawing/2014/main" id="{810B7668-81A3-A346-825A-DEE4A79291C0}"/>
                </a:ext>
              </a:extLst>
            </p:cNvPr>
            <p:cNvSpPr txBox="1"/>
            <p:nvPr/>
          </p:nvSpPr>
          <p:spPr>
            <a:xfrm>
              <a:off x="2131682" y="2267069"/>
              <a:ext cx="657168" cy="191340"/>
            </a:xfrm>
            <a:prstGeom prst="rect">
              <a:avLst/>
            </a:prstGeom>
            <a:noFill/>
          </p:spPr>
          <p:txBody>
            <a:bodyPr wrap="square" lIns="0" tIns="0" rIns="0" bIns="0" rtlCol="0" anchor="ctr">
              <a:spAutoFit/>
            </a:bodyPr>
            <a:lstStyle/>
            <a:p>
              <a:pPr>
                <a:defRPr/>
              </a:pPr>
              <a:r>
                <a:rPr lang="en-US" sz="600" dirty="0">
                  <a:solidFill>
                    <a:srgbClr val="3F3F3F"/>
                  </a:solidFill>
                  <a:latin typeface="+mn-lt"/>
                </a:rPr>
                <a:t>Leaders</a:t>
              </a:r>
              <a:endParaRPr lang="en-IN" sz="600" dirty="0">
                <a:solidFill>
                  <a:srgbClr val="3F3F3F"/>
                </a:solidFill>
                <a:latin typeface="+mn-lt"/>
              </a:endParaRPr>
            </a:p>
          </p:txBody>
        </p:sp>
      </p:grpSp>
      <p:grpSp>
        <p:nvGrpSpPr>
          <p:cNvPr id="4" name="Group 3">
            <a:extLst>
              <a:ext uri="{FF2B5EF4-FFF2-40B4-BE49-F238E27FC236}">
                <a16:creationId xmlns:a16="http://schemas.microsoft.com/office/drawing/2014/main" id="{CC272F91-749D-DE41-9CA2-E1FF0B186C69}"/>
              </a:ext>
            </a:extLst>
          </p:cNvPr>
          <p:cNvGrpSpPr/>
          <p:nvPr/>
        </p:nvGrpSpPr>
        <p:grpSpPr>
          <a:xfrm>
            <a:off x="9899201" y="4326014"/>
            <a:ext cx="1938695" cy="96052"/>
            <a:chOff x="10273044" y="4354713"/>
            <a:chExt cx="1938695" cy="96052"/>
          </a:xfrm>
        </p:grpSpPr>
        <p:grpSp>
          <p:nvGrpSpPr>
            <p:cNvPr id="499" name="Group 498">
              <a:extLst>
                <a:ext uri="{FF2B5EF4-FFF2-40B4-BE49-F238E27FC236}">
                  <a16:creationId xmlns:a16="http://schemas.microsoft.com/office/drawing/2014/main" id="{122DE5B9-7C31-5B4A-A2FF-CBE512993C49}"/>
                </a:ext>
              </a:extLst>
            </p:cNvPr>
            <p:cNvGrpSpPr/>
            <p:nvPr/>
          </p:nvGrpSpPr>
          <p:grpSpPr>
            <a:xfrm>
              <a:off x="10687966" y="4354723"/>
              <a:ext cx="1523773" cy="91440"/>
              <a:chOff x="8406714" y="1387445"/>
              <a:chExt cx="1133021" cy="91440"/>
            </a:xfrm>
          </p:grpSpPr>
          <p:sp>
            <p:nvSpPr>
              <p:cNvPr id="503" name="Oval 502">
                <a:extLst>
                  <a:ext uri="{FF2B5EF4-FFF2-40B4-BE49-F238E27FC236}">
                    <a16:creationId xmlns:a16="http://schemas.microsoft.com/office/drawing/2014/main" id="{9687BF2E-51D5-1A4E-8046-C366E860BF1C}"/>
                  </a:ext>
                </a:extLst>
              </p:cNvPr>
              <p:cNvSpPr/>
              <p:nvPr/>
            </p:nvSpPr>
            <p:spPr bwMode="auto">
              <a:xfrm>
                <a:off x="8406714" y="1387445"/>
                <a:ext cx="67991" cy="91440"/>
              </a:xfrm>
              <a:prstGeom prst="ellipse">
                <a:avLst/>
              </a:prstGeom>
              <a:solidFill>
                <a:schemeClr val="accent5"/>
              </a:solidFill>
              <a:ln w="317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500" b="0" i="0" u="none" strike="noStrike" kern="1200" cap="none" spc="0" normalizeH="0" baseline="0" noProof="0">
                  <a:ln>
                    <a:noFill/>
                  </a:ln>
                  <a:solidFill>
                    <a:srgbClr val="00B050"/>
                  </a:solidFill>
                  <a:effectLst/>
                  <a:uLnTx/>
                  <a:uFillTx/>
                  <a:latin typeface="+mn-lt"/>
                  <a:ea typeface="+mn-ea"/>
                  <a:cs typeface="Arial" charset="0"/>
                </a:endParaRPr>
              </a:p>
            </p:txBody>
          </p:sp>
          <p:sp>
            <p:nvSpPr>
              <p:cNvPr id="504" name="TextBox 503">
                <a:extLst>
                  <a:ext uri="{FF2B5EF4-FFF2-40B4-BE49-F238E27FC236}">
                    <a16:creationId xmlns:a16="http://schemas.microsoft.com/office/drawing/2014/main" id="{F34985F7-9847-5E4B-8A74-5E4EB0412119}"/>
                  </a:ext>
                </a:extLst>
              </p:cNvPr>
              <p:cNvSpPr txBox="1"/>
              <p:nvPr/>
            </p:nvSpPr>
            <p:spPr>
              <a:xfrm>
                <a:off x="8496258" y="1394693"/>
                <a:ext cx="1043477" cy="76944"/>
              </a:xfrm>
              <a:prstGeom prst="rect">
                <a:avLst/>
              </a:prstGeom>
              <a:noFill/>
            </p:spPr>
            <p:txBody>
              <a:bodyPr wrap="square" lIns="0" tIns="0" rIns="0" bIns="0" rtlCol="0" anchor="ctr">
                <a:spAutoFit/>
              </a:bodyPr>
              <a:lstStyle/>
              <a:p>
                <a:pPr>
                  <a:defRPr/>
                </a:pPr>
                <a:r>
                  <a:rPr lang="en-US" sz="500" dirty="0">
                    <a:solidFill>
                      <a:srgbClr val="3F3F3F"/>
                    </a:solidFill>
                    <a:latin typeface="+mn-lt"/>
                  </a:rPr>
                  <a:t>Others (includes Major Contenders and Aspirants)</a:t>
                </a:r>
                <a:endParaRPr lang="en-IN" sz="500" dirty="0">
                  <a:solidFill>
                    <a:srgbClr val="3F3F3F"/>
                  </a:solidFill>
                  <a:latin typeface="+mn-lt"/>
                </a:endParaRPr>
              </a:p>
            </p:txBody>
          </p:sp>
        </p:grpSp>
        <p:grpSp>
          <p:nvGrpSpPr>
            <p:cNvPr id="500" name="Group 499">
              <a:extLst>
                <a:ext uri="{FF2B5EF4-FFF2-40B4-BE49-F238E27FC236}">
                  <a16:creationId xmlns:a16="http://schemas.microsoft.com/office/drawing/2014/main" id="{F2C073CB-D7A6-8244-9E9B-85DCC58D523F}"/>
                </a:ext>
              </a:extLst>
            </p:cNvPr>
            <p:cNvGrpSpPr/>
            <p:nvPr/>
          </p:nvGrpSpPr>
          <p:grpSpPr>
            <a:xfrm>
              <a:off x="10273044" y="4354713"/>
              <a:ext cx="382992" cy="96052"/>
              <a:chOff x="8293021" y="1387435"/>
              <a:chExt cx="284778" cy="96052"/>
            </a:xfrm>
          </p:grpSpPr>
          <p:sp>
            <p:nvSpPr>
              <p:cNvPr id="501" name="Oval 500">
                <a:extLst>
                  <a:ext uri="{FF2B5EF4-FFF2-40B4-BE49-F238E27FC236}">
                    <a16:creationId xmlns:a16="http://schemas.microsoft.com/office/drawing/2014/main" id="{446CE302-ACED-8646-8BFD-48F4E64DA7BD}"/>
                  </a:ext>
                </a:extLst>
              </p:cNvPr>
              <p:cNvSpPr/>
              <p:nvPr/>
            </p:nvSpPr>
            <p:spPr bwMode="auto">
              <a:xfrm>
                <a:off x="8293021" y="1387435"/>
                <a:ext cx="67991" cy="91440"/>
              </a:xfrm>
              <a:prstGeom prst="ellipse">
                <a:avLst/>
              </a:prstGeom>
              <a:solidFill>
                <a:schemeClr val="accent2"/>
              </a:solidFill>
              <a:ln w="317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500" b="0" i="0" u="none" strike="noStrike" kern="1200" cap="none" spc="0" normalizeH="0" baseline="0" noProof="0">
                  <a:ln>
                    <a:noFill/>
                  </a:ln>
                  <a:solidFill>
                    <a:srgbClr val="00B050"/>
                  </a:solidFill>
                  <a:effectLst/>
                  <a:uLnTx/>
                  <a:uFillTx/>
                  <a:latin typeface="+mn-lt"/>
                  <a:ea typeface="+mn-ea"/>
                  <a:cs typeface="Arial" charset="0"/>
                </a:endParaRPr>
              </a:p>
            </p:txBody>
          </p:sp>
          <p:sp>
            <p:nvSpPr>
              <p:cNvPr id="502" name="TextBox 501">
                <a:extLst>
                  <a:ext uri="{FF2B5EF4-FFF2-40B4-BE49-F238E27FC236}">
                    <a16:creationId xmlns:a16="http://schemas.microsoft.com/office/drawing/2014/main" id="{001CBCE6-A0EF-5645-BD3D-45726668DF90}"/>
                  </a:ext>
                </a:extLst>
              </p:cNvPr>
              <p:cNvSpPr txBox="1"/>
              <p:nvPr/>
            </p:nvSpPr>
            <p:spPr>
              <a:xfrm>
                <a:off x="8382288" y="1406543"/>
                <a:ext cx="195511" cy="76944"/>
              </a:xfrm>
              <a:prstGeom prst="rect">
                <a:avLst/>
              </a:prstGeom>
              <a:noFill/>
            </p:spPr>
            <p:txBody>
              <a:bodyPr wrap="square" lIns="0" tIns="0" rIns="0" bIns="0" rtlCol="0" anchor="ctr">
                <a:spAutoFit/>
              </a:bodyPr>
              <a:lstStyle/>
              <a:p>
                <a:pPr>
                  <a:spcBef>
                    <a:spcPts val="0"/>
                  </a:spcBef>
                  <a:spcAft>
                    <a:spcPts val="0"/>
                  </a:spcAft>
                </a:pPr>
                <a:r>
                  <a:rPr lang="en-US" sz="500" dirty="0">
                    <a:latin typeface="+mn-lt"/>
                  </a:rPr>
                  <a:t>Leaders</a:t>
                </a:r>
              </a:p>
            </p:txBody>
          </p:sp>
        </p:grpSp>
      </p:grpSp>
      <p:sp>
        <p:nvSpPr>
          <p:cNvPr id="498" name="Oval 83">
            <a:extLst>
              <a:ext uri="{FF2B5EF4-FFF2-40B4-BE49-F238E27FC236}">
                <a16:creationId xmlns:a16="http://schemas.microsoft.com/office/drawing/2014/main" id="{7B7843D4-FCF6-2C40-BCFE-33DB86C6017A}"/>
              </a:ext>
            </a:extLst>
          </p:cNvPr>
          <p:cNvSpPr/>
          <p:nvPr/>
        </p:nvSpPr>
        <p:spPr>
          <a:xfrm>
            <a:off x="7269261" y="4307912"/>
            <a:ext cx="235450" cy="235450"/>
          </a:xfrm>
          <a:prstGeom prst="ellipse">
            <a:avLst/>
          </a:prstGeom>
          <a:solidFill>
            <a:schemeClr val="accent2"/>
          </a:solidFill>
        </p:spPr>
        <p:txBody>
          <a:bodyPr wrap="square" lIns="0" tIns="0" rIns="0" bIns="0" anchor="ctr">
            <a:noAutofit/>
          </a:bodyPr>
          <a:lstStyle/>
          <a:p>
            <a:pPr algn="ctr"/>
            <a:r>
              <a:rPr lang="en-IN" sz="800" dirty="0">
                <a:solidFill>
                  <a:schemeClr val="bg1"/>
                </a:solidFill>
                <a:latin typeface="+mn-lt"/>
              </a:rPr>
              <a:t>4.6</a:t>
            </a:r>
          </a:p>
        </p:txBody>
      </p:sp>
      <p:sp>
        <p:nvSpPr>
          <p:cNvPr id="505" name="Oval 83">
            <a:extLst>
              <a:ext uri="{FF2B5EF4-FFF2-40B4-BE49-F238E27FC236}">
                <a16:creationId xmlns:a16="http://schemas.microsoft.com/office/drawing/2014/main" id="{362D9D0D-9A78-2343-AEE9-C75DED96F807}"/>
              </a:ext>
            </a:extLst>
          </p:cNvPr>
          <p:cNvSpPr/>
          <p:nvPr/>
        </p:nvSpPr>
        <p:spPr>
          <a:xfrm>
            <a:off x="7829417" y="4307912"/>
            <a:ext cx="235450" cy="235450"/>
          </a:xfrm>
          <a:prstGeom prst="ellipse">
            <a:avLst/>
          </a:prstGeom>
          <a:solidFill>
            <a:schemeClr val="accent5"/>
          </a:solidFill>
        </p:spPr>
        <p:txBody>
          <a:bodyPr wrap="square" lIns="0" tIns="0" rIns="0" bIns="0" anchor="ctr">
            <a:noAutofit/>
          </a:bodyPr>
          <a:lstStyle/>
          <a:p>
            <a:pPr algn="ctr"/>
            <a:r>
              <a:rPr lang="en-IN" sz="800" dirty="0">
                <a:solidFill>
                  <a:schemeClr val="bg1"/>
                </a:solidFill>
                <a:latin typeface="+mn-lt"/>
              </a:rPr>
              <a:t>3.7</a:t>
            </a:r>
          </a:p>
        </p:txBody>
      </p:sp>
    </p:spTree>
    <p:extLst>
      <p:ext uri="{BB962C8B-B14F-4D97-AF65-F5344CB8AC3E}">
        <p14:creationId xmlns:p14="http://schemas.microsoft.com/office/powerpoint/2010/main" val="1570553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61" name="think-cell Slide" r:id="rId9" imgW="0" imgH="0" progId="">
                  <p:embed/>
                </p:oleObj>
              </mc:Choice>
              <mc:Fallback>
                <p:oleObj name="think-cell Slide" r:id="rId9" imgW="0" imgH="0" progId="">
                  <p:embed/>
                  <p:pic>
                    <p:nvPicPr>
                      <p:cNvPr id="3" name="Object 2"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5" name="KMA1D1FEAF" hidden="1">
            <a:extLst>
              <a:ext uri="{FF2B5EF4-FFF2-40B4-BE49-F238E27FC236}">
                <a16:creationId xmlns:a16="http://schemas.microsoft.com/office/drawing/2014/main" id="{CC90170D-6CC9-496E-8253-3C4B8ADA00C2}"/>
              </a:ext>
            </a:extLst>
          </p:cNvPr>
          <p:cNvSpPr>
            <a:spLocks noChangeArrowheads="1"/>
          </p:cNvSpPr>
          <p:nvPr>
            <p:custDataLst>
              <p:tags r:id="rId3"/>
            </p:custDataLst>
          </p:nvPr>
        </p:nvSpPr>
        <p:spPr bwMode="gray">
          <a:xfrm>
            <a:off x="12453281" y="1686796"/>
            <a:ext cx="11614974" cy="224742"/>
          </a:xfrm>
          <a:prstGeom prst="rect">
            <a:avLst/>
          </a:prstGeom>
          <a:noFill/>
          <a:ln w="9525">
            <a:noFill/>
            <a:miter lim="800000"/>
            <a:headEnd/>
            <a:tailEnd/>
          </a:ln>
          <a:effectLst/>
        </p:spPr>
        <p:txBody>
          <a:bodyPr wrap="square" lIns="45768" tIns="0" rIns="0" bIns="0">
            <a:spAutoFit/>
          </a:bodyPr>
          <a:lstStyle/>
          <a:p>
            <a:pPr>
              <a:lnSpc>
                <a:spcPct val="160000"/>
              </a:lnSpc>
              <a:spcBef>
                <a:spcPts val="0"/>
              </a:spcBef>
              <a:spcAft>
                <a:spcPts val="0"/>
              </a:spcAft>
              <a:buClr>
                <a:srgbClr val="BC202E"/>
              </a:buClr>
              <a:buSzPct val="60000"/>
              <a:tabLst>
                <a:tab pos="11612880" algn="r"/>
              </a:tabLst>
              <a:defRPr/>
            </a:pPr>
            <a:endParaRPr lang="en-US" sz="1051">
              <a:solidFill>
                <a:schemeClr val="bg1">
                  <a:lumMod val="50000"/>
                </a:schemeClr>
              </a:solidFill>
              <a:latin typeface="Arial" panose="020B0604020202020204" pitchFamily="34" charset="0"/>
            </a:endParaRPr>
          </a:p>
        </p:txBody>
      </p:sp>
      <p:sp>
        <p:nvSpPr>
          <p:cNvPr id="5" name="Title 4">
            <a:extLst>
              <a:ext uri="{FF2B5EF4-FFF2-40B4-BE49-F238E27FC236}">
                <a16:creationId xmlns:a16="http://schemas.microsoft.com/office/drawing/2014/main" id="{CA0B06E0-4103-496A-A3E5-5A4987C09C7A}"/>
              </a:ext>
            </a:extLst>
          </p:cNvPr>
          <p:cNvSpPr>
            <a:spLocks noGrp="1"/>
          </p:cNvSpPr>
          <p:nvPr>
            <p:ph type="title"/>
          </p:nvPr>
        </p:nvSpPr>
        <p:spPr/>
        <p:txBody>
          <a:bodyPr/>
          <a:lstStyle/>
          <a:p>
            <a:r>
              <a:rPr lang="en-US"/>
              <a:t>Research calendar</a:t>
            </a:r>
            <a:br>
              <a:rPr lang="en-US"/>
            </a:br>
            <a:r>
              <a:rPr lang="en-US">
                <a:latin typeface="+mn-lt"/>
              </a:rPr>
              <a:t>Human Resources Outsourcing (HRO)</a:t>
            </a:r>
            <a:endParaRPr lang="en-IN">
              <a:latin typeface="+mn-lt"/>
            </a:endParaRPr>
          </a:p>
        </p:txBody>
      </p:sp>
      <p:graphicFrame>
        <p:nvGraphicFramePr>
          <p:cNvPr id="18" name="Table 33">
            <a:extLst>
              <a:ext uri="{FF2B5EF4-FFF2-40B4-BE49-F238E27FC236}">
                <a16:creationId xmlns:a16="http://schemas.microsoft.com/office/drawing/2014/main" id="{83DB199F-0BE3-964A-965B-F7E9A126CF93}"/>
              </a:ext>
            </a:extLst>
          </p:cNvPr>
          <p:cNvGraphicFramePr>
            <a:graphicFrameLocks noGrp="1"/>
          </p:cNvGraphicFramePr>
          <p:nvPr>
            <p:extLst>
              <p:ext uri="{D42A27DB-BD31-4B8C-83A1-F6EECF244321}">
                <p14:modId xmlns:p14="http://schemas.microsoft.com/office/powerpoint/2010/main" val="1400358487"/>
              </p:ext>
            </p:extLst>
          </p:nvPr>
        </p:nvGraphicFramePr>
        <p:xfrm>
          <a:off x="-12482" y="1657350"/>
          <a:ext cx="12204482" cy="3220477"/>
        </p:xfrm>
        <a:graphic>
          <a:graphicData uri="http://schemas.openxmlformats.org/drawingml/2006/table">
            <a:tbl>
              <a:tblPr>
                <a:tableStyleId>{5C22544A-7EE6-4342-B048-85BDC9FD1C3A}</a:tableStyleId>
              </a:tblPr>
              <a:tblGrid>
                <a:gridCol w="10743235">
                  <a:extLst>
                    <a:ext uri="{9D8B030D-6E8A-4147-A177-3AD203B41FA5}">
                      <a16:colId xmlns:a16="http://schemas.microsoft.com/office/drawing/2014/main" val="1697316569"/>
                    </a:ext>
                  </a:extLst>
                </a:gridCol>
                <a:gridCol w="1461247">
                  <a:extLst>
                    <a:ext uri="{9D8B030D-6E8A-4147-A177-3AD203B41FA5}">
                      <a16:colId xmlns:a16="http://schemas.microsoft.com/office/drawing/2014/main" val="2481023271"/>
                    </a:ext>
                  </a:extLst>
                </a:gridCol>
              </a:tblGrid>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rgbClr val="FFFFFF"/>
                          </a:solidFill>
                          <a:latin typeface="+mn-lt"/>
                        </a:rPr>
                        <a:t>Flagship HRO reports</a:t>
                      </a:r>
                      <a:endParaRPr lang="en-IN" sz="1050"/>
                    </a:p>
                  </a:txBody>
                  <a:tcPr marL="310896" marT="0" marB="0" anchor="ctr">
                    <a:lnL w="6350" cap="flat" cmpd="sng" algn="ctr">
                      <a:solidFill>
                        <a:schemeClr val="accent2"/>
                      </a:solidFill>
                      <a:prstDash val="solid"/>
                      <a:round/>
                      <a:headEnd type="none" w="med" len="med"/>
                      <a:tailEnd type="none" w="med" len="med"/>
                    </a:lnL>
                    <a:lnR w="6350" cap="flat" cmpd="sng" algn="ctr">
                      <a:noFill/>
                      <a:prstDash val="lgDash"/>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a:solidFill>
                            <a:srgbClr val="FFFFFF"/>
                          </a:solidFill>
                          <a:latin typeface="+mn-lt"/>
                        </a:rPr>
                        <a:t>Release date</a:t>
                      </a:r>
                      <a:endParaRPr lang="en-IN" sz="1050"/>
                    </a:p>
                  </a:txBody>
                  <a:tcPr marR="288000" marT="0" marB="0" anchor="ctr">
                    <a:lnL w="6350" cap="flat" cmpd="sng" algn="ctr">
                      <a:noFill/>
                      <a:prstDash val="lgDash"/>
                      <a:round/>
                      <a:headEnd type="none" w="med" len="med"/>
                      <a:tailEnd type="none" w="med" len="med"/>
                    </a:lnL>
                    <a:lnR w="6350" cap="flat" cmpd="sng" algn="ctr">
                      <a:solidFill>
                        <a:schemeClr val="accent2"/>
                      </a:solid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3480351584"/>
                  </a:ext>
                </a:extLst>
              </a:tr>
              <a:tr h="246888">
                <a:tc>
                  <a:txBody>
                    <a:bodyPr/>
                    <a:lstStyle/>
                    <a:p>
                      <a:pPr>
                        <a:lnSpc>
                          <a:spcPct val="100000"/>
                        </a:lnSpc>
                      </a:pPr>
                      <a:r>
                        <a:rPr lang="en-US" sz="1100" b="0" kern="1200">
                          <a:solidFill>
                            <a:schemeClr val="accent2"/>
                          </a:solidFill>
                          <a:latin typeface="+mn-lt"/>
                          <a:ea typeface="+mn-ea"/>
                          <a:cs typeface="+mn-cs"/>
                        </a:rPr>
                        <a:t>Multi-process Human Resources Outsourcing (MPHRO) Services PEAK Matrix</a:t>
                      </a:r>
                      <a:r>
                        <a:rPr lang="en-US" sz="1100" b="0" kern="1200" baseline="30000">
                          <a:solidFill>
                            <a:schemeClr val="accent2"/>
                          </a:solidFill>
                          <a:latin typeface="+mn-lt"/>
                          <a:ea typeface="+mn-ea"/>
                          <a:cs typeface="+mn-cs"/>
                        </a:rPr>
                        <a:t>®</a:t>
                      </a:r>
                      <a:r>
                        <a:rPr lang="en-US" sz="1100" b="0" kern="1200">
                          <a:solidFill>
                            <a:schemeClr val="accent2"/>
                          </a:solidFill>
                          <a:latin typeface="+mn-lt"/>
                          <a:ea typeface="+mn-ea"/>
                          <a:cs typeface="+mn-cs"/>
                        </a:rPr>
                        <a:t> Assessment with Services Provider Landscape 2021</a:t>
                      </a:r>
                    </a:p>
                  </a:txBody>
                  <a:tcPr marL="310896"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100" b="0" kern="1200">
                          <a:solidFill>
                            <a:schemeClr val="accent2"/>
                          </a:solidFill>
                          <a:latin typeface="+mn-lt"/>
                          <a:ea typeface="+mn-ea"/>
                          <a:cs typeface="+mn-cs"/>
                        </a:rPr>
                        <a:t>January 2021</a:t>
                      </a:r>
                      <a:endParaRPr lang="en-IN" sz="1100" b="0" kern="1200" noProof="0">
                        <a:solidFill>
                          <a:schemeClr val="accent2"/>
                        </a:solidFill>
                        <a:latin typeface="+mn-lt"/>
                        <a:ea typeface="+mn-ea"/>
                        <a:cs typeface="+mn-cs"/>
                      </a:endParaRPr>
                    </a:p>
                  </a:txBody>
                  <a:tcPr marR="288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112500"/>
                  </a:ext>
                </a:extLst>
              </a:tr>
              <a:tr h="246888">
                <a:tc>
                  <a:txBody>
                    <a:bodyPr/>
                    <a:lstStyle/>
                    <a:p>
                      <a:pPr>
                        <a:lnSpc>
                          <a:spcPct val="100000"/>
                        </a:lnSpc>
                      </a:pPr>
                      <a:r>
                        <a:rPr lang="en-US" sz="1100" b="0" kern="1200">
                          <a:solidFill>
                            <a:schemeClr val="accent2"/>
                          </a:solidFill>
                          <a:latin typeface="+mn-lt"/>
                          <a:ea typeface="+mn-ea"/>
                          <a:cs typeface="+mn-cs"/>
                        </a:rPr>
                        <a:t>Multi-process Human Resources Outsourcing (MPHRO) Services – Service Provider Compendium 2021</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100" b="0" kern="1200">
                          <a:solidFill>
                            <a:schemeClr val="accent2"/>
                          </a:solidFill>
                          <a:latin typeface="+mn-lt"/>
                          <a:ea typeface="+mn-ea"/>
                          <a:cs typeface="+mn-cs"/>
                        </a:rPr>
                        <a:t>February 2021</a:t>
                      </a:r>
                      <a:endParaRPr lang="en-IN" sz="1100" b="0" kern="1200" noProof="0">
                        <a:solidFill>
                          <a:schemeClr val="accent2"/>
                        </a:solidFill>
                        <a:latin typeface="+mn-lt"/>
                        <a:ea typeface="+mn-ea"/>
                        <a:cs typeface="+mn-cs"/>
                      </a:endParaRP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4300849"/>
                  </a:ext>
                </a:extLst>
              </a:tr>
              <a:tr h="246888">
                <a:tc>
                  <a:txBody>
                    <a:bodyPr/>
                    <a:lstStyle/>
                    <a:p>
                      <a:pPr>
                        <a:lnSpc>
                          <a:spcPct val="100000"/>
                        </a:lnSpc>
                      </a:pPr>
                      <a:r>
                        <a:rPr lang="en-US" sz="1100" b="0" kern="1200">
                          <a:solidFill>
                            <a:schemeClr val="accent2"/>
                          </a:solidFill>
                          <a:latin typeface="+mn-lt"/>
                          <a:ea typeface="+mn-ea"/>
                          <a:cs typeface="+mn-cs"/>
                        </a:rPr>
                        <a:t>Multi-process Human Resources Outsourcing (MPHRO) – State of the Market Report 2021</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100" b="0" kern="1200">
                          <a:solidFill>
                            <a:schemeClr val="accent2"/>
                          </a:solidFill>
                          <a:latin typeface="+mn-lt"/>
                          <a:ea typeface="+mn-ea"/>
                          <a:cs typeface="+mn-cs"/>
                        </a:rPr>
                        <a:t>February 2021</a:t>
                      </a:r>
                      <a:endParaRPr lang="en-IN" sz="1100" b="0" kern="1200" noProof="0">
                        <a:solidFill>
                          <a:schemeClr val="accent2"/>
                        </a:solidFill>
                        <a:latin typeface="+mn-lt"/>
                        <a:ea typeface="+mn-ea"/>
                        <a:cs typeface="+mn-cs"/>
                      </a:endParaRP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7310005"/>
                  </a:ext>
                </a:extLst>
              </a:tr>
              <a:tr h="246888">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r>
                        <a:rPr lang="en-US" sz="1100" b="0" kern="1200">
                          <a:solidFill>
                            <a:schemeClr val="accent2"/>
                          </a:solidFill>
                          <a:latin typeface="+mn-lt"/>
                          <a:ea typeface="+mn-ea"/>
                          <a:cs typeface="+mn-cs"/>
                        </a:rPr>
                        <a:t>Rewards and Recognition (R&amp;R) Solutions PEAK Matrix</a:t>
                      </a:r>
                      <a:r>
                        <a:rPr lang="en-US" sz="1100" b="0" kern="1200" baseline="30000">
                          <a:solidFill>
                            <a:schemeClr val="accent2"/>
                          </a:solidFill>
                          <a:latin typeface="+mn-lt"/>
                          <a:ea typeface="+mn-ea"/>
                          <a:cs typeface="+mn-cs"/>
                        </a:rPr>
                        <a:t>®</a:t>
                      </a:r>
                      <a:r>
                        <a:rPr lang="en-US" sz="1100" b="0" kern="1200">
                          <a:solidFill>
                            <a:schemeClr val="accent2"/>
                          </a:solidFill>
                          <a:latin typeface="+mn-lt"/>
                          <a:ea typeface="+mn-ea"/>
                          <a:cs typeface="+mn-cs"/>
                        </a:rPr>
                        <a:t> Assessment with Service Provider Landscape 2021</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100" b="0" kern="1200" noProof="0">
                          <a:solidFill>
                            <a:schemeClr val="accent2"/>
                          </a:solidFill>
                          <a:latin typeface="+mn-lt"/>
                          <a:ea typeface="+mn-ea"/>
                          <a:cs typeface="+mn-cs"/>
                        </a:rPr>
                        <a:t>March 2021</a:t>
                      </a:r>
                      <a:endParaRPr lang="en-IN" sz="1100" b="0" kern="1200" noProof="0">
                        <a:solidFill>
                          <a:schemeClr val="accent2"/>
                        </a:solidFill>
                        <a:latin typeface="+mn-lt"/>
                        <a:ea typeface="+mn-ea"/>
                        <a:cs typeface="+mn-cs"/>
                      </a:endParaRP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2187581"/>
                  </a:ext>
                </a:extLst>
              </a:tr>
              <a:tr h="246888">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latin typeface="+mn-lt"/>
                          <a:ea typeface="+mn-ea"/>
                          <a:cs typeface="+mn-cs"/>
                        </a:rPr>
                        <a:t>Rewards and Recognition (R&amp;R) State of the Market Report 2021: The Era of Modernizing Employee Engagement</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100" b="1" kern="1200" noProof="0">
                          <a:solidFill>
                            <a:schemeClr val="tx1"/>
                          </a:solidFill>
                          <a:latin typeface="+mn-lt"/>
                          <a:ea typeface="+mn-ea"/>
                          <a:cs typeface="+mn-cs"/>
                        </a:rPr>
                        <a:t>June 2021</a:t>
                      </a:r>
                      <a:endParaRPr lang="en-IN" sz="1100" b="1" kern="1200" noProof="0">
                        <a:solidFill>
                          <a:schemeClr val="tx1"/>
                        </a:solidFill>
                        <a:latin typeface="+mn-lt"/>
                        <a:ea typeface="+mn-ea"/>
                        <a:cs typeface="+mn-cs"/>
                      </a:endParaRP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2137537"/>
                  </a:ext>
                </a:extLst>
              </a:tr>
              <a:tr h="246888">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r>
                        <a:rPr lang="en-US" sz="1100" kern="1200">
                          <a:solidFill>
                            <a:schemeClr val="bg1">
                              <a:lumMod val="65000"/>
                            </a:schemeClr>
                          </a:solidFill>
                          <a:latin typeface="+mn-lt"/>
                          <a:ea typeface="+mn-ea"/>
                          <a:cs typeface="+mn-cs"/>
                        </a:rPr>
                        <a:t>Rewards and Recognition (R&amp;R) Solutions – Service Provider Compendium 2021</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100" kern="1200" noProof="0">
                          <a:solidFill>
                            <a:schemeClr val="bg1">
                              <a:lumMod val="65000"/>
                            </a:schemeClr>
                          </a:solidFill>
                          <a:latin typeface="+mn-lt"/>
                          <a:ea typeface="+mn-ea"/>
                          <a:cs typeface="+mn-cs"/>
                        </a:rPr>
                        <a:t>Q2 2021</a:t>
                      </a:r>
                      <a:endParaRPr lang="en-IN" sz="1100" kern="1200" noProof="0">
                        <a:solidFill>
                          <a:schemeClr val="bg1">
                            <a:lumMod val="65000"/>
                          </a:schemeClr>
                        </a:solidFill>
                        <a:latin typeface="+mn-lt"/>
                        <a:ea typeface="+mn-ea"/>
                        <a:cs typeface="+mn-cs"/>
                      </a:endParaRP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8682136"/>
                  </a:ext>
                </a:extLst>
              </a:tr>
              <a:tr h="246888">
                <a:tc>
                  <a:txBody>
                    <a:bodyPr/>
                    <a:lstStyle/>
                    <a:p>
                      <a:r>
                        <a:rPr lang="en-US" sz="1100" b="0" kern="1200">
                          <a:solidFill>
                            <a:schemeClr val="bg1">
                              <a:lumMod val="65000"/>
                            </a:schemeClr>
                          </a:solidFill>
                          <a:latin typeface="+mn-lt"/>
                          <a:ea typeface="+mn-ea"/>
                          <a:cs typeface="+mn-cs"/>
                        </a:rPr>
                        <a:t>Learning Services PEAK </a:t>
                      </a:r>
                      <a:r>
                        <a:rPr kumimoji="0" lang="en-US" sz="1100" b="0" i="0" u="none" strike="noStrike" kern="1200" cap="none" spc="0" normalizeH="0" baseline="0" noProof="0">
                          <a:ln>
                            <a:noFill/>
                          </a:ln>
                          <a:solidFill>
                            <a:schemeClr val="bg1">
                              <a:lumMod val="65000"/>
                            </a:schemeClr>
                          </a:solidFill>
                          <a:effectLst/>
                          <a:uLnTx/>
                          <a:uFillTx/>
                          <a:latin typeface="+mn-lt"/>
                          <a:ea typeface="+mn-ea"/>
                          <a:cs typeface="+mn-cs"/>
                        </a:rPr>
                        <a:t>Matrix</a:t>
                      </a:r>
                      <a:r>
                        <a:rPr kumimoji="0" lang="en-US" sz="1100" b="0" i="0" u="none" strike="noStrike" kern="1200" cap="none" spc="0" normalizeH="0" baseline="30000" noProof="0">
                          <a:ln>
                            <a:noFill/>
                          </a:ln>
                          <a:solidFill>
                            <a:schemeClr val="bg1">
                              <a:lumMod val="65000"/>
                            </a:schemeClr>
                          </a:solidFill>
                          <a:effectLst/>
                          <a:uLnTx/>
                          <a:uFillTx/>
                          <a:latin typeface="+mn-lt"/>
                          <a:ea typeface="+mn-ea"/>
                          <a:cs typeface="+mn-cs"/>
                        </a:rPr>
                        <a:t>®</a:t>
                      </a:r>
                      <a:r>
                        <a:rPr kumimoji="0" lang="en-US" sz="1100" b="0" i="0" u="none" strike="noStrike" kern="1200" cap="none" spc="0" normalizeH="0" baseline="0" noProof="0">
                          <a:ln>
                            <a:noFill/>
                          </a:ln>
                          <a:solidFill>
                            <a:schemeClr val="bg1">
                              <a:lumMod val="65000"/>
                            </a:schemeClr>
                          </a:solidFill>
                          <a:effectLst/>
                          <a:uLnTx/>
                          <a:uFillTx/>
                          <a:latin typeface="+mn-lt"/>
                          <a:ea typeface="+mn-ea"/>
                          <a:cs typeface="+mn-cs"/>
                        </a:rPr>
                        <a:t> </a:t>
                      </a:r>
                      <a:r>
                        <a:rPr kumimoji="0" lang="en-US" sz="1100" b="0" i="0" u="none" strike="noStrike" kern="1200" cap="none" spc="-10" normalizeH="0" baseline="0" noProof="0">
                          <a:ln>
                            <a:noFill/>
                          </a:ln>
                          <a:solidFill>
                            <a:schemeClr val="bg1">
                              <a:lumMod val="65000"/>
                            </a:schemeClr>
                          </a:solidFill>
                          <a:effectLst/>
                          <a:uLnTx/>
                          <a:uFillTx/>
                          <a:latin typeface="+mn-lt"/>
                          <a:ea typeface="+mn-ea"/>
                          <a:cs typeface="+mn-cs"/>
                        </a:rPr>
                        <a:t>Assessment with Service Provider Landscape 2021</a:t>
                      </a:r>
                      <a:endParaRPr lang="en-US" sz="1100" b="0" kern="1200" spc="-10" baseline="0">
                        <a:solidFill>
                          <a:schemeClr val="bg1">
                            <a:lumMod val="65000"/>
                          </a:schemeClr>
                        </a:solidFill>
                        <a:latin typeface="+mn-lt"/>
                        <a:ea typeface="+mn-ea"/>
                        <a:cs typeface="+mn-cs"/>
                      </a:endParaRP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5373"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100" b="0" kern="1200">
                          <a:solidFill>
                            <a:schemeClr val="bg1">
                              <a:lumMod val="65000"/>
                            </a:schemeClr>
                          </a:solidFill>
                          <a:latin typeface="+mn-lt"/>
                          <a:ea typeface="+mn-ea"/>
                          <a:cs typeface="+mn-cs"/>
                        </a:rPr>
                        <a:t>Q2 2021</a:t>
                      </a:r>
                      <a:endParaRPr lang="en-IN" sz="1100" b="0" kern="1200" noProof="0">
                        <a:solidFill>
                          <a:schemeClr val="bg1">
                            <a:lumMod val="65000"/>
                          </a:schemeClr>
                        </a:solidFill>
                        <a:latin typeface="+mn-lt"/>
                        <a:ea typeface="+mn-ea"/>
                        <a:cs typeface="+mn-cs"/>
                      </a:endParaRP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0603259"/>
                  </a:ext>
                </a:extLst>
              </a:tr>
              <a:tr h="246888">
                <a:tc>
                  <a:txBody>
                    <a:bodyPr/>
                    <a:lstStyle/>
                    <a:p>
                      <a:r>
                        <a:rPr lang="en-US" sz="1100" b="0" kern="1200">
                          <a:solidFill>
                            <a:schemeClr val="bg1">
                              <a:lumMod val="65000"/>
                            </a:schemeClr>
                          </a:solidFill>
                          <a:latin typeface="+mn-lt"/>
                          <a:ea typeface="+mn-ea"/>
                          <a:cs typeface="+mn-cs"/>
                        </a:rPr>
                        <a:t>Learning Services – State of the Market Report </a:t>
                      </a:r>
                      <a:r>
                        <a:rPr kumimoji="0" lang="en-US" sz="1100" b="0" i="0" u="none" strike="noStrike" kern="1200" cap="none" spc="-10" normalizeH="0" baseline="0" noProof="0">
                          <a:ln>
                            <a:noFill/>
                          </a:ln>
                          <a:solidFill>
                            <a:schemeClr val="bg1">
                              <a:lumMod val="65000"/>
                            </a:schemeClr>
                          </a:solidFill>
                          <a:effectLst/>
                          <a:uLnTx/>
                          <a:uFillTx/>
                          <a:latin typeface="+mn-lt"/>
                          <a:ea typeface="+mn-ea"/>
                          <a:cs typeface="+mn-cs"/>
                        </a:rPr>
                        <a:t>2021</a:t>
                      </a:r>
                      <a:endParaRPr lang="en-US" sz="1100" b="0" kern="1200" spc="-10" baseline="0">
                        <a:solidFill>
                          <a:schemeClr val="bg1">
                            <a:lumMod val="65000"/>
                          </a:schemeClr>
                        </a:solidFill>
                        <a:latin typeface="+mn-lt"/>
                        <a:ea typeface="+mn-ea"/>
                        <a:cs typeface="+mn-cs"/>
                      </a:endParaRP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5373"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100" b="0" kern="1200">
                          <a:solidFill>
                            <a:schemeClr val="bg1">
                              <a:lumMod val="65000"/>
                            </a:schemeClr>
                          </a:solidFill>
                          <a:latin typeface="+mn-lt"/>
                          <a:ea typeface="+mn-ea"/>
                          <a:cs typeface="+mn-cs"/>
                        </a:rPr>
                        <a:t>Q3 2021</a:t>
                      </a:r>
                      <a:endParaRPr lang="en-IN" sz="1100" b="0" kern="1200" noProof="0">
                        <a:solidFill>
                          <a:schemeClr val="bg1">
                            <a:lumMod val="65000"/>
                          </a:schemeClr>
                        </a:solidFill>
                        <a:latin typeface="+mn-lt"/>
                        <a:ea typeface="+mn-ea"/>
                        <a:cs typeface="+mn-cs"/>
                      </a:endParaRP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7189708"/>
                  </a:ext>
                </a:extLst>
              </a:tr>
              <a:tr h="246888">
                <a:tc>
                  <a:txBody>
                    <a:bodyPr/>
                    <a:lstStyle/>
                    <a:p>
                      <a:pPr marL="0" algn="l" defTabSz="915373" rtl="0" eaLnBrk="1" latinLnBrk="0" hangingPunct="1">
                        <a:lnSpc>
                          <a:spcPct val="100000"/>
                        </a:lnSpc>
                      </a:pPr>
                      <a:r>
                        <a:rPr lang="en-US" sz="1100" kern="1200">
                          <a:solidFill>
                            <a:schemeClr val="bg1">
                              <a:lumMod val="65000"/>
                            </a:schemeClr>
                          </a:solidFill>
                          <a:latin typeface="+mn-lt"/>
                          <a:ea typeface="+mn-ea"/>
                          <a:cs typeface="+mn-cs"/>
                        </a:rPr>
                        <a:t>Learning Services Provider Profile Compendium 2020</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5373"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100" kern="1200">
                          <a:solidFill>
                            <a:schemeClr val="bg1">
                              <a:lumMod val="65000"/>
                            </a:schemeClr>
                          </a:solidFill>
                          <a:latin typeface="+mn-lt"/>
                          <a:ea typeface="+mn-ea"/>
                          <a:cs typeface="+mn-cs"/>
                        </a:rPr>
                        <a:t>Q3 2020</a:t>
                      </a:r>
                      <a:endParaRPr lang="en-IN" sz="1100" kern="1200" noProof="0">
                        <a:solidFill>
                          <a:schemeClr val="bg1">
                            <a:lumMod val="65000"/>
                          </a:schemeClr>
                        </a:solidFill>
                        <a:latin typeface="+mn-lt"/>
                        <a:ea typeface="+mn-ea"/>
                        <a:cs typeface="+mn-cs"/>
                      </a:endParaRP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5123845"/>
                  </a:ext>
                </a:extLst>
              </a:tr>
              <a:tr h="246888">
                <a:tc>
                  <a:txBody>
                    <a:bodyPr/>
                    <a:lstStyle/>
                    <a:p>
                      <a:pPr>
                        <a:lnSpc>
                          <a:spcPct val="100000"/>
                        </a:lnSpc>
                      </a:pPr>
                      <a:r>
                        <a:rPr lang="en-US" sz="1100" kern="1200">
                          <a:solidFill>
                            <a:schemeClr val="bg1">
                              <a:lumMod val="65000"/>
                            </a:schemeClr>
                          </a:solidFill>
                          <a:latin typeface="+mn-lt"/>
                          <a:ea typeface="+mn-ea"/>
                          <a:cs typeface="+mn-cs"/>
                        </a:rPr>
                        <a:t>Digital Adoption Platform (DAP) Products PEAK Matrix</a:t>
                      </a:r>
                      <a:r>
                        <a:rPr lang="en-US" sz="1100" kern="1200" baseline="30000">
                          <a:solidFill>
                            <a:schemeClr val="bg1">
                              <a:lumMod val="65000"/>
                            </a:schemeClr>
                          </a:solidFill>
                          <a:latin typeface="+mn-lt"/>
                          <a:ea typeface="+mn-ea"/>
                          <a:cs typeface="+mn-cs"/>
                        </a:rPr>
                        <a:t>®</a:t>
                      </a:r>
                      <a:r>
                        <a:rPr lang="en-US" sz="1100" kern="1200">
                          <a:solidFill>
                            <a:schemeClr val="bg1">
                              <a:lumMod val="65000"/>
                            </a:schemeClr>
                          </a:solidFill>
                          <a:latin typeface="+mn-lt"/>
                          <a:ea typeface="+mn-ea"/>
                          <a:cs typeface="+mn-cs"/>
                        </a:rPr>
                        <a:t> Assessment with Service Provider Landscape 2021</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US" sz="1100" kern="1200">
                          <a:solidFill>
                            <a:schemeClr val="bg1">
                              <a:lumMod val="65000"/>
                            </a:schemeClr>
                          </a:solidFill>
                          <a:latin typeface="+mn-lt"/>
                          <a:ea typeface="+mn-ea"/>
                          <a:cs typeface="+mn-cs"/>
                        </a:rPr>
                        <a:t>Q3 2021</a:t>
                      </a:r>
                      <a:endParaRPr lang="en-IN" sz="1100" kern="1200">
                        <a:solidFill>
                          <a:schemeClr val="bg1">
                            <a:lumMod val="65000"/>
                          </a:schemeClr>
                        </a:solidFill>
                        <a:latin typeface="+mn-lt"/>
                        <a:ea typeface="+mn-ea"/>
                        <a:cs typeface="+mn-cs"/>
                      </a:endParaRP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1599630"/>
                  </a:ext>
                </a:extLst>
              </a:tr>
              <a:tr h="246888">
                <a:tc>
                  <a:txBody>
                    <a:bodyPr/>
                    <a:lstStyle/>
                    <a:p>
                      <a:pPr>
                        <a:lnSpc>
                          <a:spcPct val="100000"/>
                        </a:lnSpc>
                      </a:pPr>
                      <a:r>
                        <a:rPr lang="en-US" sz="1100" kern="1200">
                          <a:solidFill>
                            <a:schemeClr val="bg1">
                              <a:lumMod val="65000"/>
                            </a:schemeClr>
                          </a:solidFill>
                          <a:latin typeface="+mn-lt"/>
                          <a:ea typeface="+mn-ea"/>
                          <a:cs typeface="+mn-cs"/>
                        </a:rPr>
                        <a:t>Digital Adoption Platform (DAP) Products – State of the Market Report 2021</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US" sz="1100" kern="1200">
                          <a:solidFill>
                            <a:schemeClr val="bg1">
                              <a:lumMod val="65000"/>
                            </a:schemeClr>
                          </a:solidFill>
                          <a:latin typeface="+mn-lt"/>
                          <a:ea typeface="+mn-ea"/>
                          <a:cs typeface="+mn-cs"/>
                        </a:rPr>
                        <a:t>Q3 2021</a:t>
                      </a:r>
                      <a:endParaRPr lang="en-IN" sz="1100" kern="1200">
                        <a:solidFill>
                          <a:schemeClr val="bg1">
                            <a:lumMod val="65000"/>
                          </a:schemeClr>
                        </a:solidFill>
                        <a:latin typeface="+mn-lt"/>
                        <a:ea typeface="+mn-ea"/>
                        <a:cs typeface="+mn-cs"/>
                      </a:endParaRP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9640246"/>
                  </a:ext>
                </a:extLst>
              </a:tr>
              <a:tr h="246888">
                <a:tc>
                  <a:txBody>
                    <a:bodyPr/>
                    <a:lstStyle/>
                    <a:p>
                      <a:pPr marL="0" algn="l" defTabSz="915373" rtl="0" eaLnBrk="1" latinLnBrk="0" hangingPunct="1">
                        <a:lnSpc>
                          <a:spcPct val="100000"/>
                        </a:lnSpc>
                      </a:pPr>
                      <a:r>
                        <a:rPr lang="en-US" sz="1100" kern="1200">
                          <a:solidFill>
                            <a:schemeClr val="bg1">
                              <a:lumMod val="65000"/>
                            </a:schemeClr>
                          </a:solidFill>
                          <a:latin typeface="+mn-lt"/>
                          <a:ea typeface="+mn-ea"/>
                          <a:cs typeface="+mn-cs"/>
                        </a:rPr>
                        <a:t>Digital Adoption Platform (DAP) Products Provider Profile Compendium 2021</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5373"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100" kern="1200" dirty="0">
                          <a:solidFill>
                            <a:schemeClr val="bg1">
                              <a:lumMod val="65000"/>
                            </a:schemeClr>
                          </a:solidFill>
                          <a:latin typeface="+mn-lt"/>
                          <a:ea typeface="+mn-ea"/>
                          <a:cs typeface="+mn-cs"/>
                        </a:rPr>
                        <a:t>Q3 2021</a:t>
                      </a:r>
                      <a:endParaRPr lang="en-IN" sz="1100" kern="1200" noProof="0" dirty="0">
                        <a:solidFill>
                          <a:schemeClr val="bg1">
                            <a:lumMod val="65000"/>
                          </a:schemeClr>
                        </a:solidFill>
                        <a:latin typeface="+mn-lt"/>
                        <a:ea typeface="+mn-ea"/>
                        <a:cs typeface="+mn-cs"/>
                      </a:endParaRP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1076138"/>
                  </a:ext>
                </a:extLst>
              </a:tr>
            </a:tbl>
          </a:graphicData>
        </a:graphic>
      </p:graphicFrame>
      <p:grpSp>
        <p:nvGrpSpPr>
          <p:cNvPr id="30" name="Group 29">
            <a:extLst>
              <a:ext uri="{FF2B5EF4-FFF2-40B4-BE49-F238E27FC236}">
                <a16:creationId xmlns:a16="http://schemas.microsoft.com/office/drawing/2014/main" id="{2E14913F-2BF1-9D47-8281-EF4E6573198B}"/>
              </a:ext>
            </a:extLst>
          </p:cNvPr>
          <p:cNvGrpSpPr/>
          <p:nvPr/>
        </p:nvGrpSpPr>
        <p:grpSpPr>
          <a:xfrm>
            <a:off x="9142455" y="1409257"/>
            <a:ext cx="2763032" cy="138643"/>
            <a:chOff x="6168926" y="1360605"/>
            <a:chExt cx="2760155" cy="138498"/>
          </a:xfrm>
        </p:grpSpPr>
        <p:grpSp>
          <p:nvGrpSpPr>
            <p:cNvPr id="31" name="Group 30">
              <a:extLst>
                <a:ext uri="{FF2B5EF4-FFF2-40B4-BE49-F238E27FC236}">
                  <a16:creationId xmlns:a16="http://schemas.microsoft.com/office/drawing/2014/main" id="{77B34ACC-C6DF-3245-B86A-F6A8A03D9C64}"/>
                </a:ext>
              </a:extLst>
            </p:cNvPr>
            <p:cNvGrpSpPr/>
            <p:nvPr/>
          </p:nvGrpSpPr>
          <p:grpSpPr>
            <a:xfrm>
              <a:off x="7072001" y="1360605"/>
              <a:ext cx="675559" cy="138498"/>
              <a:chOff x="7072001" y="1360605"/>
              <a:chExt cx="675559" cy="138498"/>
            </a:xfrm>
          </p:grpSpPr>
          <p:sp>
            <p:nvSpPr>
              <p:cNvPr id="37" name="KMA1D1FEAF">
                <a:extLst>
                  <a:ext uri="{FF2B5EF4-FFF2-40B4-BE49-F238E27FC236}">
                    <a16:creationId xmlns:a16="http://schemas.microsoft.com/office/drawing/2014/main" id="{BB950FDA-B794-6D46-AB61-1F1EDF0FE660}"/>
                  </a:ext>
                </a:extLst>
              </p:cNvPr>
              <p:cNvSpPr>
                <a:spLocks noChangeArrowheads="1"/>
              </p:cNvSpPr>
              <p:nvPr>
                <p:custDataLst>
                  <p:tags r:id="rId6"/>
                </p:custDataLst>
              </p:nvPr>
            </p:nvSpPr>
            <p:spPr bwMode="gray">
              <a:xfrm>
                <a:off x="7072001" y="1371600"/>
                <a:ext cx="205775" cy="119447"/>
              </a:xfrm>
              <a:prstGeom prst="rect">
                <a:avLst/>
              </a:prstGeom>
              <a:solidFill>
                <a:schemeClr val="bg1">
                  <a:lumMod val="75000"/>
                </a:schemeClr>
              </a:solidFill>
              <a:ln w="9525">
                <a:noFill/>
                <a:prstDash val="dash"/>
                <a:miter lim="800000"/>
                <a:headEnd/>
                <a:tailEnd/>
              </a:ln>
              <a:effectLst/>
            </p:spPr>
            <p:txBody>
              <a:bodyPr wrap="square" lIns="45768" tIns="45762" rIns="45768" bIns="45762">
                <a:noAutofit/>
              </a:bodyPr>
              <a:lstStyle/>
              <a:p>
                <a:pPr fontAlgn="auto">
                  <a:spcBef>
                    <a:spcPts val="901"/>
                  </a:spcBef>
                  <a:spcAft>
                    <a:spcPts val="0"/>
                  </a:spcAft>
                  <a:buClr>
                    <a:srgbClr val="0000FF"/>
                  </a:buClr>
                  <a:buSzPct val="60000"/>
                </a:pPr>
                <a:endParaRPr lang="en-US" sz="1101" b="1" kern="0">
                  <a:latin typeface="+mn-lt"/>
                </a:endParaRPr>
              </a:p>
            </p:txBody>
          </p:sp>
          <p:sp>
            <p:nvSpPr>
              <p:cNvPr id="38" name="TextBox 37">
                <a:extLst>
                  <a:ext uri="{FF2B5EF4-FFF2-40B4-BE49-F238E27FC236}">
                    <a16:creationId xmlns:a16="http://schemas.microsoft.com/office/drawing/2014/main" id="{4CBB3D5C-A0D9-3746-B8EC-A852C46419E6}"/>
                  </a:ext>
                </a:extLst>
              </p:cNvPr>
              <p:cNvSpPr txBox="1"/>
              <p:nvPr/>
            </p:nvSpPr>
            <p:spPr bwMode="gray">
              <a:xfrm>
                <a:off x="7324367" y="1360605"/>
                <a:ext cx="423193" cy="138498"/>
              </a:xfrm>
              <a:prstGeom prst="rect">
                <a:avLst/>
              </a:prstGeom>
              <a:noFill/>
            </p:spPr>
            <p:txBody>
              <a:bodyPr wrap="none" lIns="0" tIns="0" rIns="0" bIns="0" rtlCol="0">
                <a:spAutoFit/>
              </a:bodyPr>
              <a:lstStyle/>
              <a:p>
                <a:pPr>
                  <a:spcBef>
                    <a:spcPts val="901"/>
                  </a:spcBef>
                  <a:spcAft>
                    <a:spcPts val="0"/>
                  </a:spcAft>
                </a:pPr>
                <a:r>
                  <a:rPr lang="en-US" sz="901">
                    <a:latin typeface="+mn-lt"/>
                  </a:rPr>
                  <a:t>Planned</a:t>
                </a:r>
                <a:endParaRPr lang="en-IN" sz="901">
                  <a:latin typeface="+mn-lt"/>
                </a:endParaRPr>
              </a:p>
            </p:txBody>
          </p:sp>
        </p:grpSp>
        <p:grpSp>
          <p:nvGrpSpPr>
            <p:cNvPr id="32" name="Group 31">
              <a:extLst>
                <a:ext uri="{FF2B5EF4-FFF2-40B4-BE49-F238E27FC236}">
                  <a16:creationId xmlns:a16="http://schemas.microsoft.com/office/drawing/2014/main" id="{E664655D-DB42-0D42-99A7-DA50FEDFD938}"/>
                </a:ext>
              </a:extLst>
            </p:cNvPr>
            <p:cNvGrpSpPr/>
            <p:nvPr/>
          </p:nvGrpSpPr>
          <p:grpSpPr>
            <a:xfrm>
              <a:off x="6168926" y="1360605"/>
              <a:ext cx="747485" cy="138498"/>
              <a:chOff x="6168926" y="1360605"/>
              <a:chExt cx="747485" cy="138498"/>
            </a:xfrm>
          </p:grpSpPr>
          <p:sp>
            <p:nvSpPr>
              <p:cNvPr id="35" name="KMA1D1FEAF">
                <a:extLst>
                  <a:ext uri="{FF2B5EF4-FFF2-40B4-BE49-F238E27FC236}">
                    <a16:creationId xmlns:a16="http://schemas.microsoft.com/office/drawing/2014/main" id="{1419511B-8E9A-2B4A-AEC3-9CCA41294EE6}"/>
                  </a:ext>
                </a:extLst>
              </p:cNvPr>
              <p:cNvSpPr>
                <a:spLocks noChangeArrowheads="1"/>
              </p:cNvSpPr>
              <p:nvPr>
                <p:custDataLst>
                  <p:tags r:id="rId5"/>
                </p:custDataLst>
              </p:nvPr>
            </p:nvSpPr>
            <p:spPr bwMode="gray">
              <a:xfrm>
                <a:off x="6168926" y="1371600"/>
                <a:ext cx="205775" cy="119447"/>
              </a:xfrm>
              <a:prstGeom prst="rect">
                <a:avLst/>
              </a:prstGeom>
              <a:solidFill>
                <a:schemeClr val="accent2"/>
              </a:solidFill>
              <a:ln w="9525">
                <a:noFill/>
                <a:prstDash val="dash"/>
                <a:miter lim="800000"/>
                <a:headEnd/>
                <a:tailEnd/>
              </a:ln>
              <a:effectLst/>
            </p:spPr>
            <p:txBody>
              <a:bodyPr wrap="square" lIns="45768" tIns="45762" rIns="45768" bIns="45762">
                <a:noAutofit/>
              </a:bodyPr>
              <a:lstStyle/>
              <a:p>
                <a:pPr fontAlgn="auto">
                  <a:spcBef>
                    <a:spcPts val="901"/>
                  </a:spcBef>
                  <a:spcAft>
                    <a:spcPts val="0"/>
                  </a:spcAft>
                  <a:buClr>
                    <a:srgbClr val="0000FF"/>
                  </a:buClr>
                  <a:buSzPct val="60000"/>
                </a:pPr>
                <a:endParaRPr lang="en-US" sz="1101" b="1" kern="0">
                  <a:latin typeface="+mn-lt"/>
                </a:endParaRPr>
              </a:p>
            </p:txBody>
          </p:sp>
          <p:sp>
            <p:nvSpPr>
              <p:cNvPr id="36" name="TextBox 35">
                <a:extLst>
                  <a:ext uri="{FF2B5EF4-FFF2-40B4-BE49-F238E27FC236}">
                    <a16:creationId xmlns:a16="http://schemas.microsoft.com/office/drawing/2014/main" id="{47F6869B-3355-3B44-8A29-6E0A9EBC7390}"/>
                  </a:ext>
                </a:extLst>
              </p:cNvPr>
              <p:cNvSpPr txBox="1"/>
              <p:nvPr/>
            </p:nvSpPr>
            <p:spPr bwMode="gray">
              <a:xfrm>
                <a:off x="6409862" y="1360605"/>
                <a:ext cx="506549" cy="138498"/>
              </a:xfrm>
              <a:prstGeom prst="rect">
                <a:avLst/>
              </a:prstGeom>
              <a:noFill/>
            </p:spPr>
            <p:txBody>
              <a:bodyPr wrap="none" lIns="0" tIns="0" rIns="0" bIns="0" rtlCol="0">
                <a:spAutoFit/>
              </a:bodyPr>
              <a:lstStyle/>
              <a:p>
                <a:pPr>
                  <a:spcBef>
                    <a:spcPts val="901"/>
                  </a:spcBef>
                  <a:spcAft>
                    <a:spcPts val="0"/>
                  </a:spcAft>
                </a:pPr>
                <a:r>
                  <a:rPr lang="en-US" sz="901">
                    <a:latin typeface="+mn-lt"/>
                  </a:rPr>
                  <a:t>Published</a:t>
                </a:r>
                <a:endParaRPr lang="en-IN" sz="901">
                  <a:latin typeface="+mn-lt"/>
                </a:endParaRPr>
              </a:p>
            </p:txBody>
          </p:sp>
        </p:grpSp>
        <p:sp>
          <p:nvSpPr>
            <p:cNvPr id="33" name="KMA1D1FEAF">
              <a:extLst>
                <a:ext uri="{FF2B5EF4-FFF2-40B4-BE49-F238E27FC236}">
                  <a16:creationId xmlns:a16="http://schemas.microsoft.com/office/drawing/2014/main" id="{B18DE0DC-52EF-2640-A508-CDE661BBC24D}"/>
                </a:ext>
              </a:extLst>
            </p:cNvPr>
            <p:cNvSpPr>
              <a:spLocks noChangeArrowheads="1"/>
            </p:cNvSpPr>
            <p:nvPr>
              <p:custDataLst>
                <p:tags r:id="rId4"/>
              </p:custDataLst>
            </p:nvPr>
          </p:nvSpPr>
          <p:spPr bwMode="gray">
            <a:xfrm>
              <a:off x="7883531" y="1373941"/>
              <a:ext cx="205775" cy="111959"/>
            </a:xfrm>
            <a:prstGeom prst="rect">
              <a:avLst/>
            </a:prstGeom>
            <a:solidFill>
              <a:schemeClr val="tx1"/>
            </a:solidFill>
            <a:ln w="9525">
              <a:noFill/>
              <a:prstDash val="dash"/>
              <a:miter lim="800000"/>
              <a:headEnd/>
              <a:tailEnd/>
            </a:ln>
            <a:effectLst/>
          </p:spPr>
          <p:txBody>
            <a:bodyPr wrap="square" lIns="45768" tIns="45762" rIns="45768" bIns="45762">
              <a:noAutofit/>
            </a:bodyPr>
            <a:lstStyle/>
            <a:p>
              <a:pPr fontAlgn="auto">
                <a:spcBef>
                  <a:spcPts val="901"/>
                </a:spcBef>
                <a:spcAft>
                  <a:spcPts val="0"/>
                </a:spcAft>
                <a:buClr>
                  <a:srgbClr val="0000FF"/>
                </a:buClr>
                <a:buSzPct val="60000"/>
              </a:pPr>
              <a:endParaRPr lang="en-US" sz="1101" b="1" kern="0">
                <a:latin typeface="+mn-lt"/>
              </a:endParaRPr>
            </a:p>
          </p:txBody>
        </p:sp>
        <p:sp>
          <p:nvSpPr>
            <p:cNvPr id="34" name="TextBox 33">
              <a:extLst>
                <a:ext uri="{FF2B5EF4-FFF2-40B4-BE49-F238E27FC236}">
                  <a16:creationId xmlns:a16="http://schemas.microsoft.com/office/drawing/2014/main" id="{40CA4E35-A952-A34E-8929-9B2EE1AAD372}"/>
                </a:ext>
              </a:extLst>
            </p:cNvPr>
            <p:cNvSpPr txBox="1"/>
            <p:nvPr/>
          </p:nvSpPr>
          <p:spPr bwMode="gray">
            <a:xfrm>
              <a:off x="8133992" y="1360605"/>
              <a:ext cx="795089" cy="138498"/>
            </a:xfrm>
            <a:prstGeom prst="rect">
              <a:avLst/>
            </a:prstGeom>
            <a:noFill/>
          </p:spPr>
          <p:txBody>
            <a:bodyPr wrap="none" lIns="0" tIns="0" rIns="0" bIns="0" rtlCol="0">
              <a:spAutoFit/>
            </a:bodyPr>
            <a:lstStyle/>
            <a:p>
              <a:pPr>
                <a:spcBef>
                  <a:spcPts val="901"/>
                </a:spcBef>
                <a:spcAft>
                  <a:spcPts val="0"/>
                </a:spcAft>
              </a:pPr>
              <a:r>
                <a:rPr lang="en-US" sz="901">
                  <a:latin typeface="+mn-lt"/>
                </a:rPr>
                <a:t>Current release</a:t>
              </a:r>
              <a:endParaRPr lang="en-IN" sz="901">
                <a:latin typeface="+mn-lt"/>
              </a:endParaRPr>
            </a:p>
          </p:txBody>
        </p:sp>
      </p:grpSp>
      <p:graphicFrame>
        <p:nvGraphicFramePr>
          <p:cNvPr id="39" name="Table 33">
            <a:extLst>
              <a:ext uri="{FF2B5EF4-FFF2-40B4-BE49-F238E27FC236}">
                <a16:creationId xmlns:a16="http://schemas.microsoft.com/office/drawing/2014/main" id="{6AE50B53-6965-1F43-9BCC-4E79484DE822}"/>
              </a:ext>
            </a:extLst>
          </p:cNvPr>
          <p:cNvGraphicFramePr>
            <a:graphicFrameLocks noGrp="1"/>
          </p:cNvGraphicFramePr>
          <p:nvPr>
            <p:extLst>
              <p:ext uri="{D42A27DB-BD31-4B8C-83A1-F6EECF244321}">
                <p14:modId xmlns:p14="http://schemas.microsoft.com/office/powerpoint/2010/main" val="3161234349"/>
              </p:ext>
            </p:extLst>
          </p:nvPr>
        </p:nvGraphicFramePr>
        <p:xfrm>
          <a:off x="-12482" y="4959028"/>
          <a:ext cx="12204482" cy="1245697"/>
        </p:xfrm>
        <a:graphic>
          <a:graphicData uri="http://schemas.openxmlformats.org/drawingml/2006/table">
            <a:tbl>
              <a:tblPr>
                <a:tableStyleId>{5C22544A-7EE6-4342-B048-85BDC9FD1C3A}</a:tableStyleId>
              </a:tblPr>
              <a:tblGrid>
                <a:gridCol w="10788058">
                  <a:extLst>
                    <a:ext uri="{9D8B030D-6E8A-4147-A177-3AD203B41FA5}">
                      <a16:colId xmlns:a16="http://schemas.microsoft.com/office/drawing/2014/main" val="1697316569"/>
                    </a:ext>
                  </a:extLst>
                </a:gridCol>
                <a:gridCol w="1416424">
                  <a:extLst>
                    <a:ext uri="{9D8B030D-6E8A-4147-A177-3AD203B41FA5}">
                      <a16:colId xmlns:a16="http://schemas.microsoft.com/office/drawing/2014/main" val="2481023271"/>
                    </a:ext>
                  </a:extLst>
                </a:gridCol>
              </a:tblGrid>
              <a:tr h="258145">
                <a:tc>
                  <a:txBody>
                    <a:bodyPr/>
                    <a:lstStyle/>
                    <a:p>
                      <a:pPr>
                        <a:lnSpc>
                          <a:spcPct val="100000"/>
                        </a:lnSpc>
                        <a:spcBef>
                          <a:spcPts val="0"/>
                        </a:spcBef>
                        <a:spcAft>
                          <a:spcPts val="0"/>
                        </a:spcAft>
                        <a:buClr>
                          <a:srgbClr val="BC202E"/>
                        </a:buClr>
                        <a:buSzPct val="60000"/>
                        <a:tabLst>
                          <a:tab pos="8619769" algn="r"/>
                        </a:tabLst>
                        <a:defRPr/>
                      </a:pPr>
                      <a:r>
                        <a:rPr lang="en-IN" sz="1100" b="1">
                          <a:solidFill>
                            <a:srgbClr val="FFFFFF"/>
                          </a:solidFill>
                          <a:latin typeface="+mn-lt"/>
                        </a:rPr>
                        <a:t>Thematic HRO reports</a:t>
                      </a:r>
                    </a:p>
                  </a:txBody>
                  <a:tcPr marL="310896" marT="0" marB="0" anchor="ctr">
                    <a:lnL w="6350" cap="flat" cmpd="sng" algn="ctr">
                      <a:solidFill>
                        <a:schemeClr val="bg2"/>
                      </a:solidFill>
                      <a:prstDash val="solid"/>
                      <a:round/>
                      <a:headEnd type="none" w="med" len="med"/>
                      <a:tailEnd type="none" w="med" len="med"/>
                    </a:lnL>
                    <a:lnR w="6350" cap="flat" cmpd="sng" algn="ctr">
                      <a:noFill/>
                      <a:prstDash val="lgDash"/>
                      <a:round/>
                      <a:headEnd type="none" w="med" len="med"/>
                      <a:tailEnd type="none" w="med" len="med"/>
                    </a:lnR>
                    <a:lnB w="12700" cmpd="sng">
                      <a:noFill/>
                    </a:lnB>
                    <a:solidFill>
                      <a:schemeClr val="bg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a:solidFill>
                            <a:srgbClr val="FFFFFF"/>
                          </a:solidFill>
                          <a:latin typeface="+mn-lt"/>
                        </a:rPr>
                        <a:t>Release date</a:t>
                      </a:r>
                      <a:endParaRPr lang="en-IN" sz="1100">
                        <a:latin typeface="+mn-lt"/>
                      </a:endParaRPr>
                    </a:p>
                  </a:txBody>
                  <a:tcPr marR="288000" marT="0" marB="0" anchor="ctr">
                    <a:lnL w="6350" cap="flat" cmpd="sng" algn="ctr">
                      <a:noFill/>
                      <a:prstDash val="lgDash"/>
                      <a:round/>
                      <a:headEnd type="none" w="med" len="med"/>
                      <a:tailEnd type="none" w="med" len="med"/>
                    </a:lnL>
                    <a:lnR w="6350" cap="flat" cmpd="sng" algn="ctr">
                      <a:solidFill>
                        <a:schemeClr val="bg2"/>
                      </a:solidFill>
                      <a:prstDash val="solid"/>
                      <a:round/>
                      <a:headEnd type="none" w="med" len="med"/>
                      <a:tailEnd type="none" w="med" len="med"/>
                    </a:lnR>
                    <a:lnB w="12700" cmpd="sng">
                      <a:noFill/>
                    </a:lnB>
                    <a:solidFill>
                      <a:schemeClr val="bg2"/>
                    </a:solidFill>
                  </a:tcPr>
                </a:tc>
                <a:extLst>
                  <a:ext uri="{0D108BD9-81ED-4DB2-BD59-A6C34878D82A}">
                    <a16:rowId xmlns:a16="http://schemas.microsoft.com/office/drawing/2014/main" val="3480351584"/>
                  </a:ext>
                </a:extLst>
              </a:tr>
              <a:tr h="246888">
                <a:tc>
                  <a:txBody>
                    <a:bodyPr/>
                    <a:lstStyle/>
                    <a:p>
                      <a:pPr marL="0" algn="l" defTabSz="914400" rtl="0" eaLnBrk="1" latinLnBrk="0" hangingPunct="1">
                        <a:lnSpc>
                          <a:spcPct val="100000"/>
                        </a:lnSpc>
                      </a:pPr>
                      <a:r>
                        <a:rPr lang="en-US" sz="1100" u="none" kern="1200">
                          <a:solidFill>
                            <a:schemeClr val="accent2"/>
                          </a:solidFill>
                          <a:uFill>
                            <a:solidFill>
                              <a:schemeClr val="bg1"/>
                            </a:solidFill>
                          </a:uFill>
                          <a:latin typeface="+mn-lt"/>
                          <a:ea typeface="+mn-ea"/>
                          <a:cs typeface="+mn-cs"/>
                        </a:rPr>
                        <a:t>Impact of Recession on the Business Process Services (BPS) Industry</a:t>
                      </a:r>
                    </a:p>
                  </a:txBody>
                  <a:tcPr marL="310896" marT="0" marB="0" anchor="ctr">
                    <a:lnL w="12700" cap="flat" cmpd="sng" algn="ctr">
                      <a:noFill/>
                      <a:prstDash val="solid"/>
                      <a:round/>
                      <a:headEnd type="none" w="med" len="med"/>
                      <a:tailEnd type="none" w="med" len="med"/>
                    </a:lnL>
                    <a:lnR w="12700" cmpd="sng">
                      <a:noFill/>
                    </a:lnR>
                    <a:lnT w="6350" cap="flat" cmpd="sng" algn="ctr">
                      <a:no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kumimoji="0" lang="en-US" sz="1100" b="0" i="0" u="none" strike="noStrike" kern="1200" cap="none" spc="0" normalizeH="0" baseline="0" noProof="0">
                          <a:ln>
                            <a:noFill/>
                          </a:ln>
                          <a:solidFill>
                            <a:schemeClr val="accent2"/>
                          </a:solidFill>
                          <a:effectLst/>
                          <a:uLnTx/>
                          <a:uFillTx/>
                          <a:latin typeface="+mn-lt"/>
                          <a:ea typeface="+mn-ea"/>
                          <a:cs typeface="Arial" charset="0"/>
                        </a:rPr>
                        <a:t>March 2020</a:t>
                      </a:r>
                      <a:endParaRPr lang="en-IN" sz="1100">
                        <a:solidFill>
                          <a:schemeClr val="accent2"/>
                        </a:solidFill>
                        <a:latin typeface="+mn-lt"/>
                      </a:endParaRPr>
                    </a:p>
                  </a:txBody>
                  <a:tcPr marR="288000" marT="0" marB="0" anchor="ctr">
                    <a:lnL w="12700" cmpd="sng">
                      <a:noFill/>
                    </a:lnL>
                    <a:lnR w="12700" cmpd="sng">
                      <a:noFill/>
                    </a:lnR>
                    <a:lnT w="6350" cap="flat" cmpd="sng" algn="ctr">
                      <a:no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464003"/>
                  </a:ext>
                </a:extLst>
              </a:tr>
              <a:tr h="246888">
                <a:tc>
                  <a:txBody>
                    <a:bodyPr/>
                    <a:lstStyle/>
                    <a:p>
                      <a:pPr marL="0" algn="l" defTabSz="914400" rtl="0" eaLnBrk="1" latinLnBrk="0" hangingPunct="1">
                        <a:lnSpc>
                          <a:spcPct val="100000"/>
                        </a:lnSpc>
                      </a:pPr>
                      <a:r>
                        <a:rPr lang="en-US" sz="1100" u="none" kern="1200">
                          <a:solidFill>
                            <a:schemeClr val="accent2"/>
                          </a:solidFill>
                          <a:uFill>
                            <a:solidFill>
                              <a:schemeClr val="bg1"/>
                            </a:solidFill>
                          </a:uFill>
                          <a:latin typeface="+mn-lt"/>
                          <a:ea typeface="+mn-ea"/>
                          <a:cs typeface="+mn-cs"/>
                        </a:rPr>
                        <a:t>Price Trends in HRO</a:t>
                      </a:r>
                    </a:p>
                  </a:txBody>
                  <a:tcPr marL="310896" marT="0"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US" sz="1100">
                          <a:solidFill>
                            <a:schemeClr val="accent2"/>
                          </a:solidFill>
                          <a:latin typeface="+mn-lt"/>
                        </a:rPr>
                        <a:t>September 2020</a:t>
                      </a:r>
                      <a:endParaRPr lang="en-IN" sz="1100">
                        <a:solidFill>
                          <a:schemeClr val="accent2"/>
                        </a:solidFill>
                        <a:latin typeface="+mn-lt"/>
                      </a:endParaRP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600549"/>
                  </a:ext>
                </a:extLst>
              </a:tr>
              <a:tr h="246888">
                <a:tc>
                  <a:txBody>
                    <a:bodyPr/>
                    <a:lstStyle/>
                    <a:p>
                      <a:pPr marL="0" algn="l" defTabSz="914400" rtl="0" eaLnBrk="1" latinLnBrk="0" hangingPunct="1">
                        <a:lnSpc>
                          <a:spcPct val="100000"/>
                        </a:lnSpc>
                      </a:pPr>
                      <a:r>
                        <a:rPr lang="en-US" sz="1100" u="none" kern="1200">
                          <a:solidFill>
                            <a:schemeClr val="accent2"/>
                          </a:solidFill>
                          <a:uFill>
                            <a:solidFill>
                              <a:schemeClr val="bg1"/>
                            </a:solidFill>
                          </a:uFill>
                          <a:latin typeface="+mn-lt"/>
                          <a:ea typeface="+mn-ea"/>
                          <a:cs typeface="+mn-cs"/>
                        </a:rPr>
                        <a:t>Employment Outsourcing Models</a:t>
                      </a:r>
                    </a:p>
                  </a:txBody>
                  <a:tcPr marL="310896" marT="0"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US" sz="1100">
                          <a:solidFill>
                            <a:schemeClr val="accent2"/>
                          </a:solidFill>
                          <a:latin typeface="+mn-lt"/>
                        </a:rPr>
                        <a:t>March 2021</a:t>
                      </a:r>
                      <a:endParaRPr lang="en-IN" sz="1100">
                        <a:solidFill>
                          <a:schemeClr val="accent2"/>
                        </a:solidFill>
                        <a:latin typeface="+mn-lt"/>
                      </a:endParaRP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3232889"/>
                  </a:ext>
                </a:extLst>
              </a:tr>
              <a:tr h="246888">
                <a:tc>
                  <a:txBody>
                    <a:bodyPr/>
                    <a:lstStyle/>
                    <a:p>
                      <a:pPr marL="0" algn="l" defTabSz="914400" rtl="0" eaLnBrk="1" latinLnBrk="0" hangingPunct="1">
                        <a:lnSpc>
                          <a:spcPct val="100000"/>
                        </a:lnSpc>
                      </a:pPr>
                      <a:r>
                        <a:rPr lang="en-US" sz="1100" u="none" kern="1200" dirty="0">
                          <a:solidFill>
                            <a:schemeClr val="accent2"/>
                          </a:solidFill>
                          <a:uFill>
                            <a:solidFill>
                              <a:schemeClr val="bg1"/>
                            </a:solidFill>
                          </a:uFill>
                          <a:latin typeface="+mn-lt"/>
                          <a:ea typeface="+mn-ea"/>
                          <a:cs typeface="+mn-cs"/>
                        </a:rPr>
                        <a:t>Employee Experience Management (EXM) Platforms </a:t>
                      </a:r>
                    </a:p>
                  </a:txBody>
                  <a:tcPr marL="310896" marT="0"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US" sz="1100" kern="1200" dirty="0">
                          <a:solidFill>
                            <a:schemeClr val="accent2"/>
                          </a:solidFill>
                          <a:latin typeface="+mn-lt"/>
                          <a:ea typeface="+mn-ea"/>
                          <a:cs typeface="+mn-cs"/>
                        </a:rPr>
                        <a:t>June</a:t>
                      </a:r>
                      <a:r>
                        <a:rPr lang="en-US" sz="1100" dirty="0">
                          <a:solidFill>
                            <a:schemeClr val="bg1">
                              <a:lumMod val="65000"/>
                            </a:schemeClr>
                          </a:solidFill>
                          <a:latin typeface="+mn-lt"/>
                        </a:rPr>
                        <a:t> </a:t>
                      </a:r>
                      <a:r>
                        <a:rPr lang="en-US" sz="1100" kern="1200" dirty="0">
                          <a:solidFill>
                            <a:schemeClr val="accent2"/>
                          </a:solidFill>
                          <a:latin typeface="+mn-lt"/>
                          <a:ea typeface="+mn-ea"/>
                          <a:cs typeface="+mn-cs"/>
                        </a:rPr>
                        <a:t>2021</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3012835"/>
                  </a:ext>
                </a:extLst>
              </a:tr>
            </a:tbl>
          </a:graphicData>
        </a:graphic>
      </p:graphicFrame>
      <p:sp>
        <p:nvSpPr>
          <p:cNvPr id="19" name="Text Box 12">
            <a:extLst>
              <a:ext uri="{FF2B5EF4-FFF2-40B4-BE49-F238E27FC236}">
                <a16:creationId xmlns:a16="http://schemas.microsoft.com/office/drawing/2014/main" id="{E2D13D98-EFA3-9F41-8721-114F755E759C}"/>
              </a:ext>
            </a:extLst>
          </p:cNvPr>
          <p:cNvSpPr txBox="1">
            <a:spLocks noChangeArrowheads="1"/>
          </p:cNvSpPr>
          <p:nvPr/>
        </p:nvSpPr>
        <p:spPr bwMode="gray">
          <a:xfrm>
            <a:off x="307975" y="6287214"/>
            <a:ext cx="1161288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b">
            <a:spAutoFit/>
          </a:bodyPr>
          <a:lstStyle>
            <a:defPPr>
              <a:defRPr lang="en-US"/>
            </a:defPPr>
            <a:lvl1pPr marL="356616" lvl="0" indent="-356616" eaLnBrk="1" hangingPunct="1">
              <a:buClr>
                <a:srgbClr val="005A8C"/>
              </a:buClr>
              <a:buSzPct val="60000"/>
              <a:tabLst>
                <a:tab pos="246888" algn="r"/>
              </a:tabLst>
              <a:defRPr kumimoji="0" sz="800" b="0" i="0" u="none" strike="noStrike" cap="none" spc="0" normalizeH="0" baseline="0">
                <a:ln>
                  <a:noFill/>
                </a:ln>
                <a:solidFill>
                  <a:srgbClr val="FF0000"/>
                </a:solidFill>
                <a:effectLst/>
                <a:uLnTx/>
                <a:uFillTx/>
              </a:defRPr>
            </a:lvl1pPr>
            <a:lvl2pPr marL="742950" indent="-285750" eaLnBrk="0" hangingPunct="0">
              <a:tabLst>
                <a:tab pos="519113" algn="r"/>
              </a:tabLst>
            </a:lvl2pPr>
            <a:lvl3pPr marL="1143000" indent="-228600" eaLnBrk="0" hangingPunct="0">
              <a:tabLst>
                <a:tab pos="519113" algn="r"/>
              </a:tabLst>
            </a:lvl3pPr>
            <a:lvl4pPr marL="1600200" indent="-228600" eaLnBrk="0" hangingPunct="0">
              <a:tabLst>
                <a:tab pos="519113" algn="r"/>
              </a:tabLst>
            </a:lvl4pPr>
            <a:lvl5pPr marL="2057400" indent="-228600" eaLnBrk="0" hangingPunct="0">
              <a:tabLst>
                <a:tab pos="519113" algn="r"/>
              </a:tabLst>
            </a:lvl5pPr>
            <a:lvl6pPr marL="2514600" indent="-228600" eaLnBrk="0" fontAlgn="base" hangingPunct="0">
              <a:spcBef>
                <a:spcPct val="0"/>
              </a:spcBef>
              <a:spcAft>
                <a:spcPct val="0"/>
              </a:spcAft>
              <a:tabLst>
                <a:tab pos="519113" algn="r"/>
              </a:tabLst>
            </a:lvl6pPr>
            <a:lvl7pPr marL="2971800" indent="-228600" eaLnBrk="0" fontAlgn="base" hangingPunct="0">
              <a:spcBef>
                <a:spcPct val="0"/>
              </a:spcBef>
              <a:spcAft>
                <a:spcPct val="0"/>
              </a:spcAft>
              <a:tabLst>
                <a:tab pos="519113" algn="r"/>
              </a:tabLst>
            </a:lvl7pPr>
            <a:lvl8pPr marL="3429000" indent="-228600" eaLnBrk="0" fontAlgn="base" hangingPunct="0">
              <a:spcBef>
                <a:spcPct val="0"/>
              </a:spcBef>
              <a:spcAft>
                <a:spcPct val="0"/>
              </a:spcAft>
              <a:tabLst>
                <a:tab pos="519113" algn="r"/>
              </a:tabLst>
            </a:lvl8pPr>
            <a:lvl9pPr marL="3886200" indent="-228600" eaLnBrk="0" fontAlgn="base" hangingPunct="0">
              <a:spcBef>
                <a:spcPct val="0"/>
              </a:spcBef>
              <a:spcAft>
                <a:spcPct val="0"/>
              </a:spcAft>
              <a:tabLst>
                <a:tab pos="519113" algn="r"/>
              </a:tabLst>
            </a:lvl9pPr>
          </a:lstStyle>
          <a:p>
            <a:pPr marL="355600" indent="-366713" defTabSz="228600">
              <a:tabLst/>
            </a:pPr>
            <a:r>
              <a:rPr lang="en-US" dirty="0">
                <a:solidFill>
                  <a:schemeClr val="tx1"/>
                </a:solidFill>
                <a:latin typeface="+mn-lt"/>
              </a:rPr>
              <a:t>Note:	</a:t>
            </a:r>
            <a:r>
              <a:rPr lang="en-US" sz="801" dirty="0">
                <a:solidFill>
                  <a:schemeClr val="tx1"/>
                </a:solidFill>
                <a:latin typeface="+mn-lt"/>
              </a:rPr>
              <a:t> For a list of all our published Human Resources Outsourcing reports, </a:t>
            </a:r>
            <a:r>
              <a:rPr lang="en-US" sz="801" dirty="0">
                <a:solidFill>
                  <a:srgbClr val="3F3F3F"/>
                </a:solidFill>
                <a:latin typeface="+mn-lt"/>
              </a:rPr>
              <a:t>please refer to our </a:t>
            </a:r>
            <a:r>
              <a:rPr lang="en-US" sz="801" dirty="0">
                <a:solidFill>
                  <a:srgbClr val="3F3F3F"/>
                </a:solidFill>
                <a:latin typeface="+mn-lt"/>
                <a:hlinkClick r:id="rId10"/>
              </a:rPr>
              <a:t>website page</a:t>
            </a:r>
            <a:endParaRPr lang="en-US" dirty="0">
              <a:solidFill>
                <a:schemeClr val="tx1"/>
              </a:solidFill>
              <a:latin typeface="+mn-lt"/>
            </a:endParaRPr>
          </a:p>
        </p:txBody>
      </p:sp>
    </p:spTree>
    <p:extLst>
      <p:ext uri="{BB962C8B-B14F-4D97-AF65-F5344CB8AC3E}">
        <p14:creationId xmlns:p14="http://schemas.microsoft.com/office/powerpoint/2010/main" val="35464942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48026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11.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2.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3.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4.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5.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6.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9.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heme/theme1.xml><?xml version="1.0" encoding="utf-8"?>
<a:theme xmlns:a="http://schemas.openxmlformats.org/drawingml/2006/main" name="Master layout">
  <a:themeElements>
    <a:clrScheme name="Custom 4">
      <a:dk1>
        <a:srgbClr val="3F3F3F"/>
      </a:dk1>
      <a:lt1>
        <a:srgbClr val="FFFFFF"/>
      </a:lt1>
      <a:dk2>
        <a:srgbClr val="E5E534"/>
      </a:dk2>
      <a:lt2>
        <a:srgbClr val="4C7C8F"/>
      </a:lt2>
      <a:accent1>
        <a:srgbClr val="52B964"/>
      </a:accent1>
      <a:accent2>
        <a:srgbClr val="005A8C"/>
      </a:accent2>
      <a:accent3>
        <a:srgbClr val="BC202E"/>
      </a:accent3>
      <a:accent4>
        <a:srgbClr val="BFBFBF"/>
      </a:accent4>
      <a:accent5>
        <a:srgbClr val="27A7DF"/>
      </a:accent5>
      <a:accent6>
        <a:srgbClr val="F37534"/>
      </a:accent6>
      <a:hlink>
        <a:srgbClr val="005A8C"/>
      </a:hlink>
      <a:folHlink>
        <a:srgbClr val="005A8C"/>
      </a:folHlink>
    </a:clrScheme>
    <a:fontScheme name="blank">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defRPr kumimoji="0" lang="en-GB"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defRPr kumimoji="0" lang="en-GB" sz="16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ank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ank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333399"/>
        </a:dk2>
        <a:lt2>
          <a:srgbClr val="1C1C1C"/>
        </a:lt2>
        <a:accent1>
          <a:srgbClr val="3333FF"/>
        </a:accent1>
        <a:accent2>
          <a:srgbClr val="33CC33"/>
        </a:accent2>
        <a:accent3>
          <a:srgbClr val="FFFFFF"/>
        </a:accent3>
        <a:accent4>
          <a:srgbClr val="000000"/>
        </a:accent4>
        <a:accent5>
          <a:srgbClr val="ADADFF"/>
        </a:accent5>
        <a:accent6>
          <a:srgbClr val="2DB92D"/>
        </a:accent6>
        <a:hlink>
          <a:srgbClr val="FF0000"/>
        </a:hlink>
        <a:folHlink>
          <a:srgbClr val="CC00CC"/>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33FF"/>
        </a:dk2>
        <a:lt2>
          <a:srgbClr val="1C1C1C"/>
        </a:lt2>
        <a:accent1>
          <a:srgbClr val="3333FF"/>
        </a:accent1>
        <a:accent2>
          <a:srgbClr val="FFCC00"/>
        </a:accent2>
        <a:accent3>
          <a:srgbClr val="FFFFFF"/>
        </a:accent3>
        <a:accent4>
          <a:srgbClr val="000000"/>
        </a:accent4>
        <a:accent5>
          <a:srgbClr val="ADADFF"/>
        </a:accent5>
        <a:accent6>
          <a:srgbClr val="E7B900"/>
        </a:accent6>
        <a:hlink>
          <a:srgbClr val="DDDDDD"/>
        </a:hlink>
        <a:folHlink>
          <a:srgbClr val="96969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mplimentary Abstract.pptx" id="{3A132994-27E8-4AD9-95C2-E405A3076A8A}" vid="{9D632861-715B-4889-ADF0-743FFBA3B5E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A75108F4B9E1A4F80DF6170EFCAF62A" ma:contentTypeVersion="9" ma:contentTypeDescription="Create a new document." ma:contentTypeScope="" ma:versionID="a0b5f4c86b02ba01b7925d2d6fe821fc">
  <xsd:schema xmlns:xsd="http://www.w3.org/2001/XMLSchema" xmlns:xs="http://www.w3.org/2001/XMLSchema" xmlns:p="http://schemas.microsoft.com/office/2006/metadata/properties" xmlns:ns2="d2596cb2-9c6b-4c73-8afb-a20e917c7f5f" targetNamespace="http://schemas.microsoft.com/office/2006/metadata/properties" ma:root="true" ma:fieldsID="41d5e0165b8b4249df3f3f7589eba350" ns2:_="">
    <xsd:import namespace="d2596cb2-9c6b-4c73-8afb-a20e917c7f5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596cb2-9c6b-4c73-8afb-a20e917c7f5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74D6987-9209-41F3-AC77-DBD1066EED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596cb2-9c6b-4c73-8afb-a20e917c7f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B17B2CA-5320-461C-A1FF-49841DDE5359}">
  <ds:schemaRefs>
    <ds:schemaRef ds:uri="http://schemas.microsoft.com/sharepoint/v3/contenttype/forms"/>
  </ds:schemaRefs>
</ds:datastoreItem>
</file>

<file path=customXml/itemProps3.xml><?xml version="1.0" encoding="utf-8"?>
<ds:datastoreItem xmlns:ds="http://schemas.openxmlformats.org/officeDocument/2006/customXml" ds:itemID="{7273813B-A9C7-4927-8A79-478EAFAAC66B}">
  <ds:schemaRefs>
    <ds:schemaRef ds:uri="http://schemas.openxmlformats.org/package/2006/metadata/core-properties"/>
    <ds:schemaRef ds:uri="http://schemas.microsoft.com/office/2006/metadata/properties"/>
    <ds:schemaRef ds:uri="http://schemas.microsoft.com/office/2006/documentManagement/types"/>
    <ds:schemaRef ds:uri="http://purl.org/dc/terms/"/>
    <ds:schemaRef ds:uri="http://purl.org/dc/dcmitype/"/>
    <ds:schemaRef ds:uri="http://www.w3.org/XML/1998/namespace"/>
    <ds:schemaRef ds:uri="http://purl.org/dc/elements/1.1/"/>
    <ds:schemaRef ds:uri="http://schemas.microsoft.com/office/infopath/2007/PartnerControls"/>
    <ds:schemaRef ds:uri="d2596cb2-9c6b-4c73-8afb-a20e917c7f5f"/>
  </ds:schemaRefs>
</ds:datastoreItem>
</file>

<file path=docProps/app.xml><?xml version="1.0" encoding="utf-8"?>
<Properties xmlns="http://schemas.openxmlformats.org/officeDocument/2006/extended-properties" xmlns:vt="http://schemas.openxmlformats.org/officeDocument/2006/docPropsVTypes">
  <Template>Complimentary Abstract</Template>
  <TotalTime>380</TotalTime>
  <Words>1826</Words>
  <Application>Microsoft Macintosh PowerPoint</Application>
  <PresentationFormat>Widescreen</PresentationFormat>
  <Paragraphs>295</Paragraphs>
  <Slides>9</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Arial</vt:lpstr>
      <vt:lpstr>Arial </vt:lpstr>
      <vt:lpstr>Arial Black</vt:lpstr>
      <vt:lpstr>Courier New</vt:lpstr>
      <vt:lpstr>Times New Roman</vt:lpstr>
      <vt:lpstr>Wingdings</vt:lpstr>
      <vt:lpstr>Master layout</vt:lpstr>
      <vt:lpstr>think-cell Slide</vt:lpstr>
      <vt:lpstr>PowerPoint Presentation</vt:lpstr>
      <vt:lpstr>Our research offerings for global services</vt:lpstr>
      <vt:lpstr>PowerPoint Presentation</vt:lpstr>
      <vt:lpstr>PowerPoint Presentation</vt:lpstr>
      <vt:lpstr>Background and scope of the research</vt:lpstr>
      <vt:lpstr>Overview and abbreviated summary of key messages</vt:lpstr>
      <vt:lpstr>This study offers four distinct chapters providing a deep dive into key aspects  of R&amp;R market; below are four charts to illustrate the depth of the report</vt:lpstr>
      <vt:lpstr>Research calendar Human Resources Outsourcing (HRO)</vt:lpstr>
      <vt:lpstr>PowerPoint Presentation</vt:lpstr>
    </vt:vector>
  </TitlesOfParts>
  <Manager/>
  <Company>Everest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wards and Recognition (R&amp;R) State of the Market Report 2021: The Era of Modernizing Employee Engagement</dc:title>
  <dc:subject/>
  <dc:creator>Everest Group</dc:creator>
  <cp:keywords>Add keywords</cp:keywords>
  <dc:description/>
  <cp:lastModifiedBy>Miglani, Manisha</cp:lastModifiedBy>
  <cp:revision>24</cp:revision>
  <cp:lastPrinted>2001-01-17T18:19:10Z</cp:lastPrinted>
  <dcterms:created xsi:type="dcterms:W3CDTF">2020-08-18T12:59:00Z</dcterms:created>
  <dcterms:modified xsi:type="dcterms:W3CDTF">2021-06-11T06:36:02Z</dcterms:modified>
  <cp:category>Complimentary Abstrac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75108F4B9E1A4F80DF6170EFCAF62A</vt:lpwstr>
  </property>
</Properties>
</file>